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1" r:id="rId3"/>
    <p:sldMasterId id="2147483680" r:id="rId4"/>
    <p:sldMasterId id="2147483699" r:id="rId5"/>
    <p:sldMasterId id="2147483710" r:id="rId6"/>
  </p:sldMasterIdLst>
  <p:notesMasterIdLst>
    <p:notesMasterId r:id="rId53"/>
  </p:notesMasterIdLst>
  <p:handoutMasterIdLst>
    <p:handoutMasterId r:id="rId54"/>
  </p:handoutMasterIdLst>
  <p:sldIdLst>
    <p:sldId id="256" r:id="rId7"/>
    <p:sldId id="294" r:id="rId8"/>
    <p:sldId id="407" r:id="rId9"/>
    <p:sldId id="372" r:id="rId10"/>
    <p:sldId id="373" r:id="rId11"/>
    <p:sldId id="403" r:id="rId12"/>
    <p:sldId id="296" r:id="rId13"/>
    <p:sldId id="409" r:id="rId14"/>
    <p:sldId id="374" r:id="rId15"/>
    <p:sldId id="375" r:id="rId16"/>
    <p:sldId id="404" r:id="rId17"/>
    <p:sldId id="405" r:id="rId18"/>
    <p:sldId id="410" r:id="rId19"/>
    <p:sldId id="297" r:id="rId20"/>
    <p:sldId id="408" r:id="rId21"/>
    <p:sldId id="381" r:id="rId22"/>
    <p:sldId id="382" r:id="rId23"/>
    <p:sldId id="383" r:id="rId24"/>
    <p:sldId id="384" r:id="rId25"/>
    <p:sldId id="385" r:id="rId26"/>
    <p:sldId id="411" r:id="rId27"/>
    <p:sldId id="386" r:id="rId28"/>
    <p:sldId id="387" r:id="rId29"/>
    <p:sldId id="388" r:id="rId30"/>
    <p:sldId id="389" r:id="rId31"/>
    <p:sldId id="390" r:id="rId32"/>
    <p:sldId id="391" r:id="rId33"/>
    <p:sldId id="392" r:id="rId34"/>
    <p:sldId id="393" r:id="rId35"/>
    <p:sldId id="394" r:id="rId36"/>
    <p:sldId id="395" r:id="rId37"/>
    <p:sldId id="396" r:id="rId38"/>
    <p:sldId id="397" r:id="rId39"/>
    <p:sldId id="398" r:id="rId40"/>
    <p:sldId id="399" r:id="rId41"/>
    <p:sldId id="401" r:id="rId42"/>
    <p:sldId id="402" r:id="rId43"/>
    <p:sldId id="412" r:id="rId44"/>
    <p:sldId id="263" r:id="rId45"/>
    <p:sldId id="276" r:id="rId46"/>
    <p:sldId id="277" r:id="rId47"/>
    <p:sldId id="278" r:id="rId48"/>
    <p:sldId id="352" r:id="rId49"/>
    <p:sldId id="376" r:id="rId50"/>
    <p:sldId id="271" r:id="rId51"/>
    <p:sldId id="349" r:id="rId52"/>
  </p:sldIdLst>
  <p:sldSz cx="12192000" cy="6858000"/>
  <p:notesSz cx="6888163" cy="100203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258"/>
    <a:srgbClr val="001848"/>
    <a:srgbClr val="FB6E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79" autoAdjust="0"/>
    <p:restoredTop sz="87074" autoAdjust="0"/>
  </p:normalViewPr>
  <p:slideViewPr>
    <p:cSldViewPr>
      <p:cViewPr>
        <p:scale>
          <a:sx n="82" d="100"/>
          <a:sy n="82" d="100"/>
        </p:scale>
        <p:origin x="-498" y="-66"/>
      </p:cViewPr>
      <p:guideLst>
        <p:guide orient="horz" pos="2160"/>
        <p:guide pos="3840"/>
      </p:guideLst>
    </p:cSldViewPr>
  </p:slid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dkem-pc13-009\DATABASE%20TIM%203\15.%20Pokjanas%20TPID\1.%20POKJANAS%20TPID\Kegiatan%20Tahun%202015\02.jumlah%20tpid\jumlah%20per%20tahu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ln>
          <a:noFill/>
        </a:ln>
      </c:spPr>
    </c:floor>
    <c:sideWall>
      <c:thickness val="0"/>
      <c:spPr>
        <a:noFill/>
        <a:ln>
          <a:noFill/>
        </a:ln>
      </c:spPr>
    </c:sideWall>
    <c:backWall>
      <c:thickness val="0"/>
      <c:spPr>
        <a:noFill/>
        <a:ln>
          <a:noFill/>
        </a:ln>
      </c:spPr>
    </c:backWall>
    <c:plotArea>
      <c:layout>
        <c:manualLayout>
          <c:layoutTarget val="inner"/>
          <c:xMode val="edge"/>
          <c:yMode val="edge"/>
          <c:x val="7.4223795425889583E-2"/>
          <c:y val="4.1004690722088309E-2"/>
          <c:w val="0.92577624671916003"/>
          <c:h val="0.83261956838728501"/>
        </c:manualLayout>
      </c:layout>
      <c:bar3DChart>
        <c:barDir val="col"/>
        <c:grouping val="stacked"/>
        <c:varyColors val="0"/>
        <c:ser>
          <c:idx val="1"/>
          <c:order val="0"/>
          <c:tx>
            <c:strRef>
              <c:f>Sheet1!$D$13</c:f>
              <c:strCache>
                <c:ptCount val="1"/>
                <c:pt idx="0">
                  <c:v>TPID Provinsi</c:v>
                </c:pt>
              </c:strCache>
            </c:strRef>
          </c:tx>
          <c:spPr>
            <a:solidFill>
              <a:srgbClr val="FFFF00"/>
            </a:solidFill>
          </c:spPr>
          <c:invertIfNegative val="0"/>
          <c:cat>
            <c:numRef>
              <c:f>Sheet1!$C$14:$C$19</c:f>
              <c:numCache>
                <c:formatCode>General</c:formatCode>
                <c:ptCount val="6"/>
                <c:pt idx="0">
                  <c:v>2010</c:v>
                </c:pt>
                <c:pt idx="1">
                  <c:v>2011</c:v>
                </c:pt>
                <c:pt idx="2">
                  <c:v>2012</c:v>
                </c:pt>
                <c:pt idx="3">
                  <c:v>2013</c:v>
                </c:pt>
                <c:pt idx="4">
                  <c:v>2014</c:v>
                </c:pt>
                <c:pt idx="5" formatCode="mmm\-yy">
                  <c:v>42095</c:v>
                </c:pt>
              </c:numCache>
            </c:numRef>
          </c:cat>
          <c:val>
            <c:numRef>
              <c:f>Sheet1!$D$14:$D$19</c:f>
              <c:numCache>
                <c:formatCode>General</c:formatCode>
                <c:ptCount val="6"/>
                <c:pt idx="0">
                  <c:v>16</c:v>
                </c:pt>
                <c:pt idx="1">
                  <c:v>26</c:v>
                </c:pt>
                <c:pt idx="2">
                  <c:v>33</c:v>
                </c:pt>
                <c:pt idx="3">
                  <c:v>33</c:v>
                </c:pt>
                <c:pt idx="4">
                  <c:v>34</c:v>
                </c:pt>
                <c:pt idx="5">
                  <c:v>34</c:v>
                </c:pt>
              </c:numCache>
            </c:numRef>
          </c:val>
          <c:extLst xmlns:c16r2="http://schemas.microsoft.com/office/drawing/2015/06/chart">
            <c:ext xmlns:c16="http://schemas.microsoft.com/office/drawing/2014/chart" uri="{C3380CC4-5D6E-409C-BE32-E72D297353CC}">
              <c16:uniqueId val="{00000000-1159-45BF-8498-D320DBE3B4B8}"/>
            </c:ext>
          </c:extLst>
        </c:ser>
        <c:ser>
          <c:idx val="2"/>
          <c:order val="1"/>
          <c:tx>
            <c:strRef>
              <c:f>Sheet1!$E$13</c:f>
              <c:strCache>
                <c:ptCount val="1"/>
                <c:pt idx="0">
                  <c:v>TPID Kab/Kota</c:v>
                </c:pt>
              </c:strCache>
            </c:strRef>
          </c:tx>
          <c:spPr>
            <a:solidFill>
              <a:srgbClr val="00B0F0"/>
            </a:solidFill>
          </c:spPr>
          <c:invertIfNegative val="0"/>
          <c:cat>
            <c:numRef>
              <c:f>Sheet1!$C$14:$C$19</c:f>
              <c:numCache>
                <c:formatCode>General</c:formatCode>
                <c:ptCount val="6"/>
                <c:pt idx="0">
                  <c:v>2010</c:v>
                </c:pt>
                <c:pt idx="1">
                  <c:v>2011</c:v>
                </c:pt>
                <c:pt idx="2">
                  <c:v>2012</c:v>
                </c:pt>
                <c:pt idx="3">
                  <c:v>2013</c:v>
                </c:pt>
                <c:pt idx="4">
                  <c:v>2014</c:v>
                </c:pt>
                <c:pt idx="5" formatCode="mmm\-yy">
                  <c:v>42095</c:v>
                </c:pt>
              </c:numCache>
            </c:numRef>
          </c:cat>
          <c:val>
            <c:numRef>
              <c:f>Sheet1!$E$14:$E$19</c:f>
              <c:numCache>
                <c:formatCode>General</c:formatCode>
                <c:ptCount val="6"/>
                <c:pt idx="0">
                  <c:v>22</c:v>
                </c:pt>
                <c:pt idx="1">
                  <c:v>38</c:v>
                </c:pt>
                <c:pt idx="2">
                  <c:v>53</c:v>
                </c:pt>
                <c:pt idx="3">
                  <c:v>150</c:v>
                </c:pt>
                <c:pt idx="4">
                  <c:v>362</c:v>
                </c:pt>
                <c:pt idx="5">
                  <c:v>398</c:v>
                </c:pt>
              </c:numCache>
            </c:numRef>
          </c:val>
          <c:extLst xmlns:c16r2="http://schemas.microsoft.com/office/drawing/2015/06/chart">
            <c:ext xmlns:c16="http://schemas.microsoft.com/office/drawing/2014/chart" uri="{C3380CC4-5D6E-409C-BE32-E72D297353CC}">
              <c16:uniqueId val="{00000001-1159-45BF-8498-D320DBE3B4B8}"/>
            </c:ext>
          </c:extLst>
        </c:ser>
        <c:dLbls>
          <c:showLegendKey val="0"/>
          <c:showVal val="0"/>
          <c:showCatName val="0"/>
          <c:showSerName val="0"/>
          <c:showPercent val="0"/>
          <c:showBubbleSize val="0"/>
        </c:dLbls>
        <c:gapWidth val="59"/>
        <c:shape val="cylinder"/>
        <c:axId val="131196032"/>
        <c:axId val="131197568"/>
        <c:axId val="0"/>
      </c:bar3DChart>
      <c:catAx>
        <c:axId val="131196032"/>
        <c:scaling>
          <c:orientation val="minMax"/>
        </c:scaling>
        <c:delete val="0"/>
        <c:axPos val="b"/>
        <c:numFmt formatCode="General" sourceLinked="1"/>
        <c:majorTickMark val="out"/>
        <c:minorTickMark val="none"/>
        <c:tickLblPos val="nextTo"/>
        <c:txPr>
          <a:bodyPr/>
          <a:lstStyle/>
          <a:p>
            <a:pPr>
              <a:defRPr sz="2400" b="1">
                <a:solidFill>
                  <a:schemeClr val="tx1"/>
                </a:solidFill>
                <a:latin typeface="Agency FB" panose="020B0503020202020204" pitchFamily="34" charset="0"/>
              </a:defRPr>
            </a:pPr>
            <a:endParaRPr lang="en-US"/>
          </a:p>
        </c:txPr>
        <c:crossAx val="131197568"/>
        <c:crosses val="autoZero"/>
        <c:auto val="1"/>
        <c:lblAlgn val="ctr"/>
        <c:lblOffset val="100"/>
        <c:noMultiLvlLbl val="0"/>
      </c:catAx>
      <c:valAx>
        <c:axId val="131197568"/>
        <c:scaling>
          <c:orientation val="minMax"/>
        </c:scaling>
        <c:delete val="0"/>
        <c:axPos val="l"/>
        <c:numFmt formatCode="General" sourceLinked="1"/>
        <c:majorTickMark val="out"/>
        <c:minorTickMark val="none"/>
        <c:tickLblPos val="nextTo"/>
        <c:txPr>
          <a:bodyPr/>
          <a:lstStyle/>
          <a:p>
            <a:pPr>
              <a:defRPr sz="1800" b="1">
                <a:solidFill>
                  <a:schemeClr val="tx1"/>
                </a:solidFill>
                <a:effectLst>
                  <a:outerShdw blurRad="38100" dist="38100" dir="2700000" algn="tl">
                    <a:srgbClr val="000000">
                      <a:alpha val="43137"/>
                    </a:srgbClr>
                  </a:outerShdw>
                </a:effectLst>
                <a:latin typeface="Agency FB" panose="020B0503020202020204" pitchFamily="34" charset="0"/>
              </a:defRPr>
            </a:pPr>
            <a:endParaRPr lang="en-US"/>
          </a:p>
        </c:txPr>
        <c:crossAx val="131196032"/>
        <c:crosses val="autoZero"/>
        <c:crossBetween val="between"/>
      </c:valAx>
      <c:spPr>
        <a:noFill/>
        <a:ln>
          <a:noFill/>
        </a:ln>
      </c:spPr>
    </c:plotArea>
    <c:plotVisOnly val="1"/>
    <c:dispBlanksAs val="gap"/>
    <c:showDLblsOverMax val="0"/>
  </c:chart>
  <c:spPr>
    <a:noFill/>
    <a:ln>
      <a:noFill/>
    </a:ln>
  </c:sp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914D92-D057-4902-98D0-6138C4CB703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E0944C4-D195-405A-8DFE-49E29A5CB60C}">
      <dgm:prSet phldrT="[Text]" custT="1"/>
      <dgm:spPr/>
      <dgm:t>
        <a:bodyPr/>
        <a:lstStyle/>
        <a:p>
          <a:r>
            <a:rPr lang="id-ID" sz="4000" b="1" dirty="0" smtClean="0">
              <a:latin typeface="Agency FB" pitchFamily="34" charset="0"/>
            </a:rPr>
            <a:t>Masyarakat</a:t>
          </a:r>
          <a:endParaRPr lang="en-US" sz="4800" b="1" dirty="0">
            <a:latin typeface="Agency FB" pitchFamily="34" charset="0"/>
          </a:endParaRPr>
        </a:p>
      </dgm:t>
    </dgm:pt>
    <dgm:pt modelId="{F81E04C4-3662-4CC8-AD94-ABAF032C8155}" type="parTrans" cxnId="{5B66D690-52F0-41D5-AAC6-C6C5FB5F0614}">
      <dgm:prSet/>
      <dgm:spPr/>
      <dgm:t>
        <a:bodyPr/>
        <a:lstStyle/>
        <a:p>
          <a:endParaRPr lang="en-US"/>
        </a:p>
      </dgm:t>
    </dgm:pt>
    <dgm:pt modelId="{5EE4C070-6643-4EC6-9B43-3EE29CEE2979}" type="sibTrans" cxnId="{5B66D690-52F0-41D5-AAC6-C6C5FB5F0614}">
      <dgm:prSet/>
      <dgm:spPr/>
      <dgm:t>
        <a:bodyPr/>
        <a:lstStyle/>
        <a:p>
          <a:endParaRPr lang="en-US"/>
        </a:p>
      </dgm:t>
    </dgm:pt>
    <dgm:pt modelId="{F24D4B54-AAC4-4ADB-B5C4-A5575FDC2676}">
      <dgm:prSet phldrT="[Text]" custT="1"/>
      <dgm:spPr/>
      <dgm:t>
        <a:bodyPr/>
        <a:lstStyle/>
        <a:p>
          <a:pPr rtl="0"/>
          <a:r>
            <a:rPr lang="id-ID" altLang="zh-CN" sz="2400" dirty="0" smtClean="0">
              <a:latin typeface="Agency FB" pitchFamily="34" charset="0"/>
              <a:sym typeface="Roboto Condensed" pitchFamily="2" charset="0"/>
            </a:rPr>
            <a:t>Menjadi acuan dalam membeli barang</a:t>
          </a:r>
          <a:endParaRPr lang="en-US" sz="2400" dirty="0">
            <a:latin typeface="Agency FB" pitchFamily="34" charset="0"/>
          </a:endParaRPr>
        </a:p>
      </dgm:t>
    </dgm:pt>
    <dgm:pt modelId="{355B2FF1-3603-4FFE-B9A1-2D9C09EBFCF5}" type="parTrans" cxnId="{4FE3AE60-5785-4C28-BBB0-F01409D79C15}">
      <dgm:prSet/>
      <dgm:spPr/>
      <dgm:t>
        <a:bodyPr/>
        <a:lstStyle/>
        <a:p>
          <a:endParaRPr lang="en-US"/>
        </a:p>
      </dgm:t>
    </dgm:pt>
    <dgm:pt modelId="{B5B6D1FA-B83D-4C98-8B01-B63A7F60820C}" type="sibTrans" cxnId="{4FE3AE60-5785-4C28-BBB0-F01409D79C15}">
      <dgm:prSet/>
      <dgm:spPr/>
      <dgm:t>
        <a:bodyPr/>
        <a:lstStyle/>
        <a:p>
          <a:endParaRPr lang="en-US"/>
        </a:p>
      </dgm:t>
    </dgm:pt>
    <dgm:pt modelId="{FBCBF706-FB2E-43B2-87C1-ACDD85BCCB25}">
      <dgm:prSet phldrT="[Text]" custT="1"/>
      <dgm:spPr/>
      <dgm:t>
        <a:bodyPr/>
        <a:lstStyle/>
        <a:p>
          <a:r>
            <a:rPr lang="id-ID" sz="4000" b="1" dirty="0" smtClean="0">
              <a:latin typeface="Agency FB" pitchFamily="34" charset="0"/>
            </a:rPr>
            <a:t>Pedagang</a:t>
          </a:r>
          <a:endParaRPr lang="en-US" sz="4000" b="1" dirty="0">
            <a:latin typeface="Agency FB" pitchFamily="34" charset="0"/>
          </a:endParaRPr>
        </a:p>
      </dgm:t>
    </dgm:pt>
    <dgm:pt modelId="{FA87E520-0DA8-49F9-B160-39AA64FE037B}" type="parTrans" cxnId="{ED19549A-CC5C-4102-9344-4C6C6561035B}">
      <dgm:prSet/>
      <dgm:spPr/>
      <dgm:t>
        <a:bodyPr/>
        <a:lstStyle/>
        <a:p>
          <a:endParaRPr lang="en-US"/>
        </a:p>
      </dgm:t>
    </dgm:pt>
    <dgm:pt modelId="{5EDB93D6-C250-40D6-9A57-2AFBAC477B13}" type="sibTrans" cxnId="{ED19549A-CC5C-4102-9344-4C6C6561035B}">
      <dgm:prSet/>
      <dgm:spPr/>
      <dgm:t>
        <a:bodyPr/>
        <a:lstStyle/>
        <a:p>
          <a:endParaRPr lang="en-US"/>
        </a:p>
      </dgm:t>
    </dgm:pt>
    <dgm:pt modelId="{E79D03EC-1975-44E2-BEB4-FECDA4B324A7}">
      <dgm:prSet phldrT="[Text]" custT="1"/>
      <dgm:spPr/>
      <dgm:t>
        <a:bodyPr/>
        <a:lstStyle/>
        <a:p>
          <a:pPr rtl="0"/>
          <a:r>
            <a:rPr lang="id-ID" altLang="zh-CN" sz="2400" dirty="0" smtClean="0">
              <a:latin typeface="Agency FB" pitchFamily="34" charset="0"/>
              <a:sym typeface="Roboto Condensed" pitchFamily="2" charset="0"/>
            </a:rPr>
            <a:t>Memperkecil disparitas harga yang terjadi di pasar</a:t>
          </a:r>
          <a:endParaRPr lang="en-US" sz="2400" dirty="0">
            <a:latin typeface="Agency FB" pitchFamily="34" charset="0"/>
          </a:endParaRPr>
        </a:p>
      </dgm:t>
    </dgm:pt>
    <dgm:pt modelId="{522AEA7E-D1FE-4B0E-B13C-BF9896471C0C}" type="parTrans" cxnId="{4F7B5763-45AF-465F-A0A7-247A79BE99F9}">
      <dgm:prSet/>
      <dgm:spPr/>
      <dgm:t>
        <a:bodyPr/>
        <a:lstStyle/>
        <a:p>
          <a:endParaRPr lang="en-US"/>
        </a:p>
      </dgm:t>
    </dgm:pt>
    <dgm:pt modelId="{226541C0-522B-4532-9555-504940FF53A3}" type="sibTrans" cxnId="{4F7B5763-45AF-465F-A0A7-247A79BE99F9}">
      <dgm:prSet/>
      <dgm:spPr/>
      <dgm:t>
        <a:bodyPr/>
        <a:lstStyle/>
        <a:p>
          <a:endParaRPr lang="en-US"/>
        </a:p>
      </dgm:t>
    </dgm:pt>
    <dgm:pt modelId="{E5A8B4E2-59C7-4CDE-8C13-34E78C972B5D}">
      <dgm:prSet phldrT="[Text]" custT="1"/>
      <dgm:spPr/>
      <dgm:t>
        <a:bodyPr/>
        <a:lstStyle/>
        <a:p>
          <a:r>
            <a:rPr lang="id-ID" sz="4000" b="1" dirty="0" smtClean="0">
              <a:latin typeface="Agency FB" pitchFamily="34" charset="0"/>
            </a:rPr>
            <a:t>Penentu </a:t>
          </a:r>
          <a:endParaRPr lang="en-US" sz="4000" b="1" dirty="0" smtClean="0">
            <a:latin typeface="Agency FB" pitchFamily="34" charset="0"/>
          </a:endParaRPr>
        </a:p>
        <a:p>
          <a:r>
            <a:rPr lang="id-ID" sz="4000" b="1" dirty="0" smtClean="0">
              <a:latin typeface="Agency FB" pitchFamily="34" charset="0"/>
            </a:rPr>
            <a:t>Kebijakan</a:t>
          </a:r>
          <a:endParaRPr lang="en-US" sz="4000" b="1" dirty="0">
            <a:latin typeface="Agency FB" pitchFamily="34" charset="0"/>
          </a:endParaRPr>
        </a:p>
      </dgm:t>
    </dgm:pt>
    <dgm:pt modelId="{BFB46359-A405-4A30-9288-6F1FC13FD434}" type="parTrans" cxnId="{3AB44365-4C1B-4CC8-B13F-4E8209B2F8C4}">
      <dgm:prSet/>
      <dgm:spPr/>
      <dgm:t>
        <a:bodyPr/>
        <a:lstStyle/>
        <a:p>
          <a:endParaRPr lang="en-US"/>
        </a:p>
      </dgm:t>
    </dgm:pt>
    <dgm:pt modelId="{EF869C79-8CFE-4D33-BC38-729947F83181}" type="sibTrans" cxnId="{3AB44365-4C1B-4CC8-B13F-4E8209B2F8C4}">
      <dgm:prSet/>
      <dgm:spPr/>
      <dgm:t>
        <a:bodyPr/>
        <a:lstStyle/>
        <a:p>
          <a:endParaRPr lang="en-US"/>
        </a:p>
      </dgm:t>
    </dgm:pt>
    <dgm:pt modelId="{46E23C21-834D-455E-BFC6-D89726173697}">
      <dgm:prSet phldrT="[Text]" custT="1"/>
      <dgm:spPr/>
      <dgm:t>
        <a:bodyPr/>
        <a:lstStyle/>
        <a:p>
          <a:pPr rtl="0"/>
          <a:r>
            <a:rPr lang="id-ID" altLang="zh-CN" sz="2400" dirty="0" smtClean="0">
              <a:latin typeface="Agency FB" pitchFamily="34" charset="0"/>
              <a:sym typeface="Roboto Condensed" pitchFamily="2" charset="0"/>
            </a:rPr>
            <a:t>Sebagai sinyal awal (</a:t>
          </a:r>
          <a:r>
            <a:rPr lang="id-ID" altLang="zh-CN" sz="2400" dirty="0" err="1" smtClean="0">
              <a:latin typeface="Agency FB" pitchFamily="34" charset="0"/>
              <a:sym typeface="Roboto Condensed" pitchFamily="2" charset="0"/>
            </a:rPr>
            <a:t>Early</a:t>
          </a:r>
          <a:r>
            <a:rPr lang="id-ID" altLang="zh-CN" sz="2400" dirty="0" smtClean="0">
              <a:latin typeface="Agency FB" pitchFamily="34" charset="0"/>
              <a:sym typeface="Roboto Condensed" pitchFamily="2" charset="0"/>
            </a:rPr>
            <a:t> </a:t>
          </a:r>
          <a:r>
            <a:rPr lang="id-ID" altLang="zh-CN" sz="2400" dirty="0" err="1" smtClean="0">
              <a:latin typeface="Agency FB" pitchFamily="34" charset="0"/>
              <a:sym typeface="Roboto Condensed" pitchFamily="2" charset="0"/>
            </a:rPr>
            <a:t>Warning</a:t>
          </a:r>
          <a:r>
            <a:rPr lang="id-ID" altLang="zh-CN" sz="2400" dirty="0" smtClean="0">
              <a:latin typeface="Agency FB" pitchFamily="34" charset="0"/>
              <a:sym typeface="Roboto Condensed" pitchFamily="2" charset="0"/>
            </a:rPr>
            <a:t>) gejolak harga di pasar</a:t>
          </a:r>
          <a:endParaRPr lang="en-US" sz="2400" dirty="0">
            <a:latin typeface="Agency FB" pitchFamily="34" charset="0"/>
          </a:endParaRPr>
        </a:p>
      </dgm:t>
    </dgm:pt>
    <dgm:pt modelId="{3ACBCCBA-B36A-4A2B-8313-8AB84EE388B2}" type="parTrans" cxnId="{8BFFCEBE-C86D-4209-9D79-C625422EE8FF}">
      <dgm:prSet/>
      <dgm:spPr/>
      <dgm:t>
        <a:bodyPr/>
        <a:lstStyle/>
        <a:p>
          <a:endParaRPr lang="en-US"/>
        </a:p>
      </dgm:t>
    </dgm:pt>
    <dgm:pt modelId="{82670497-F4D8-444C-992D-48AA944FB2BF}" type="sibTrans" cxnId="{8BFFCEBE-C86D-4209-9D79-C625422EE8FF}">
      <dgm:prSet/>
      <dgm:spPr/>
      <dgm:t>
        <a:bodyPr/>
        <a:lstStyle/>
        <a:p>
          <a:endParaRPr lang="en-US"/>
        </a:p>
      </dgm:t>
    </dgm:pt>
    <dgm:pt modelId="{876FEF6A-6B62-4611-B5BD-B88661AB131B}">
      <dgm:prSet custT="1"/>
      <dgm:spPr/>
      <dgm:t>
        <a:bodyPr/>
        <a:lstStyle/>
        <a:p>
          <a:pPr rtl="0"/>
          <a:r>
            <a:rPr lang="id-ID" altLang="zh-CN" sz="2400" dirty="0" smtClean="0">
              <a:latin typeface="Agency FB" pitchFamily="34" charset="0"/>
              <a:sym typeface="Roboto Condensed" pitchFamily="2" charset="0"/>
            </a:rPr>
            <a:t>Mengurangi potensi fluktuasi harga serta </a:t>
          </a:r>
          <a:r>
            <a:rPr lang="id-ID" altLang="zh-CN" sz="2400" dirty="0" err="1" smtClean="0">
              <a:latin typeface="Agency FB" pitchFamily="34" charset="0"/>
              <a:sym typeface="Roboto Condensed" pitchFamily="2" charset="0"/>
            </a:rPr>
            <a:t>meningkatan</a:t>
          </a:r>
          <a:r>
            <a:rPr lang="id-ID" altLang="zh-CN" sz="2400" dirty="0" smtClean="0">
              <a:latin typeface="Agency FB" pitchFamily="34" charset="0"/>
              <a:sym typeface="Roboto Condensed" pitchFamily="2" charset="0"/>
            </a:rPr>
            <a:t> kesejahteraan masyarakat</a:t>
          </a:r>
        </a:p>
      </dgm:t>
    </dgm:pt>
    <dgm:pt modelId="{B528147B-C1BF-4C1E-87CB-C927895EBB59}" type="parTrans" cxnId="{D9D746DC-1F1D-421F-B908-A87E86C75CE7}">
      <dgm:prSet/>
      <dgm:spPr/>
      <dgm:t>
        <a:bodyPr/>
        <a:lstStyle/>
        <a:p>
          <a:endParaRPr lang="en-US"/>
        </a:p>
      </dgm:t>
    </dgm:pt>
    <dgm:pt modelId="{1F4F0C75-E64B-48FC-AC1F-8347868699EC}" type="sibTrans" cxnId="{D9D746DC-1F1D-421F-B908-A87E86C75CE7}">
      <dgm:prSet/>
      <dgm:spPr/>
      <dgm:t>
        <a:bodyPr/>
        <a:lstStyle/>
        <a:p>
          <a:endParaRPr lang="en-US"/>
        </a:p>
      </dgm:t>
    </dgm:pt>
    <dgm:pt modelId="{18FDFB81-CC7C-4C09-9DBD-BA1325E709E7}">
      <dgm:prSet custT="1"/>
      <dgm:spPr/>
      <dgm:t>
        <a:bodyPr/>
        <a:lstStyle/>
        <a:p>
          <a:pPr rtl="0"/>
          <a:r>
            <a:rPr lang="id-ID" altLang="zh-CN" sz="2400" dirty="0" smtClean="0">
              <a:latin typeface="Agency FB" pitchFamily="34" charset="0"/>
              <a:sym typeface="Roboto Condensed" pitchFamily="2" charset="0"/>
            </a:rPr>
            <a:t>Menjadi tolak ukur harga hari pasar, sehingga dapat menghindari permainan harga oleh tengkulak</a:t>
          </a:r>
          <a:endParaRPr lang="en-US" sz="2400" dirty="0">
            <a:latin typeface="Agency FB" pitchFamily="34" charset="0"/>
          </a:endParaRPr>
        </a:p>
      </dgm:t>
    </dgm:pt>
    <dgm:pt modelId="{F6C99BC6-A0D8-4DDF-A774-EF3E5B462872}" type="parTrans" cxnId="{135F72D5-0335-4E0A-A951-C70CEC233C7B}">
      <dgm:prSet/>
      <dgm:spPr/>
      <dgm:t>
        <a:bodyPr/>
        <a:lstStyle/>
        <a:p>
          <a:endParaRPr lang="en-US"/>
        </a:p>
      </dgm:t>
    </dgm:pt>
    <dgm:pt modelId="{1AF6BFBA-2723-4889-93F1-60FFCDC03D50}" type="sibTrans" cxnId="{135F72D5-0335-4E0A-A951-C70CEC233C7B}">
      <dgm:prSet/>
      <dgm:spPr/>
      <dgm:t>
        <a:bodyPr/>
        <a:lstStyle/>
        <a:p>
          <a:endParaRPr lang="en-US"/>
        </a:p>
      </dgm:t>
    </dgm:pt>
    <dgm:pt modelId="{22C99D82-7A01-433D-970E-93DE9571A713}">
      <dgm:prSet custT="1"/>
      <dgm:spPr/>
      <dgm:t>
        <a:bodyPr/>
        <a:lstStyle/>
        <a:p>
          <a:pPr rtl="0"/>
          <a:r>
            <a:rPr lang="id-ID" altLang="zh-CN" sz="2400" dirty="0" smtClean="0">
              <a:latin typeface="Agency FB" pitchFamily="34" charset="0"/>
              <a:sym typeface="Roboto Condensed" pitchFamily="2" charset="0"/>
            </a:rPr>
            <a:t>Sebagai bahan kajian untuk memahami perilaku harga komoditas dan melihat keterkaitan harga antar wilayah</a:t>
          </a:r>
        </a:p>
      </dgm:t>
    </dgm:pt>
    <dgm:pt modelId="{F0C81405-FA58-4104-97F0-D695CF3F975F}" type="parTrans" cxnId="{EBE4F2BA-440E-4E81-A439-DA007F6D2E8C}">
      <dgm:prSet/>
      <dgm:spPr/>
      <dgm:t>
        <a:bodyPr/>
        <a:lstStyle/>
        <a:p>
          <a:endParaRPr lang="en-US"/>
        </a:p>
      </dgm:t>
    </dgm:pt>
    <dgm:pt modelId="{DC6BDFDC-A05A-4829-872A-55B87063C241}" type="sibTrans" cxnId="{EBE4F2BA-440E-4E81-A439-DA007F6D2E8C}">
      <dgm:prSet/>
      <dgm:spPr/>
      <dgm:t>
        <a:bodyPr/>
        <a:lstStyle/>
        <a:p>
          <a:endParaRPr lang="en-US"/>
        </a:p>
      </dgm:t>
    </dgm:pt>
    <dgm:pt modelId="{A519FC3B-215F-4374-A571-DBF1F0ABEC41}" type="pres">
      <dgm:prSet presAssocID="{46914D92-D057-4902-98D0-6138C4CB7032}" presName="Name0" presStyleCnt="0">
        <dgm:presLayoutVars>
          <dgm:dir/>
          <dgm:animLvl val="lvl"/>
          <dgm:resizeHandles val="exact"/>
        </dgm:presLayoutVars>
      </dgm:prSet>
      <dgm:spPr/>
      <dgm:t>
        <a:bodyPr/>
        <a:lstStyle/>
        <a:p>
          <a:endParaRPr lang="en-US"/>
        </a:p>
      </dgm:t>
    </dgm:pt>
    <dgm:pt modelId="{DE1FA613-301B-4F4B-976B-0F2FA3A99353}" type="pres">
      <dgm:prSet presAssocID="{BE0944C4-D195-405A-8DFE-49E29A5CB60C}" presName="linNode" presStyleCnt="0"/>
      <dgm:spPr/>
      <dgm:t>
        <a:bodyPr/>
        <a:lstStyle/>
        <a:p>
          <a:endParaRPr lang="en-US"/>
        </a:p>
      </dgm:t>
    </dgm:pt>
    <dgm:pt modelId="{0AFE2784-70BF-4AB8-B7C7-5DA5BAB0E81B}" type="pres">
      <dgm:prSet presAssocID="{BE0944C4-D195-405A-8DFE-49E29A5CB60C}" presName="parentText" presStyleLbl="node1" presStyleIdx="0" presStyleCnt="3" custScaleY="76569">
        <dgm:presLayoutVars>
          <dgm:chMax val="1"/>
          <dgm:bulletEnabled val="1"/>
        </dgm:presLayoutVars>
      </dgm:prSet>
      <dgm:spPr/>
      <dgm:t>
        <a:bodyPr/>
        <a:lstStyle/>
        <a:p>
          <a:endParaRPr lang="en-US"/>
        </a:p>
      </dgm:t>
    </dgm:pt>
    <dgm:pt modelId="{16E3DA82-02C9-4FBE-991E-917C32DADD97}" type="pres">
      <dgm:prSet presAssocID="{BE0944C4-D195-405A-8DFE-49E29A5CB60C}" presName="descendantText" presStyleLbl="alignAccFollowNode1" presStyleIdx="0" presStyleCnt="3">
        <dgm:presLayoutVars>
          <dgm:bulletEnabled val="1"/>
        </dgm:presLayoutVars>
      </dgm:prSet>
      <dgm:spPr/>
      <dgm:t>
        <a:bodyPr/>
        <a:lstStyle/>
        <a:p>
          <a:endParaRPr lang="en-US"/>
        </a:p>
      </dgm:t>
    </dgm:pt>
    <dgm:pt modelId="{FA517E51-D380-442D-923D-79A19B69075E}" type="pres">
      <dgm:prSet presAssocID="{5EE4C070-6643-4EC6-9B43-3EE29CEE2979}" presName="sp" presStyleCnt="0"/>
      <dgm:spPr/>
      <dgm:t>
        <a:bodyPr/>
        <a:lstStyle/>
        <a:p>
          <a:endParaRPr lang="en-US"/>
        </a:p>
      </dgm:t>
    </dgm:pt>
    <dgm:pt modelId="{64BCA711-5B4A-472C-8E3A-A89EBC0A5002}" type="pres">
      <dgm:prSet presAssocID="{FBCBF706-FB2E-43B2-87C1-ACDD85BCCB25}" presName="linNode" presStyleCnt="0"/>
      <dgm:spPr/>
      <dgm:t>
        <a:bodyPr/>
        <a:lstStyle/>
        <a:p>
          <a:endParaRPr lang="en-US"/>
        </a:p>
      </dgm:t>
    </dgm:pt>
    <dgm:pt modelId="{9C1053F5-FFA3-49EB-A8EE-9CF3BB5A20BE}" type="pres">
      <dgm:prSet presAssocID="{FBCBF706-FB2E-43B2-87C1-ACDD85BCCB25}" presName="parentText" presStyleLbl="node1" presStyleIdx="1" presStyleCnt="3" custScaleY="75043">
        <dgm:presLayoutVars>
          <dgm:chMax val="1"/>
          <dgm:bulletEnabled val="1"/>
        </dgm:presLayoutVars>
      </dgm:prSet>
      <dgm:spPr/>
      <dgm:t>
        <a:bodyPr/>
        <a:lstStyle/>
        <a:p>
          <a:endParaRPr lang="en-US"/>
        </a:p>
      </dgm:t>
    </dgm:pt>
    <dgm:pt modelId="{92354D49-1DB3-4632-B2FA-CA72990545F9}" type="pres">
      <dgm:prSet presAssocID="{FBCBF706-FB2E-43B2-87C1-ACDD85BCCB25}" presName="descendantText" presStyleLbl="alignAccFollowNode1" presStyleIdx="1" presStyleCnt="3">
        <dgm:presLayoutVars>
          <dgm:bulletEnabled val="1"/>
        </dgm:presLayoutVars>
      </dgm:prSet>
      <dgm:spPr/>
      <dgm:t>
        <a:bodyPr/>
        <a:lstStyle/>
        <a:p>
          <a:endParaRPr lang="en-US"/>
        </a:p>
      </dgm:t>
    </dgm:pt>
    <dgm:pt modelId="{4FD28E88-57AF-479E-A5BE-ED58D6359CE0}" type="pres">
      <dgm:prSet presAssocID="{5EDB93D6-C250-40D6-9A57-2AFBAC477B13}" presName="sp" presStyleCnt="0"/>
      <dgm:spPr/>
      <dgm:t>
        <a:bodyPr/>
        <a:lstStyle/>
        <a:p>
          <a:endParaRPr lang="en-US"/>
        </a:p>
      </dgm:t>
    </dgm:pt>
    <dgm:pt modelId="{E057015E-56AC-4050-ACF3-E93B1338F8EC}" type="pres">
      <dgm:prSet presAssocID="{E5A8B4E2-59C7-4CDE-8C13-34E78C972B5D}" presName="linNode" presStyleCnt="0"/>
      <dgm:spPr/>
      <dgm:t>
        <a:bodyPr/>
        <a:lstStyle/>
        <a:p>
          <a:endParaRPr lang="en-US"/>
        </a:p>
      </dgm:t>
    </dgm:pt>
    <dgm:pt modelId="{3CA67D23-F04E-4390-8722-187606385039}" type="pres">
      <dgm:prSet presAssocID="{E5A8B4E2-59C7-4CDE-8C13-34E78C972B5D}" presName="parentText" presStyleLbl="node1" presStyleIdx="2" presStyleCnt="3" custScaleY="88867">
        <dgm:presLayoutVars>
          <dgm:chMax val="1"/>
          <dgm:bulletEnabled val="1"/>
        </dgm:presLayoutVars>
      </dgm:prSet>
      <dgm:spPr/>
      <dgm:t>
        <a:bodyPr/>
        <a:lstStyle/>
        <a:p>
          <a:endParaRPr lang="en-US"/>
        </a:p>
      </dgm:t>
    </dgm:pt>
    <dgm:pt modelId="{6F0828DE-8E32-430A-85FD-572882574605}" type="pres">
      <dgm:prSet presAssocID="{E5A8B4E2-59C7-4CDE-8C13-34E78C972B5D}" presName="descendantText" presStyleLbl="alignAccFollowNode1" presStyleIdx="2" presStyleCnt="3" custScaleY="133761">
        <dgm:presLayoutVars>
          <dgm:bulletEnabled val="1"/>
        </dgm:presLayoutVars>
      </dgm:prSet>
      <dgm:spPr/>
      <dgm:t>
        <a:bodyPr/>
        <a:lstStyle/>
        <a:p>
          <a:endParaRPr lang="en-US"/>
        </a:p>
      </dgm:t>
    </dgm:pt>
  </dgm:ptLst>
  <dgm:cxnLst>
    <dgm:cxn modelId="{4F7B5763-45AF-465F-A0A7-247A79BE99F9}" srcId="{FBCBF706-FB2E-43B2-87C1-ACDD85BCCB25}" destId="{E79D03EC-1975-44E2-BEB4-FECDA4B324A7}" srcOrd="0" destOrd="0" parTransId="{522AEA7E-D1FE-4B0E-B13C-BF9896471C0C}" sibTransId="{226541C0-522B-4532-9555-504940FF53A3}"/>
    <dgm:cxn modelId="{37392448-96B9-4CFE-95D3-39EFAE98CE59}" type="presOf" srcId="{876FEF6A-6B62-4611-B5BD-B88661AB131B}" destId="{16E3DA82-02C9-4FBE-991E-917C32DADD97}" srcOrd="0" destOrd="1" presId="urn:microsoft.com/office/officeart/2005/8/layout/vList5"/>
    <dgm:cxn modelId="{5F21628E-EBA8-4B52-A2E5-CC0434E38DDB}" type="presOf" srcId="{46914D92-D057-4902-98D0-6138C4CB7032}" destId="{A519FC3B-215F-4374-A571-DBF1F0ABEC41}" srcOrd="0" destOrd="0" presId="urn:microsoft.com/office/officeart/2005/8/layout/vList5"/>
    <dgm:cxn modelId="{3AB44365-4C1B-4CC8-B13F-4E8209B2F8C4}" srcId="{46914D92-D057-4902-98D0-6138C4CB7032}" destId="{E5A8B4E2-59C7-4CDE-8C13-34E78C972B5D}" srcOrd="2" destOrd="0" parTransId="{BFB46359-A405-4A30-9288-6F1FC13FD434}" sibTransId="{EF869C79-8CFE-4D33-BC38-729947F83181}"/>
    <dgm:cxn modelId="{46B50BA9-C309-44AA-9215-5D665FCCFD6D}" type="presOf" srcId="{22C99D82-7A01-433D-970E-93DE9571A713}" destId="{6F0828DE-8E32-430A-85FD-572882574605}" srcOrd="0" destOrd="1" presId="urn:microsoft.com/office/officeart/2005/8/layout/vList5"/>
    <dgm:cxn modelId="{EF9CF876-1B28-473F-826F-3C1CF8BF51EF}" type="presOf" srcId="{BE0944C4-D195-405A-8DFE-49E29A5CB60C}" destId="{0AFE2784-70BF-4AB8-B7C7-5DA5BAB0E81B}" srcOrd="0" destOrd="0" presId="urn:microsoft.com/office/officeart/2005/8/layout/vList5"/>
    <dgm:cxn modelId="{1B3E8B56-CD8F-487C-BE2F-7B2B37C491C8}" type="presOf" srcId="{E79D03EC-1975-44E2-BEB4-FECDA4B324A7}" destId="{92354D49-1DB3-4632-B2FA-CA72990545F9}" srcOrd="0" destOrd="0" presId="urn:microsoft.com/office/officeart/2005/8/layout/vList5"/>
    <dgm:cxn modelId="{D9D746DC-1F1D-421F-B908-A87E86C75CE7}" srcId="{BE0944C4-D195-405A-8DFE-49E29A5CB60C}" destId="{876FEF6A-6B62-4611-B5BD-B88661AB131B}" srcOrd="1" destOrd="0" parTransId="{B528147B-C1BF-4C1E-87CB-C927895EBB59}" sibTransId="{1F4F0C75-E64B-48FC-AC1F-8347868699EC}"/>
    <dgm:cxn modelId="{B4C9B31C-F140-4B68-8AEE-3068E7BCB566}" type="presOf" srcId="{46E23C21-834D-455E-BFC6-D89726173697}" destId="{6F0828DE-8E32-430A-85FD-572882574605}" srcOrd="0" destOrd="0" presId="urn:microsoft.com/office/officeart/2005/8/layout/vList5"/>
    <dgm:cxn modelId="{EBE4F2BA-440E-4E81-A439-DA007F6D2E8C}" srcId="{E5A8B4E2-59C7-4CDE-8C13-34E78C972B5D}" destId="{22C99D82-7A01-433D-970E-93DE9571A713}" srcOrd="1" destOrd="0" parTransId="{F0C81405-FA58-4104-97F0-D695CF3F975F}" sibTransId="{DC6BDFDC-A05A-4829-872A-55B87063C241}"/>
    <dgm:cxn modelId="{4FE3AE60-5785-4C28-BBB0-F01409D79C15}" srcId="{BE0944C4-D195-405A-8DFE-49E29A5CB60C}" destId="{F24D4B54-AAC4-4ADB-B5C4-A5575FDC2676}" srcOrd="0" destOrd="0" parTransId="{355B2FF1-3603-4FFE-B9A1-2D9C09EBFCF5}" sibTransId="{B5B6D1FA-B83D-4C98-8B01-B63A7F60820C}"/>
    <dgm:cxn modelId="{AFEDA378-9D9D-4C09-9E8D-38AFA6E43539}" type="presOf" srcId="{FBCBF706-FB2E-43B2-87C1-ACDD85BCCB25}" destId="{9C1053F5-FFA3-49EB-A8EE-9CF3BB5A20BE}" srcOrd="0" destOrd="0" presId="urn:microsoft.com/office/officeart/2005/8/layout/vList5"/>
    <dgm:cxn modelId="{8BFFCEBE-C86D-4209-9D79-C625422EE8FF}" srcId="{E5A8B4E2-59C7-4CDE-8C13-34E78C972B5D}" destId="{46E23C21-834D-455E-BFC6-D89726173697}" srcOrd="0" destOrd="0" parTransId="{3ACBCCBA-B36A-4A2B-8313-8AB84EE388B2}" sibTransId="{82670497-F4D8-444C-992D-48AA944FB2BF}"/>
    <dgm:cxn modelId="{64F6C954-103A-41B2-ACB3-E189B2B1D2AA}" type="presOf" srcId="{E5A8B4E2-59C7-4CDE-8C13-34E78C972B5D}" destId="{3CA67D23-F04E-4390-8722-187606385039}" srcOrd="0" destOrd="0" presId="urn:microsoft.com/office/officeart/2005/8/layout/vList5"/>
    <dgm:cxn modelId="{ED19549A-CC5C-4102-9344-4C6C6561035B}" srcId="{46914D92-D057-4902-98D0-6138C4CB7032}" destId="{FBCBF706-FB2E-43B2-87C1-ACDD85BCCB25}" srcOrd="1" destOrd="0" parTransId="{FA87E520-0DA8-49F9-B160-39AA64FE037B}" sibTransId="{5EDB93D6-C250-40D6-9A57-2AFBAC477B13}"/>
    <dgm:cxn modelId="{CAF64D60-EA5E-47C8-9990-970FF8219BB2}" type="presOf" srcId="{F24D4B54-AAC4-4ADB-B5C4-A5575FDC2676}" destId="{16E3DA82-02C9-4FBE-991E-917C32DADD97}" srcOrd="0" destOrd="0" presId="urn:microsoft.com/office/officeart/2005/8/layout/vList5"/>
    <dgm:cxn modelId="{5B66D690-52F0-41D5-AAC6-C6C5FB5F0614}" srcId="{46914D92-D057-4902-98D0-6138C4CB7032}" destId="{BE0944C4-D195-405A-8DFE-49E29A5CB60C}" srcOrd="0" destOrd="0" parTransId="{F81E04C4-3662-4CC8-AD94-ABAF032C8155}" sibTransId="{5EE4C070-6643-4EC6-9B43-3EE29CEE2979}"/>
    <dgm:cxn modelId="{135F72D5-0335-4E0A-A951-C70CEC233C7B}" srcId="{FBCBF706-FB2E-43B2-87C1-ACDD85BCCB25}" destId="{18FDFB81-CC7C-4C09-9DBD-BA1325E709E7}" srcOrd="1" destOrd="0" parTransId="{F6C99BC6-A0D8-4DDF-A774-EF3E5B462872}" sibTransId="{1AF6BFBA-2723-4889-93F1-60FFCDC03D50}"/>
    <dgm:cxn modelId="{CBBAA4DA-AFBE-4A6F-913E-A441708B70E6}" type="presOf" srcId="{18FDFB81-CC7C-4C09-9DBD-BA1325E709E7}" destId="{92354D49-1DB3-4632-B2FA-CA72990545F9}" srcOrd="0" destOrd="1" presId="urn:microsoft.com/office/officeart/2005/8/layout/vList5"/>
    <dgm:cxn modelId="{9DCC17CE-D032-4624-A0DB-106C24906B43}" type="presParOf" srcId="{A519FC3B-215F-4374-A571-DBF1F0ABEC41}" destId="{DE1FA613-301B-4F4B-976B-0F2FA3A99353}" srcOrd="0" destOrd="0" presId="urn:microsoft.com/office/officeart/2005/8/layout/vList5"/>
    <dgm:cxn modelId="{93B45DF5-DECC-4C8F-B9D9-FA9CB7C9AB1E}" type="presParOf" srcId="{DE1FA613-301B-4F4B-976B-0F2FA3A99353}" destId="{0AFE2784-70BF-4AB8-B7C7-5DA5BAB0E81B}" srcOrd="0" destOrd="0" presId="urn:microsoft.com/office/officeart/2005/8/layout/vList5"/>
    <dgm:cxn modelId="{4180A03E-89EB-479E-8F33-1486BCA60A3B}" type="presParOf" srcId="{DE1FA613-301B-4F4B-976B-0F2FA3A99353}" destId="{16E3DA82-02C9-4FBE-991E-917C32DADD97}" srcOrd="1" destOrd="0" presId="urn:microsoft.com/office/officeart/2005/8/layout/vList5"/>
    <dgm:cxn modelId="{490B41B1-8460-4304-B8EE-34A51AC59D4A}" type="presParOf" srcId="{A519FC3B-215F-4374-A571-DBF1F0ABEC41}" destId="{FA517E51-D380-442D-923D-79A19B69075E}" srcOrd="1" destOrd="0" presId="urn:microsoft.com/office/officeart/2005/8/layout/vList5"/>
    <dgm:cxn modelId="{C8EC24C6-70F7-45E3-B929-8CD54B0169CF}" type="presParOf" srcId="{A519FC3B-215F-4374-A571-DBF1F0ABEC41}" destId="{64BCA711-5B4A-472C-8E3A-A89EBC0A5002}" srcOrd="2" destOrd="0" presId="urn:microsoft.com/office/officeart/2005/8/layout/vList5"/>
    <dgm:cxn modelId="{A2AB55DF-5B1B-4C31-B991-099A1C409176}" type="presParOf" srcId="{64BCA711-5B4A-472C-8E3A-A89EBC0A5002}" destId="{9C1053F5-FFA3-49EB-A8EE-9CF3BB5A20BE}" srcOrd="0" destOrd="0" presId="urn:microsoft.com/office/officeart/2005/8/layout/vList5"/>
    <dgm:cxn modelId="{5E961089-758E-4B25-8B94-9AC5AB6AD9B9}" type="presParOf" srcId="{64BCA711-5B4A-472C-8E3A-A89EBC0A5002}" destId="{92354D49-1DB3-4632-B2FA-CA72990545F9}" srcOrd="1" destOrd="0" presId="urn:microsoft.com/office/officeart/2005/8/layout/vList5"/>
    <dgm:cxn modelId="{17BB5A04-BBDB-454A-A545-144D488CFF56}" type="presParOf" srcId="{A519FC3B-215F-4374-A571-DBF1F0ABEC41}" destId="{4FD28E88-57AF-479E-A5BE-ED58D6359CE0}" srcOrd="3" destOrd="0" presId="urn:microsoft.com/office/officeart/2005/8/layout/vList5"/>
    <dgm:cxn modelId="{1ACA4434-3B60-43E6-A916-64798A577094}" type="presParOf" srcId="{A519FC3B-215F-4374-A571-DBF1F0ABEC41}" destId="{E057015E-56AC-4050-ACF3-E93B1338F8EC}" srcOrd="4" destOrd="0" presId="urn:microsoft.com/office/officeart/2005/8/layout/vList5"/>
    <dgm:cxn modelId="{4C38CACF-DD7D-42C6-942D-B6557500C696}" type="presParOf" srcId="{E057015E-56AC-4050-ACF3-E93B1338F8EC}" destId="{3CA67D23-F04E-4390-8722-187606385039}" srcOrd="0" destOrd="0" presId="urn:microsoft.com/office/officeart/2005/8/layout/vList5"/>
    <dgm:cxn modelId="{4D8BB87C-6796-4BD1-9F6B-05BBC4C925EC}" type="presParOf" srcId="{E057015E-56AC-4050-ACF3-E93B1338F8EC}" destId="{6F0828DE-8E32-430A-85FD-57288257460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2542677-DD21-487D-A751-9CA64E3C2449}" type="doc">
      <dgm:prSet loTypeId="urn:microsoft.com/office/officeart/2005/8/layout/gear1" loCatId="process" qsTypeId="urn:microsoft.com/office/officeart/2005/8/quickstyle/simple5" qsCatId="simple" csTypeId="urn:microsoft.com/office/officeart/2005/8/colors/accent1_2" csCatId="accent1" phldr="1"/>
      <dgm:spPr/>
    </dgm:pt>
    <dgm:pt modelId="{5AB0C243-7ADD-4502-ADDB-A4A399CA9EDB}">
      <dgm:prSet phldrT="[Text]" custT="1"/>
      <dgm:spPr/>
      <dgm:t>
        <a:bodyPr/>
        <a:lstStyle/>
        <a:p>
          <a:r>
            <a:rPr lang="id-ID" sz="16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AMBAHAN JUMLAH KOMODITI UNTUK HARGA DI TINGKAT KONSUMEN</a:t>
          </a:r>
        </a:p>
        <a:p>
          <a:r>
            <a:rPr lang="id-ID" sz="1100" dirty="0" smtClean="0">
              <a:solidFill>
                <a:srgbClr val="FFCCCC"/>
              </a:solidFill>
              <a:latin typeface="Arial Narrow" panose="020B0606020202030204" pitchFamily="34" charset="0"/>
              <a:ea typeface="Times New Roman" panose="02020603050405020304" pitchFamily="18" charset="0"/>
              <a:cs typeface="Arial" panose="020B0604020202020204" pitchFamily="34" charset="0"/>
            </a:rPr>
            <a:t>(DARI 10 MENJADI 20) </a:t>
          </a:r>
          <a:r>
            <a:rPr lang="id-ID" sz="11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 </a:t>
          </a:r>
          <a:endParaRPr lang="id-ID" sz="1100" dirty="0">
            <a:solidFill>
              <a:srgbClr val="FFFF00"/>
            </a:solidFill>
            <a:latin typeface="Agency FB" panose="020B0503020202020204" pitchFamily="34" charset="0"/>
          </a:endParaRPr>
        </a:p>
      </dgm:t>
    </dgm:pt>
    <dgm:pt modelId="{6C3A44FD-C3C4-4F38-875D-0D159524FE9D}" type="parTrans" cxnId="{915310ED-B95B-4279-8340-CAB29D3D90ED}">
      <dgm:prSet/>
      <dgm:spPr/>
      <dgm:t>
        <a:bodyPr/>
        <a:lstStyle/>
        <a:p>
          <a:endParaRPr lang="id-ID"/>
        </a:p>
      </dgm:t>
    </dgm:pt>
    <dgm:pt modelId="{E4C955A5-CF60-46FB-9E94-FE6D31BEDFA3}" type="sibTrans" cxnId="{915310ED-B95B-4279-8340-CAB29D3D90ED}">
      <dgm:prSet/>
      <dgm:spPr/>
      <dgm:t>
        <a:bodyPr/>
        <a:lstStyle/>
        <a:p>
          <a:endParaRPr lang="id-ID"/>
        </a:p>
      </dgm:t>
    </dgm:pt>
    <dgm:pt modelId="{099684FA-D1B4-48F2-B87F-E5F3BDA1F8E4}">
      <dgm:prSet phldrT="[Text]" custT="1"/>
      <dgm:spPr/>
      <dgm:t>
        <a:bodyPr/>
        <a:lstStyle/>
        <a:p>
          <a:r>
            <a:rPr lang="id-ID" sz="14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AMBAHAN DATA HARGA TINGKAT KONSUMEN </a:t>
          </a:r>
        </a:p>
      </dgm:t>
    </dgm:pt>
    <dgm:pt modelId="{C7748604-4976-4A24-AF5A-52539C53AE9E}" type="parTrans" cxnId="{D07A64A3-AA62-4A0A-B858-54F31A29F55D}">
      <dgm:prSet/>
      <dgm:spPr/>
      <dgm:t>
        <a:bodyPr/>
        <a:lstStyle/>
        <a:p>
          <a:endParaRPr lang="id-ID"/>
        </a:p>
      </dgm:t>
    </dgm:pt>
    <dgm:pt modelId="{D8EF2443-8B84-4CB4-89EA-A436641AD18B}" type="sibTrans" cxnId="{D07A64A3-AA62-4A0A-B858-54F31A29F55D}">
      <dgm:prSet/>
      <dgm:spPr/>
      <dgm:t>
        <a:bodyPr/>
        <a:lstStyle/>
        <a:p>
          <a:endParaRPr lang="id-ID"/>
        </a:p>
      </dgm:t>
    </dgm:pt>
    <dgm:pt modelId="{6F41B59F-0241-448C-981E-6D221F1625F2}">
      <dgm:prSet phldrT="[Text]" custT="1"/>
      <dgm:spPr/>
      <dgm:t>
        <a:bodyPr/>
        <a:lstStyle/>
        <a:p>
          <a:r>
            <a:rPr lang="id-ID" sz="14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GEMBANGAN DATA HARGA DI TINGKAT PRODUSEN</a:t>
          </a:r>
          <a:endParaRPr lang="id-ID" sz="1400" dirty="0">
            <a:solidFill>
              <a:srgbClr val="FFFF00"/>
            </a:solidFill>
            <a:latin typeface="Agency FB" panose="020B0503020202020204" pitchFamily="34" charset="0"/>
          </a:endParaRPr>
        </a:p>
      </dgm:t>
    </dgm:pt>
    <dgm:pt modelId="{E0EAFAAB-F255-447F-856A-75EA46443425}" type="parTrans" cxnId="{3A86CA2D-3F50-4B83-B433-942702EFA321}">
      <dgm:prSet/>
      <dgm:spPr/>
      <dgm:t>
        <a:bodyPr/>
        <a:lstStyle/>
        <a:p>
          <a:endParaRPr lang="id-ID"/>
        </a:p>
      </dgm:t>
    </dgm:pt>
    <dgm:pt modelId="{EEE4042A-E511-4335-B0EB-F754E694E5DB}" type="sibTrans" cxnId="{3A86CA2D-3F50-4B83-B433-942702EFA321}">
      <dgm:prSet/>
      <dgm:spPr/>
      <dgm:t>
        <a:bodyPr/>
        <a:lstStyle/>
        <a:p>
          <a:endParaRPr lang="id-ID"/>
        </a:p>
      </dgm:t>
    </dgm:pt>
    <dgm:pt modelId="{7D73A18B-2FA0-422D-B6B1-D724183F9641}" type="pres">
      <dgm:prSet presAssocID="{92542677-DD21-487D-A751-9CA64E3C2449}" presName="composite" presStyleCnt="0">
        <dgm:presLayoutVars>
          <dgm:chMax val="3"/>
          <dgm:animLvl val="lvl"/>
          <dgm:resizeHandles val="exact"/>
        </dgm:presLayoutVars>
      </dgm:prSet>
      <dgm:spPr/>
    </dgm:pt>
    <dgm:pt modelId="{9266BBEE-1897-4C4C-B8AF-679B87D59D0C}" type="pres">
      <dgm:prSet presAssocID="{5AB0C243-7ADD-4502-ADDB-A4A399CA9EDB}" presName="gear1" presStyleLbl="node1" presStyleIdx="0" presStyleCnt="3">
        <dgm:presLayoutVars>
          <dgm:chMax val="1"/>
          <dgm:bulletEnabled val="1"/>
        </dgm:presLayoutVars>
      </dgm:prSet>
      <dgm:spPr/>
      <dgm:t>
        <a:bodyPr/>
        <a:lstStyle/>
        <a:p>
          <a:endParaRPr lang="id-ID"/>
        </a:p>
      </dgm:t>
    </dgm:pt>
    <dgm:pt modelId="{49A15A17-9C25-4BEA-A7F0-F011396137B4}" type="pres">
      <dgm:prSet presAssocID="{5AB0C243-7ADD-4502-ADDB-A4A399CA9EDB}" presName="gear1srcNode" presStyleLbl="node1" presStyleIdx="0" presStyleCnt="3"/>
      <dgm:spPr/>
      <dgm:t>
        <a:bodyPr/>
        <a:lstStyle/>
        <a:p>
          <a:endParaRPr lang="id-ID"/>
        </a:p>
      </dgm:t>
    </dgm:pt>
    <dgm:pt modelId="{11102848-FBDF-42E1-9C17-5080A8B69D57}" type="pres">
      <dgm:prSet presAssocID="{5AB0C243-7ADD-4502-ADDB-A4A399CA9EDB}" presName="gear1dstNode" presStyleLbl="node1" presStyleIdx="0" presStyleCnt="3"/>
      <dgm:spPr/>
      <dgm:t>
        <a:bodyPr/>
        <a:lstStyle/>
        <a:p>
          <a:endParaRPr lang="id-ID"/>
        </a:p>
      </dgm:t>
    </dgm:pt>
    <dgm:pt modelId="{9656892F-2B5D-4A50-B643-610616ABE59B}" type="pres">
      <dgm:prSet presAssocID="{099684FA-D1B4-48F2-B87F-E5F3BDA1F8E4}" presName="gear2" presStyleLbl="node1" presStyleIdx="1" presStyleCnt="3">
        <dgm:presLayoutVars>
          <dgm:chMax val="1"/>
          <dgm:bulletEnabled val="1"/>
        </dgm:presLayoutVars>
      </dgm:prSet>
      <dgm:spPr/>
      <dgm:t>
        <a:bodyPr/>
        <a:lstStyle/>
        <a:p>
          <a:endParaRPr lang="id-ID"/>
        </a:p>
      </dgm:t>
    </dgm:pt>
    <dgm:pt modelId="{C038D0E5-6CBE-430D-95F2-164F47BE1622}" type="pres">
      <dgm:prSet presAssocID="{099684FA-D1B4-48F2-B87F-E5F3BDA1F8E4}" presName="gear2srcNode" presStyleLbl="node1" presStyleIdx="1" presStyleCnt="3"/>
      <dgm:spPr/>
      <dgm:t>
        <a:bodyPr/>
        <a:lstStyle/>
        <a:p>
          <a:endParaRPr lang="id-ID"/>
        </a:p>
      </dgm:t>
    </dgm:pt>
    <dgm:pt modelId="{2C03A788-C81C-4750-BC26-DA6C8432466C}" type="pres">
      <dgm:prSet presAssocID="{099684FA-D1B4-48F2-B87F-E5F3BDA1F8E4}" presName="gear2dstNode" presStyleLbl="node1" presStyleIdx="1" presStyleCnt="3"/>
      <dgm:spPr/>
      <dgm:t>
        <a:bodyPr/>
        <a:lstStyle/>
        <a:p>
          <a:endParaRPr lang="id-ID"/>
        </a:p>
      </dgm:t>
    </dgm:pt>
    <dgm:pt modelId="{4C137625-A1C7-4621-9497-119B4AB8D736}" type="pres">
      <dgm:prSet presAssocID="{6F41B59F-0241-448C-981E-6D221F1625F2}" presName="gear3" presStyleLbl="node1" presStyleIdx="2" presStyleCnt="3"/>
      <dgm:spPr/>
      <dgm:t>
        <a:bodyPr/>
        <a:lstStyle/>
        <a:p>
          <a:endParaRPr lang="id-ID"/>
        </a:p>
      </dgm:t>
    </dgm:pt>
    <dgm:pt modelId="{897BAAF7-A3D3-4772-A32B-84217D8A6F17}" type="pres">
      <dgm:prSet presAssocID="{6F41B59F-0241-448C-981E-6D221F1625F2}" presName="gear3tx" presStyleLbl="node1" presStyleIdx="2" presStyleCnt="3">
        <dgm:presLayoutVars>
          <dgm:chMax val="1"/>
          <dgm:bulletEnabled val="1"/>
        </dgm:presLayoutVars>
      </dgm:prSet>
      <dgm:spPr/>
      <dgm:t>
        <a:bodyPr/>
        <a:lstStyle/>
        <a:p>
          <a:endParaRPr lang="id-ID"/>
        </a:p>
      </dgm:t>
    </dgm:pt>
    <dgm:pt modelId="{7F8DFE0C-4C60-4D01-B2F1-367994055E39}" type="pres">
      <dgm:prSet presAssocID="{6F41B59F-0241-448C-981E-6D221F1625F2}" presName="gear3srcNode" presStyleLbl="node1" presStyleIdx="2" presStyleCnt="3"/>
      <dgm:spPr/>
      <dgm:t>
        <a:bodyPr/>
        <a:lstStyle/>
        <a:p>
          <a:endParaRPr lang="id-ID"/>
        </a:p>
      </dgm:t>
    </dgm:pt>
    <dgm:pt modelId="{6243B2B2-2B08-4FD6-8F74-90804DEC8B0B}" type="pres">
      <dgm:prSet presAssocID="{6F41B59F-0241-448C-981E-6D221F1625F2}" presName="gear3dstNode" presStyleLbl="node1" presStyleIdx="2" presStyleCnt="3"/>
      <dgm:spPr/>
      <dgm:t>
        <a:bodyPr/>
        <a:lstStyle/>
        <a:p>
          <a:endParaRPr lang="id-ID"/>
        </a:p>
      </dgm:t>
    </dgm:pt>
    <dgm:pt modelId="{024CE523-0705-47AA-A482-D156E0C11421}" type="pres">
      <dgm:prSet presAssocID="{E4C955A5-CF60-46FB-9E94-FE6D31BEDFA3}" presName="connector1" presStyleLbl="sibTrans2D1" presStyleIdx="0" presStyleCnt="3"/>
      <dgm:spPr/>
      <dgm:t>
        <a:bodyPr/>
        <a:lstStyle/>
        <a:p>
          <a:endParaRPr lang="id-ID"/>
        </a:p>
      </dgm:t>
    </dgm:pt>
    <dgm:pt modelId="{36C1E927-ECD5-48F0-BE0F-6E53CFF8F68D}" type="pres">
      <dgm:prSet presAssocID="{D8EF2443-8B84-4CB4-89EA-A436641AD18B}" presName="connector2" presStyleLbl="sibTrans2D1" presStyleIdx="1" presStyleCnt="3"/>
      <dgm:spPr/>
      <dgm:t>
        <a:bodyPr/>
        <a:lstStyle/>
        <a:p>
          <a:endParaRPr lang="id-ID"/>
        </a:p>
      </dgm:t>
    </dgm:pt>
    <dgm:pt modelId="{68B35DA9-476C-4F63-B0AD-6878937C61A5}" type="pres">
      <dgm:prSet presAssocID="{EEE4042A-E511-4335-B0EB-F754E694E5DB}" presName="connector3" presStyleLbl="sibTrans2D1" presStyleIdx="2" presStyleCnt="3"/>
      <dgm:spPr/>
      <dgm:t>
        <a:bodyPr/>
        <a:lstStyle/>
        <a:p>
          <a:endParaRPr lang="id-ID"/>
        </a:p>
      </dgm:t>
    </dgm:pt>
  </dgm:ptLst>
  <dgm:cxnLst>
    <dgm:cxn modelId="{DEEFF249-7E3D-4AE5-B6BC-59ED7800BD49}" type="presOf" srcId="{5AB0C243-7ADD-4502-ADDB-A4A399CA9EDB}" destId="{9266BBEE-1897-4C4C-B8AF-679B87D59D0C}" srcOrd="0" destOrd="0" presId="urn:microsoft.com/office/officeart/2005/8/layout/gear1"/>
    <dgm:cxn modelId="{4CB24538-DC5C-469B-9543-4C2775C0C201}" type="presOf" srcId="{92542677-DD21-487D-A751-9CA64E3C2449}" destId="{7D73A18B-2FA0-422D-B6B1-D724183F9641}" srcOrd="0" destOrd="0" presId="urn:microsoft.com/office/officeart/2005/8/layout/gear1"/>
    <dgm:cxn modelId="{D2628B84-CDD8-4F8D-BD90-4FCCC4D2259E}" type="presOf" srcId="{5AB0C243-7ADD-4502-ADDB-A4A399CA9EDB}" destId="{49A15A17-9C25-4BEA-A7F0-F011396137B4}" srcOrd="1" destOrd="0" presId="urn:microsoft.com/office/officeart/2005/8/layout/gear1"/>
    <dgm:cxn modelId="{915310ED-B95B-4279-8340-CAB29D3D90ED}" srcId="{92542677-DD21-487D-A751-9CA64E3C2449}" destId="{5AB0C243-7ADD-4502-ADDB-A4A399CA9EDB}" srcOrd="0" destOrd="0" parTransId="{6C3A44FD-C3C4-4F38-875D-0D159524FE9D}" sibTransId="{E4C955A5-CF60-46FB-9E94-FE6D31BEDFA3}"/>
    <dgm:cxn modelId="{A25E61B0-B8D9-4FB0-B7FC-E99FA454B154}" type="presOf" srcId="{EEE4042A-E511-4335-B0EB-F754E694E5DB}" destId="{68B35DA9-476C-4F63-B0AD-6878937C61A5}" srcOrd="0" destOrd="0" presId="urn:microsoft.com/office/officeart/2005/8/layout/gear1"/>
    <dgm:cxn modelId="{3BDE0F06-2B4F-4D40-A33C-52D95079C3BD}" type="presOf" srcId="{6F41B59F-0241-448C-981E-6D221F1625F2}" destId="{7F8DFE0C-4C60-4D01-B2F1-367994055E39}" srcOrd="2" destOrd="0" presId="urn:microsoft.com/office/officeart/2005/8/layout/gear1"/>
    <dgm:cxn modelId="{3BD9223B-C2C5-452C-A150-7651FADE3FE3}" type="presOf" srcId="{E4C955A5-CF60-46FB-9E94-FE6D31BEDFA3}" destId="{024CE523-0705-47AA-A482-D156E0C11421}" srcOrd="0" destOrd="0" presId="urn:microsoft.com/office/officeart/2005/8/layout/gear1"/>
    <dgm:cxn modelId="{4849B2BB-3A55-4525-B0C9-14F4BF03AC3B}" type="presOf" srcId="{6F41B59F-0241-448C-981E-6D221F1625F2}" destId="{897BAAF7-A3D3-4772-A32B-84217D8A6F17}" srcOrd="1" destOrd="0" presId="urn:microsoft.com/office/officeart/2005/8/layout/gear1"/>
    <dgm:cxn modelId="{D07A64A3-AA62-4A0A-B858-54F31A29F55D}" srcId="{92542677-DD21-487D-A751-9CA64E3C2449}" destId="{099684FA-D1B4-48F2-B87F-E5F3BDA1F8E4}" srcOrd="1" destOrd="0" parTransId="{C7748604-4976-4A24-AF5A-52539C53AE9E}" sibTransId="{D8EF2443-8B84-4CB4-89EA-A436641AD18B}"/>
    <dgm:cxn modelId="{F3EEB0DA-4CCF-4FD9-A059-476492968C28}" type="presOf" srcId="{099684FA-D1B4-48F2-B87F-E5F3BDA1F8E4}" destId="{2C03A788-C81C-4750-BC26-DA6C8432466C}" srcOrd="2" destOrd="0" presId="urn:microsoft.com/office/officeart/2005/8/layout/gear1"/>
    <dgm:cxn modelId="{C1E54BD3-4A68-424B-BD17-FF1431732160}" type="presOf" srcId="{6F41B59F-0241-448C-981E-6D221F1625F2}" destId="{6243B2B2-2B08-4FD6-8F74-90804DEC8B0B}" srcOrd="3" destOrd="0" presId="urn:microsoft.com/office/officeart/2005/8/layout/gear1"/>
    <dgm:cxn modelId="{3A86CA2D-3F50-4B83-B433-942702EFA321}" srcId="{92542677-DD21-487D-A751-9CA64E3C2449}" destId="{6F41B59F-0241-448C-981E-6D221F1625F2}" srcOrd="2" destOrd="0" parTransId="{E0EAFAAB-F255-447F-856A-75EA46443425}" sibTransId="{EEE4042A-E511-4335-B0EB-F754E694E5DB}"/>
    <dgm:cxn modelId="{531DFC94-C918-4BAB-99D3-5926863C9B1E}" type="presOf" srcId="{099684FA-D1B4-48F2-B87F-E5F3BDA1F8E4}" destId="{C038D0E5-6CBE-430D-95F2-164F47BE1622}" srcOrd="1" destOrd="0" presId="urn:microsoft.com/office/officeart/2005/8/layout/gear1"/>
    <dgm:cxn modelId="{3496CF63-3A2B-41C7-BB94-A6966436D96D}" type="presOf" srcId="{5AB0C243-7ADD-4502-ADDB-A4A399CA9EDB}" destId="{11102848-FBDF-42E1-9C17-5080A8B69D57}" srcOrd="2" destOrd="0" presId="urn:microsoft.com/office/officeart/2005/8/layout/gear1"/>
    <dgm:cxn modelId="{6A521E86-8577-4EF7-8D9F-7213B0BB15BD}" type="presOf" srcId="{6F41B59F-0241-448C-981E-6D221F1625F2}" destId="{4C137625-A1C7-4621-9497-119B4AB8D736}" srcOrd="0" destOrd="0" presId="urn:microsoft.com/office/officeart/2005/8/layout/gear1"/>
    <dgm:cxn modelId="{8BE81DA3-FF0C-407F-AEDC-290EF01A6A70}" type="presOf" srcId="{099684FA-D1B4-48F2-B87F-E5F3BDA1F8E4}" destId="{9656892F-2B5D-4A50-B643-610616ABE59B}" srcOrd="0" destOrd="0" presId="urn:microsoft.com/office/officeart/2005/8/layout/gear1"/>
    <dgm:cxn modelId="{63E8B0CC-D76F-40FF-A432-CBF7F8790966}" type="presOf" srcId="{D8EF2443-8B84-4CB4-89EA-A436641AD18B}" destId="{36C1E927-ECD5-48F0-BE0F-6E53CFF8F68D}" srcOrd="0" destOrd="0" presId="urn:microsoft.com/office/officeart/2005/8/layout/gear1"/>
    <dgm:cxn modelId="{5CA9623C-69DA-4FF5-8491-2DD509E451E8}" type="presParOf" srcId="{7D73A18B-2FA0-422D-B6B1-D724183F9641}" destId="{9266BBEE-1897-4C4C-B8AF-679B87D59D0C}" srcOrd="0" destOrd="0" presId="urn:microsoft.com/office/officeart/2005/8/layout/gear1"/>
    <dgm:cxn modelId="{CF0D31B9-4CDA-46B7-A68F-2414ED2D4BCD}" type="presParOf" srcId="{7D73A18B-2FA0-422D-B6B1-D724183F9641}" destId="{49A15A17-9C25-4BEA-A7F0-F011396137B4}" srcOrd="1" destOrd="0" presId="urn:microsoft.com/office/officeart/2005/8/layout/gear1"/>
    <dgm:cxn modelId="{CA654294-4EED-4130-9556-3C1720FA40A0}" type="presParOf" srcId="{7D73A18B-2FA0-422D-B6B1-D724183F9641}" destId="{11102848-FBDF-42E1-9C17-5080A8B69D57}" srcOrd="2" destOrd="0" presId="urn:microsoft.com/office/officeart/2005/8/layout/gear1"/>
    <dgm:cxn modelId="{16B4DA6B-EE80-484E-AF9C-0614FE79B807}" type="presParOf" srcId="{7D73A18B-2FA0-422D-B6B1-D724183F9641}" destId="{9656892F-2B5D-4A50-B643-610616ABE59B}" srcOrd="3" destOrd="0" presId="urn:microsoft.com/office/officeart/2005/8/layout/gear1"/>
    <dgm:cxn modelId="{70142864-ABFA-48B1-AA5A-EF7955B36CAA}" type="presParOf" srcId="{7D73A18B-2FA0-422D-B6B1-D724183F9641}" destId="{C038D0E5-6CBE-430D-95F2-164F47BE1622}" srcOrd="4" destOrd="0" presId="urn:microsoft.com/office/officeart/2005/8/layout/gear1"/>
    <dgm:cxn modelId="{3AB14397-CFEF-4741-B5FC-48C5C82FF15D}" type="presParOf" srcId="{7D73A18B-2FA0-422D-B6B1-D724183F9641}" destId="{2C03A788-C81C-4750-BC26-DA6C8432466C}" srcOrd="5" destOrd="0" presId="urn:microsoft.com/office/officeart/2005/8/layout/gear1"/>
    <dgm:cxn modelId="{82735402-768E-420E-BBED-1E74E6728BD6}" type="presParOf" srcId="{7D73A18B-2FA0-422D-B6B1-D724183F9641}" destId="{4C137625-A1C7-4621-9497-119B4AB8D736}" srcOrd="6" destOrd="0" presId="urn:microsoft.com/office/officeart/2005/8/layout/gear1"/>
    <dgm:cxn modelId="{F2E3886F-D01D-4F29-993D-337A8513533B}" type="presParOf" srcId="{7D73A18B-2FA0-422D-B6B1-D724183F9641}" destId="{897BAAF7-A3D3-4772-A32B-84217D8A6F17}" srcOrd="7" destOrd="0" presId="urn:microsoft.com/office/officeart/2005/8/layout/gear1"/>
    <dgm:cxn modelId="{53051143-FEDF-44A2-803A-193862605480}" type="presParOf" srcId="{7D73A18B-2FA0-422D-B6B1-D724183F9641}" destId="{7F8DFE0C-4C60-4D01-B2F1-367994055E39}" srcOrd="8" destOrd="0" presId="urn:microsoft.com/office/officeart/2005/8/layout/gear1"/>
    <dgm:cxn modelId="{F4F9D0C4-15AC-46D3-8ACB-9A1E79631335}" type="presParOf" srcId="{7D73A18B-2FA0-422D-B6B1-D724183F9641}" destId="{6243B2B2-2B08-4FD6-8F74-90804DEC8B0B}" srcOrd="9" destOrd="0" presId="urn:microsoft.com/office/officeart/2005/8/layout/gear1"/>
    <dgm:cxn modelId="{7F7542A0-FBCD-406C-9EAB-782E2BAD0EF5}" type="presParOf" srcId="{7D73A18B-2FA0-422D-B6B1-D724183F9641}" destId="{024CE523-0705-47AA-A482-D156E0C11421}" srcOrd="10" destOrd="0" presId="urn:microsoft.com/office/officeart/2005/8/layout/gear1"/>
    <dgm:cxn modelId="{5804B5CA-A357-40C6-B808-9EE7E6DFBF62}" type="presParOf" srcId="{7D73A18B-2FA0-422D-B6B1-D724183F9641}" destId="{36C1E927-ECD5-48F0-BE0F-6E53CFF8F68D}" srcOrd="11" destOrd="0" presId="urn:microsoft.com/office/officeart/2005/8/layout/gear1"/>
    <dgm:cxn modelId="{56E3A2FB-025B-4DFD-A0CB-8314B4731755}" type="presParOf" srcId="{7D73A18B-2FA0-422D-B6B1-D724183F9641}" destId="{68B35DA9-476C-4F63-B0AD-6878937C61A5}" srcOrd="12"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09A66401-154A-4BD4-A462-D07651FDBD56}" type="doc">
      <dgm:prSet loTypeId="urn:microsoft.com/office/officeart/2005/8/layout/chevron1" loCatId="process" qsTypeId="urn:microsoft.com/office/officeart/2005/8/quickstyle/simple5" qsCatId="simple" csTypeId="urn:microsoft.com/office/officeart/2005/8/colors/colorful1#1" csCatId="colorful" phldr="1"/>
      <dgm:spPr/>
    </dgm:pt>
    <dgm:pt modelId="{B3D87E46-9F29-47FF-8A04-25B6D98AF170}">
      <dgm:prSet phldrT="[Text]" custT="1"/>
      <dgm:spPr/>
      <dgm:t>
        <a:bodyPr/>
        <a:lstStyle/>
        <a:p>
          <a:r>
            <a:rPr lang="id-ID" sz="2400" dirty="0" smtClean="0">
              <a:latin typeface="Bookman Old Style" panose="02050604050505020204" pitchFamily="18" charset="0"/>
            </a:rPr>
            <a:t>RPJMD</a:t>
          </a:r>
          <a:endParaRPr lang="id-ID" sz="2400" dirty="0">
            <a:latin typeface="Bookman Old Style" panose="02050604050505020204" pitchFamily="18" charset="0"/>
          </a:endParaRPr>
        </a:p>
      </dgm:t>
    </dgm:pt>
    <dgm:pt modelId="{906B7EDF-8D71-4325-BF66-B1886059FB2C}" type="parTrans" cxnId="{9205BB95-ECEB-4F7F-8EFC-45B8EF245FFC}">
      <dgm:prSet/>
      <dgm:spPr/>
      <dgm:t>
        <a:bodyPr/>
        <a:lstStyle/>
        <a:p>
          <a:endParaRPr lang="id-ID" sz="1200"/>
        </a:p>
      </dgm:t>
    </dgm:pt>
    <dgm:pt modelId="{DDE0F8D8-053C-4661-B2FF-D0B6E832502B}" type="sibTrans" cxnId="{9205BB95-ECEB-4F7F-8EFC-45B8EF245FFC}">
      <dgm:prSet/>
      <dgm:spPr/>
      <dgm:t>
        <a:bodyPr/>
        <a:lstStyle/>
        <a:p>
          <a:endParaRPr lang="id-ID" sz="1200"/>
        </a:p>
      </dgm:t>
    </dgm:pt>
    <dgm:pt modelId="{D7E483BC-0EA3-4A31-BD33-1BA44741E442}">
      <dgm:prSet phldrT="[Text]" custT="1"/>
      <dgm:spPr/>
      <dgm:t>
        <a:bodyPr/>
        <a:lstStyle/>
        <a:p>
          <a:r>
            <a:rPr lang="id-ID" sz="2400" dirty="0" smtClean="0">
              <a:solidFill>
                <a:srgbClr val="FFFF00"/>
              </a:solidFill>
              <a:latin typeface="Bookman Old Style" panose="02050604050505020204" pitchFamily="18" charset="0"/>
            </a:rPr>
            <a:t>RKPD</a:t>
          </a:r>
          <a:endParaRPr lang="id-ID" sz="2400" dirty="0">
            <a:solidFill>
              <a:srgbClr val="FFFF00"/>
            </a:solidFill>
            <a:latin typeface="Bookman Old Style" panose="02050604050505020204" pitchFamily="18" charset="0"/>
          </a:endParaRPr>
        </a:p>
      </dgm:t>
    </dgm:pt>
    <dgm:pt modelId="{929A309C-DF69-4004-AB41-B983775CFE88}" type="parTrans" cxnId="{5A00EB2A-013D-4F57-9469-D610CEFC1DAB}">
      <dgm:prSet/>
      <dgm:spPr/>
      <dgm:t>
        <a:bodyPr/>
        <a:lstStyle/>
        <a:p>
          <a:endParaRPr lang="id-ID" sz="1200"/>
        </a:p>
      </dgm:t>
    </dgm:pt>
    <dgm:pt modelId="{67CC4C61-D406-4AB3-867F-DE628D37535D}" type="sibTrans" cxnId="{5A00EB2A-013D-4F57-9469-D610CEFC1DAB}">
      <dgm:prSet/>
      <dgm:spPr/>
      <dgm:t>
        <a:bodyPr/>
        <a:lstStyle/>
        <a:p>
          <a:endParaRPr lang="id-ID" sz="1200"/>
        </a:p>
      </dgm:t>
    </dgm:pt>
    <dgm:pt modelId="{F359D10B-CF84-4348-BF91-4E239AC05D98}">
      <dgm:prSet phldrT="[Text]" custT="1"/>
      <dgm:spPr/>
      <dgm:t>
        <a:bodyPr/>
        <a:lstStyle/>
        <a:p>
          <a:r>
            <a:rPr lang="id-ID" sz="2400" dirty="0" smtClean="0">
              <a:solidFill>
                <a:schemeClr val="bg1"/>
              </a:solidFill>
              <a:latin typeface="Bookman Old Style" panose="02050604050505020204" pitchFamily="18" charset="0"/>
            </a:rPr>
            <a:t>APBD</a:t>
          </a:r>
          <a:endParaRPr lang="id-ID" sz="2400" dirty="0">
            <a:solidFill>
              <a:schemeClr val="bg1"/>
            </a:solidFill>
            <a:latin typeface="Bookman Old Style" panose="02050604050505020204" pitchFamily="18" charset="0"/>
          </a:endParaRPr>
        </a:p>
      </dgm:t>
    </dgm:pt>
    <dgm:pt modelId="{0D044F1E-E9B8-4785-8FE3-EBDA5093B5AD}" type="parTrans" cxnId="{227C9715-5B9B-4AC8-A00F-0761EDA6D46D}">
      <dgm:prSet/>
      <dgm:spPr/>
      <dgm:t>
        <a:bodyPr/>
        <a:lstStyle/>
        <a:p>
          <a:endParaRPr lang="id-ID" sz="1200"/>
        </a:p>
      </dgm:t>
    </dgm:pt>
    <dgm:pt modelId="{89104AE6-F2F0-4A6C-94BE-84447A664D8B}" type="sibTrans" cxnId="{227C9715-5B9B-4AC8-A00F-0761EDA6D46D}">
      <dgm:prSet/>
      <dgm:spPr/>
      <dgm:t>
        <a:bodyPr/>
        <a:lstStyle/>
        <a:p>
          <a:endParaRPr lang="id-ID" sz="1200"/>
        </a:p>
      </dgm:t>
    </dgm:pt>
    <dgm:pt modelId="{B6910839-9B6C-4FE2-9ABF-B4A819182224}">
      <dgm:prSet phldrT="[Text]" custT="1"/>
      <dgm:spPr/>
      <dgm:t>
        <a:bodyPr/>
        <a:lstStyle/>
        <a:p>
          <a:r>
            <a:rPr lang="id-ID" sz="2400" dirty="0" smtClean="0">
              <a:latin typeface="Bookman Old Style" panose="02050604050505020204" pitchFamily="18" charset="0"/>
            </a:rPr>
            <a:t>KUA &amp; PPAS</a:t>
          </a:r>
          <a:endParaRPr lang="id-ID" sz="2400" dirty="0">
            <a:latin typeface="Bookman Old Style" panose="02050604050505020204" pitchFamily="18" charset="0"/>
          </a:endParaRPr>
        </a:p>
      </dgm:t>
    </dgm:pt>
    <dgm:pt modelId="{E2273E7F-2498-41A8-AE3A-73849C97F544}" type="parTrans" cxnId="{DB6880B3-4D7A-4432-B374-91CF7298E641}">
      <dgm:prSet/>
      <dgm:spPr/>
      <dgm:t>
        <a:bodyPr/>
        <a:lstStyle/>
        <a:p>
          <a:endParaRPr lang="id-ID" sz="1200"/>
        </a:p>
      </dgm:t>
    </dgm:pt>
    <dgm:pt modelId="{8136C331-02FC-4FB5-A31D-8602B90907D7}" type="sibTrans" cxnId="{DB6880B3-4D7A-4432-B374-91CF7298E641}">
      <dgm:prSet/>
      <dgm:spPr/>
      <dgm:t>
        <a:bodyPr/>
        <a:lstStyle/>
        <a:p>
          <a:endParaRPr lang="id-ID" sz="1200"/>
        </a:p>
      </dgm:t>
    </dgm:pt>
    <dgm:pt modelId="{529097CE-0C76-4FDB-8118-D5F764131D2E}" type="pres">
      <dgm:prSet presAssocID="{09A66401-154A-4BD4-A462-D07651FDBD56}" presName="Name0" presStyleCnt="0">
        <dgm:presLayoutVars>
          <dgm:dir/>
          <dgm:animLvl val="lvl"/>
          <dgm:resizeHandles val="exact"/>
        </dgm:presLayoutVars>
      </dgm:prSet>
      <dgm:spPr/>
    </dgm:pt>
    <dgm:pt modelId="{92C81D42-A75B-421D-8E7F-A880F1316B96}" type="pres">
      <dgm:prSet presAssocID="{B3D87E46-9F29-47FF-8A04-25B6D98AF170}" presName="parTxOnly" presStyleLbl="node1" presStyleIdx="0" presStyleCnt="4">
        <dgm:presLayoutVars>
          <dgm:chMax val="0"/>
          <dgm:chPref val="0"/>
          <dgm:bulletEnabled val="1"/>
        </dgm:presLayoutVars>
      </dgm:prSet>
      <dgm:spPr/>
      <dgm:t>
        <a:bodyPr/>
        <a:lstStyle/>
        <a:p>
          <a:endParaRPr lang="id-ID"/>
        </a:p>
      </dgm:t>
    </dgm:pt>
    <dgm:pt modelId="{509D7BB0-E41F-4D4A-84DF-1450DA950500}" type="pres">
      <dgm:prSet presAssocID="{DDE0F8D8-053C-4661-B2FF-D0B6E832502B}" presName="parTxOnlySpace" presStyleCnt="0"/>
      <dgm:spPr/>
    </dgm:pt>
    <dgm:pt modelId="{E63171DE-9308-405F-A0B6-14E38A45CD6D}" type="pres">
      <dgm:prSet presAssocID="{D7E483BC-0EA3-4A31-BD33-1BA44741E442}" presName="parTxOnly" presStyleLbl="node1" presStyleIdx="1" presStyleCnt="4">
        <dgm:presLayoutVars>
          <dgm:chMax val="0"/>
          <dgm:chPref val="0"/>
          <dgm:bulletEnabled val="1"/>
        </dgm:presLayoutVars>
      </dgm:prSet>
      <dgm:spPr/>
      <dgm:t>
        <a:bodyPr/>
        <a:lstStyle/>
        <a:p>
          <a:endParaRPr lang="id-ID"/>
        </a:p>
      </dgm:t>
    </dgm:pt>
    <dgm:pt modelId="{F05CC932-6D2C-4BC6-BBB4-242311B846C6}" type="pres">
      <dgm:prSet presAssocID="{67CC4C61-D406-4AB3-867F-DE628D37535D}" presName="parTxOnlySpace" presStyleCnt="0"/>
      <dgm:spPr/>
    </dgm:pt>
    <dgm:pt modelId="{EE93444C-91DF-4A50-A0F8-1B7B39A0EA9A}" type="pres">
      <dgm:prSet presAssocID="{B6910839-9B6C-4FE2-9ABF-B4A819182224}" presName="parTxOnly" presStyleLbl="node1" presStyleIdx="2" presStyleCnt="4">
        <dgm:presLayoutVars>
          <dgm:chMax val="0"/>
          <dgm:chPref val="0"/>
          <dgm:bulletEnabled val="1"/>
        </dgm:presLayoutVars>
      </dgm:prSet>
      <dgm:spPr/>
      <dgm:t>
        <a:bodyPr/>
        <a:lstStyle/>
        <a:p>
          <a:endParaRPr lang="id-ID"/>
        </a:p>
      </dgm:t>
    </dgm:pt>
    <dgm:pt modelId="{2C29650F-A048-4D30-9F29-D22F3CD7B9B0}" type="pres">
      <dgm:prSet presAssocID="{8136C331-02FC-4FB5-A31D-8602B90907D7}" presName="parTxOnlySpace" presStyleCnt="0"/>
      <dgm:spPr/>
    </dgm:pt>
    <dgm:pt modelId="{7634D72D-593A-47A8-B49B-E08C8D65FB8A}" type="pres">
      <dgm:prSet presAssocID="{F359D10B-CF84-4348-BF91-4E239AC05D98}" presName="parTxOnly" presStyleLbl="node1" presStyleIdx="3" presStyleCnt="4">
        <dgm:presLayoutVars>
          <dgm:chMax val="0"/>
          <dgm:chPref val="0"/>
          <dgm:bulletEnabled val="1"/>
        </dgm:presLayoutVars>
      </dgm:prSet>
      <dgm:spPr/>
      <dgm:t>
        <a:bodyPr/>
        <a:lstStyle/>
        <a:p>
          <a:endParaRPr lang="id-ID"/>
        </a:p>
      </dgm:t>
    </dgm:pt>
  </dgm:ptLst>
  <dgm:cxnLst>
    <dgm:cxn modelId="{5A00EB2A-013D-4F57-9469-D610CEFC1DAB}" srcId="{09A66401-154A-4BD4-A462-D07651FDBD56}" destId="{D7E483BC-0EA3-4A31-BD33-1BA44741E442}" srcOrd="1" destOrd="0" parTransId="{929A309C-DF69-4004-AB41-B983775CFE88}" sibTransId="{67CC4C61-D406-4AB3-867F-DE628D37535D}"/>
    <dgm:cxn modelId="{227C9715-5B9B-4AC8-A00F-0761EDA6D46D}" srcId="{09A66401-154A-4BD4-A462-D07651FDBD56}" destId="{F359D10B-CF84-4348-BF91-4E239AC05D98}" srcOrd="3" destOrd="0" parTransId="{0D044F1E-E9B8-4785-8FE3-EBDA5093B5AD}" sibTransId="{89104AE6-F2F0-4A6C-94BE-84447A664D8B}"/>
    <dgm:cxn modelId="{A08E472D-FD53-4AF7-A0C6-6B43A23694D9}" type="presOf" srcId="{B6910839-9B6C-4FE2-9ABF-B4A819182224}" destId="{EE93444C-91DF-4A50-A0F8-1B7B39A0EA9A}" srcOrd="0" destOrd="0" presId="urn:microsoft.com/office/officeart/2005/8/layout/chevron1"/>
    <dgm:cxn modelId="{20A43FE2-64BF-4514-9241-53AF2E4646EF}" type="presOf" srcId="{D7E483BC-0EA3-4A31-BD33-1BA44741E442}" destId="{E63171DE-9308-405F-A0B6-14E38A45CD6D}" srcOrd="0" destOrd="0" presId="urn:microsoft.com/office/officeart/2005/8/layout/chevron1"/>
    <dgm:cxn modelId="{8FE6CCE9-6ECE-4120-8D52-0448E82F59BA}" type="presOf" srcId="{09A66401-154A-4BD4-A462-D07651FDBD56}" destId="{529097CE-0C76-4FDB-8118-D5F764131D2E}" srcOrd="0" destOrd="0" presId="urn:microsoft.com/office/officeart/2005/8/layout/chevron1"/>
    <dgm:cxn modelId="{69104564-C4B8-4BF6-B7F9-018BEBE0A33C}" type="presOf" srcId="{B3D87E46-9F29-47FF-8A04-25B6D98AF170}" destId="{92C81D42-A75B-421D-8E7F-A880F1316B96}" srcOrd="0" destOrd="0" presId="urn:microsoft.com/office/officeart/2005/8/layout/chevron1"/>
    <dgm:cxn modelId="{9A6C4732-BB48-470D-AE02-9438D84C33E1}" type="presOf" srcId="{F359D10B-CF84-4348-BF91-4E239AC05D98}" destId="{7634D72D-593A-47A8-B49B-E08C8D65FB8A}" srcOrd="0" destOrd="0" presId="urn:microsoft.com/office/officeart/2005/8/layout/chevron1"/>
    <dgm:cxn modelId="{DB6880B3-4D7A-4432-B374-91CF7298E641}" srcId="{09A66401-154A-4BD4-A462-D07651FDBD56}" destId="{B6910839-9B6C-4FE2-9ABF-B4A819182224}" srcOrd="2" destOrd="0" parTransId="{E2273E7F-2498-41A8-AE3A-73849C97F544}" sibTransId="{8136C331-02FC-4FB5-A31D-8602B90907D7}"/>
    <dgm:cxn modelId="{9205BB95-ECEB-4F7F-8EFC-45B8EF245FFC}" srcId="{09A66401-154A-4BD4-A462-D07651FDBD56}" destId="{B3D87E46-9F29-47FF-8A04-25B6D98AF170}" srcOrd="0" destOrd="0" parTransId="{906B7EDF-8D71-4325-BF66-B1886059FB2C}" sibTransId="{DDE0F8D8-053C-4661-B2FF-D0B6E832502B}"/>
    <dgm:cxn modelId="{26872479-0DE1-4254-A54D-323F982F24A4}" type="presParOf" srcId="{529097CE-0C76-4FDB-8118-D5F764131D2E}" destId="{92C81D42-A75B-421D-8E7F-A880F1316B96}" srcOrd="0" destOrd="0" presId="urn:microsoft.com/office/officeart/2005/8/layout/chevron1"/>
    <dgm:cxn modelId="{F3C30F1A-4638-4D79-AEE7-A5404F8138EC}" type="presParOf" srcId="{529097CE-0C76-4FDB-8118-D5F764131D2E}" destId="{509D7BB0-E41F-4D4A-84DF-1450DA950500}" srcOrd="1" destOrd="0" presId="urn:microsoft.com/office/officeart/2005/8/layout/chevron1"/>
    <dgm:cxn modelId="{54106215-89EC-48F3-BC5C-714D30E35851}" type="presParOf" srcId="{529097CE-0C76-4FDB-8118-D5F764131D2E}" destId="{E63171DE-9308-405F-A0B6-14E38A45CD6D}" srcOrd="2" destOrd="0" presId="urn:microsoft.com/office/officeart/2005/8/layout/chevron1"/>
    <dgm:cxn modelId="{FB295801-20C9-41A2-BB99-8FD54C27263E}" type="presParOf" srcId="{529097CE-0C76-4FDB-8118-D5F764131D2E}" destId="{F05CC932-6D2C-4BC6-BBB4-242311B846C6}" srcOrd="3" destOrd="0" presId="urn:microsoft.com/office/officeart/2005/8/layout/chevron1"/>
    <dgm:cxn modelId="{78C37235-E9BE-401F-9BE9-E9A4B47585D0}" type="presParOf" srcId="{529097CE-0C76-4FDB-8118-D5F764131D2E}" destId="{EE93444C-91DF-4A50-A0F8-1B7B39A0EA9A}" srcOrd="4" destOrd="0" presId="urn:microsoft.com/office/officeart/2005/8/layout/chevron1"/>
    <dgm:cxn modelId="{FD93C4F3-410C-4F49-A48E-BD37664AAAA4}" type="presParOf" srcId="{529097CE-0C76-4FDB-8118-D5F764131D2E}" destId="{2C29650F-A048-4D30-9F29-D22F3CD7B9B0}" srcOrd="5" destOrd="0" presId="urn:microsoft.com/office/officeart/2005/8/layout/chevron1"/>
    <dgm:cxn modelId="{BFB3D489-735D-4573-BFF0-E796DF895F03}" type="presParOf" srcId="{529097CE-0C76-4FDB-8118-D5F764131D2E}" destId="{7634D72D-593A-47A8-B49B-E08C8D65FB8A}"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3DA82-02C9-4FBE-991E-917C32DADD97}">
      <dsp:nvSpPr>
        <dsp:cNvPr id="0" name=""/>
        <dsp:cNvSpPr/>
      </dsp:nvSpPr>
      <dsp:spPr>
        <a:xfrm rot="5400000">
          <a:off x="5619689" y="-2290300"/>
          <a:ext cx="1334452" cy="591709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rtl="0">
            <a:lnSpc>
              <a:spcPct val="90000"/>
            </a:lnSpc>
            <a:spcBef>
              <a:spcPct val="0"/>
            </a:spcBef>
            <a:spcAft>
              <a:spcPct val="15000"/>
            </a:spcAft>
            <a:buChar char="••"/>
          </a:pPr>
          <a:r>
            <a:rPr lang="id-ID" altLang="zh-CN" sz="2400" kern="1200" dirty="0" smtClean="0">
              <a:latin typeface="Agency FB" pitchFamily="34" charset="0"/>
              <a:sym typeface="Roboto Condensed" pitchFamily="2" charset="0"/>
            </a:rPr>
            <a:t>Menjadi acuan dalam membeli barang</a:t>
          </a:r>
          <a:endParaRPr lang="en-US" sz="2400" kern="1200" dirty="0">
            <a:latin typeface="Agency FB" pitchFamily="34" charset="0"/>
          </a:endParaRPr>
        </a:p>
        <a:p>
          <a:pPr marL="228600" lvl="1" indent="-228600" algn="l" defTabSz="1066800" rtl="0">
            <a:lnSpc>
              <a:spcPct val="90000"/>
            </a:lnSpc>
            <a:spcBef>
              <a:spcPct val="0"/>
            </a:spcBef>
            <a:spcAft>
              <a:spcPct val="15000"/>
            </a:spcAft>
            <a:buChar char="••"/>
          </a:pPr>
          <a:r>
            <a:rPr lang="id-ID" altLang="zh-CN" sz="2400" kern="1200" dirty="0" smtClean="0">
              <a:latin typeface="Agency FB" pitchFamily="34" charset="0"/>
              <a:sym typeface="Roboto Condensed" pitchFamily="2" charset="0"/>
            </a:rPr>
            <a:t>Mengurangi potensi fluktuasi harga serta </a:t>
          </a:r>
          <a:r>
            <a:rPr lang="id-ID" altLang="zh-CN" sz="2400" kern="1200" dirty="0" err="1" smtClean="0">
              <a:latin typeface="Agency FB" pitchFamily="34" charset="0"/>
              <a:sym typeface="Roboto Condensed" pitchFamily="2" charset="0"/>
            </a:rPr>
            <a:t>meningkatan</a:t>
          </a:r>
          <a:r>
            <a:rPr lang="id-ID" altLang="zh-CN" sz="2400" kern="1200" dirty="0" smtClean="0">
              <a:latin typeface="Agency FB" pitchFamily="34" charset="0"/>
              <a:sym typeface="Roboto Condensed" pitchFamily="2" charset="0"/>
            </a:rPr>
            <a:t> kesejahteraan masyarakat</a:t>
          </a:r>
        </a:p>
      </dsp:txBody>
      <dsp:txXfrm rot="-5400000">
        <a:off x="3328368" y="66164"/>
        <a:ext cx="5851953" cy="1204166"/>
      </dsp:txXfrm>
    </dsp:sp>
    <dsp:sp modelId="{0AFE2784-70BF-4AB8-B7C7-5DA5BAB0E81B}">
      <dsp:nvSpPr>
        <dsp:cNvPr id="0" name=""/>
        <dsp:cNvSpPr/>
      </dsp:nvSpPr>
      <dsp:spPr>
        <a:xfrm>
          <a:off x="0" y="29637"/>
          <a:ext cx="3328367" cy="127722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lvl="0" algn="ctr" defTabSz="1778000">
            <a:lnSpc>
              <a:spcPct val="90000"/>
            </a:lnSpc>
            <a:spcBef>
              <a:spcPct val="0"/>
            </a:spcBef>
            <a:spcAft>
              <a:spcPct val="35000"/>
            </a:spcAft>
          </a:pPr>
          <a:r>
            <a:rPr lang="id-ID" sz="4000" b="1" kern="1200" dirty="0" smtClean="0">
              <a:latin typeface="Agency FB" pitchFamily="34" charset="0"/>
            </a:rPr>
            <a:t>Masyarakat</a:t>
          </a:r>
          <a:endParaRPr lang="en-US" sz="4800" b="1" kern="1200" dirty="0">
            <a:latin typeface="Agency FB" pitchFamily="34" charset="0"/>
          </a:endParaRPr>
        </a:p>
      </dsp:txBody>
      <dsp:txXfrm>
        <a:off x="62349" y="91986"/>
        <a:ext cx="3203669" cy="1152523"/>
      </dsp:txXfrm>
    </dsp:sp>
    <dsp:sp modelId="{92354D49-1DB3-4632-B2FA-CA72990545F9}">
      <dsp:nvSpPr>
        <dsp:cNvPr id="0" name=""/>
        <dsp:cNvSpPr/>
      </dsp:nvSpPr>
      <dsp:spPr>
        <a:xfrm rot="5400000">
          <a:off x="5619689" y="-872444"/>
          <a:ext cx="1334452" cy="591709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rtl="0">
            <a:lnSpc>
              <a:spcPct val="90000"/>
            </a:lnSpc>
            <a:spcBef>
              <a:spcPct val="0"/>
            </a:spcBef>
            <a:spcAft>
              <a:spcPct val="15000"/>
            </a:spcAft>
            <a:buChar char="••"/>
          </a:pPr>
          <a:r>
            <a:rPr lang="id-ID" altLang="zh-CN" sz="2400" kern="1200" dirty="0" smtClean="0">
              <a:latin typeface="Agency FB" pitchFamily="34" charset="0"/>
              <a:sym typeface="Roboto Condensed" pitchFamily="2" charset="0"/>
            </a:rPr>
            <a:t>Memperkecil disparitas harga yang terjadi di pasar</a:t>
          </a:r>
          <a:endParaRPr lang="en-US" sz="2400" kern="1200" dirty="0">
            <a:latin typeface="Agency FB" pitchFamily="34" charset="0"/>
          </a:endParaRPr>
        </a:p>
        <a:p>
          <a:pPr marL="228600" lvl="1" indent="-228600" algn="l" defTabSz="1066800" rtl="0">
            <a:lnSpc>
              <a:spcPct val="90000"/>
            </a:lnSpc>
            <a:spcBef>
              <a:spcPct val="0"/>
            </a:spcBef>
            <a:spcAft>
              <a:spcPct val="15000"/>
            </a:spcAft>
            <a:buChar char="••"/>
          </a:pPr>
          <a:r>
            <a:rPr lang="id-ID" altLang="zh-CN" sz="2400" kern="1200" dirty="0" smtClean="0">
              <a:latin typeface="Agency FB" pitchFamily="34" charset="0"/>
              <a:sym typeface="Roboto Condensed" pitchFamily="2" charset="0"/>
            </a:rPr>
            <a:t>Menjadi tolak ukur harga hari pasar, sehingga dapat menghindari permainan harga oleh tengkulak</a:t>
          </a:r>
          <a:endParaRPr lang="en-US" sz="2400" kern="1200" dirty="0">
            <a:latin typeface="Agency FB" pitchFamily="34" charset="0"/>
          </a:endParaRPr>
        </a:p>
      </dsp:txBody>
      <dsp:txXfrm rot="-5400000">
        <a:off x="3328368" y="1484020"/>
        <a:ext cx="5851953" cy="1204166"/>
      </dsp:txXfrm>
    </dsp:sp>
    <dsp:sp modelId="{9C1053F5-FFA3-49EB-A8EE-9CF3BB5A20BE}">
      <dsp:nvSpPr>
        <dsp:cNvPr id="0" name=""/>
        <dsp:cNvSpPr/>
      </dsp:nvSpPr>
      <dsp:spPr>
        <a:xfrm>
          <a:off x="0" y="1460220"/>
          <a:ext cx="3328367" cy="125176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lvl="0" algn="ctr" defTabSz="1778000">
            <a:lnSpc>
              <a:spcPct val="90000"/>
            </a:lnSpc>
            <a:spcBef>
              <a:spcPct val="0"/>
            </a:spcBef>
            <a:spcAft>
              <a:spcPct val="35000"/>
            </a:spcAft>
          </a:pPr>
          <a:r>
            <a:rPr lang="id-ID" sz="4000" b="1" kern="1200" dirty="0" smtClean="0">
              <a:latin typeface="Agency FB" pitchFamily="34" charset="0"/>
            </a:rPr>
            <a:t>Pedagang</a:t>
          </a:r>
          <a:endParaRPr lang="en-US" sz="4000" b="1" kern="1200" dirty="0">
            <a:latin typeface="Agency FB" pitchFamily="34" charset="0"/>
          </a:endParaRPr>
        </a:p>
      </dsp:txBody>
      <dsp:txXfrm>
        <a:off x="61106" y="1521326"/>
        <a:ext cx="3206155" cy="1129554"/>
      </dsp:txXfrm>
    </dsp:sp>
    <dsp:sp modelId="{6F0828DE-8E32-430A-85FD-572882574605}">
      <dsp:nvSpPr>
        <dsp:cNvPr id="0" name=""/>
        <dsp:cNvSpPr/>
      </dsp:nvSpPr>
      <dsp:spPr>
        <a:xfrm rot="5400000">
          <a:off x="5388287" y="773562"/>
          <a:ext cx="1784977" cy="591131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rtl="0">
            <a:lnSpc>
              <a:spcPct val="90000"/>
            </a:lnSpc>
            <a:spcBef>
              <a:spcPct val="0"/>
            </a:spcBef>
            <a:spcAft>
              <a:spcPct val="15000"/>
            </a:spcAft>
            <a:buChar char="••"/>
          </a:pPr>
          <a:r>
            <a:rPr lang="id-ID" altLang="zh-CN" sz="2400" kern="1200" dirty="0" smtClean="0">
              <a:latin typeface="Agency FB" pitchFamily="34" charset="0"/>
              <a:sym typeface="Roboto Condensed" pitchFamily="2" charset="0"/>
            </a:rPr>
            <a:t>Sebagai sinyal awal (</a:t>
          </a:r>
          <a:r>
            <a:rPr lang="id-ID" altLang="zh-CN" sz="2400" kern="1200" dirty="0" err="1" smtClean="0">
              <a:latin typeface="Agency FB" pitchFamily="34" charset="0"/>
              <a:sym typeface="Roboto Condensed" pitchFamily="2" charset="0"/>
            </a:rPr>
            <a:t>Early</a:t>
          </a:r>
          <a:r>
            <a:rPr lang="id-ID" altLang="zh-CN" sz="2400" kern="1200" dirty="0" smtClean="0">
              <a:latin typeface="Agency FB" pitchFamily="34" charset="0"/>
              <a:sym typeface="Roboto Condensed" pitchFamily="2" charset="0"/>
            </a:rPr>
            <a:t> </a:t>
          </a:r>
          <a:r>
            <a:rPr lang="id-ID" altLang="zh-CN" sz="2400" kern="1200" dirty="0" err="1" smtClean="0">
              <a:latin typeface="Agency FB" pitchFamily="34" charset="0"/>
              <a:sym typeface="Roboto Condensed" pitchFamily="2" charset="0"/>
            </a:rPr>
            <a:t>Warning</a:t>
          </a:r>
          <a:r>
            <a:rPr lang="id-ID" altLang="zh-CN" sz="2400" kern="1200" dirty="0" smtClean="0">
              <a:latin typeface="Agency FB" pitchFamily="34" charset="0"/>
              <a:sym typeface="Roboto Condensed" pitchFamily="2" charset="0"/>
            </a:rPr>
            <a:t>) gejolak harga di pasar</a:t>
          </a:r>
          <a:endParaRPr lang="en-US" sz="2400" kern="1200" dirty="0">
            <a:latin typeface="Agency FB" pitchFamily="34" charset="0"/>
          </a:endParaRPr>
        </a:p>
        <a:p>
          <a:pPr marL="228600" lvl="1" indent="-228600" algn="l" defTabSz="1066800" rtl="0">
            <a:lnSpc>
              <a:spcPct val="90000"/>
            </a:lnSpc>
            <a:spcBef>
              <a:spcPct val="0"/>
            </a:spcBef>
            <a:spcAft>
              <a:spcPct val="15000"/>
            </a:spcAft>
            <a:buChar char="••"/>
          </a:pPr>
          <a:r>
            <a:rPr lang="id-ID" altLang="zh-CN" sz="2400" kern="1200" dirty="0" smtClean="0">
              <a:latin typeface="Agency FB" pitchFamily="34" charset="0"/>
              <a:sym typeface="Roboto Condensed" pitchFamily="2" charset="0"/>
            </a:rPr>
            <a:t>Sebagai bahan kajian untuk memahami perilaku harga komoditas dan melihat keterkaitan harga antar wilayah</a:t>
          </a:r>
        </a:p>
      </dsp:txBody>
      <dsp:txXfrm rot="-5400000">
        <a:off x="3325117" y="2923868"/>
        <a:ext cx="5824183" cy="1610707"/>
      </dsp:txXfrm>
    </dsp:sp>
    <dsp:sp modelId="{3CA67D23-F04E-4390-8722-187606385039}">
      <dsp:nvSpPr>
        <dsp:cNvPr id="0" name=""/>
        <dsp:cNvSpPr/>
      </dsp:nvSpPr>
      <dsp:spPr>
        <a:xfrm>
          <a:off x="0" y="2988041"/>
          <a:ext cx="3325116" cy="1482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lvl="0" algn="ctr" defTabSz="1778000">
            <a:lnSpc>
              <a:spcPct val="90000"/>
            </a:lnSpc>
            <a:spcBef>
              <a:spcPct val="0"/>
            </a:spcBef>
            <a:spcAft>
              <a:spcPct val="35000"/>
            </a:spcAft>
          </a:pPr>
          <a:r>
            <a:rPr lang="id-ID" sz="4000" b="1" kern="1200" dirty="0" smtClean="0">
              <a:latin typeface="Agency FB" pitchFamily="34" charset="0"/>
            </a:rPr>
            <a:t>Penentu </a:t>
          </a:r>
          <a:endParaRPr lang="en-US" sz="4000" b="1" kern="1200" dirty="0" smtClean="0">
            <a:latin typeface="Agency FB" pitchFamily="34" charset="0"/>
          </a:endParaRPr>
        </a:p>
        <a:p>
          <a:pPr lvl="0" algn="ctr" defTabSz="1778000">
            <a:lnSpc>
              <a:spcPct val="90000"/>
            </a:lnSpc>
            <a:spcBef>
              <a:spcPct val="0"/>
            </a:spcBef>
            <a:spcAft>
              <a:spcPct val="35000"/>
            </a:spcAft>
          </a:pPr>
          <a:r>
            <a:rPr lang="id-ID" sz="4000" b="1" kern="1200" dirty="0" smtClean="0">
              <a:latin typeface="Agency FB" pitchFamily="34" charset="0"/>
            </a:rPr>
            <a:t>Kebijakan</a:t>
          </a:r>
          <a:endParaRPr lang="en-US" sz="4000" b="1" kern="1200" dirty="0">
            <a:latin typeface="Agency FB" pitchFamily="34" charset="0"/>
          </a:endParaRPr>
        </a:p>
      </dsp:txBody>
      <dsp:txXfrm>
        <a:off x="72363" y="3060404"/>
        <a:ext cx="3180390" cy="133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2116</cdr:x>
      <cdr:y>0.57156</cdr:y>
    </cdr:from>
    <cdr:to>
      <cdr:x>0.28587</cdr:x>
      <cdr:y>0.67878</cdr:y>
    </cdr:to>
    <cdr:sp macro="" textlink="">
      <cdr:nvSpPr>
        <cdr:cNvPr id="2" name="TextBox 185"/>
        <cdr:cNvSpPr txBox="1"/>
      </cdr:nvSpPr>
      <cdr:spPr>
        <a:xfrm xmlns:a="http://schemas.openxmlformats.org/drawingml/2006/main">
          <a:off x="1323060" y="2789200"/>
          <a:ext cx="1798500"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2800" b="1" spc="-150" dirty="0" smtClean="0">
              <a:solidFill>
                <a:srgbClr val="FF0000"/>
              </a:solidFill>
              <a:latin typeface="Agency FB" panose="020B0503020202020204" pitchFamily="34" charset="0"/>
            </a:rPr>
            <a:t>38 TPID</a:t>
          </a:r>
          <a:endParaRPr lang="id-ID" sz="2800" b="1" spc="-150" dirty="0">
            <a:solidFill>
              <a:srgbClr val="FF0000"/>
            </a:solidFill>
            <a:latin typeface="Agency FB" panose="020B0503020202020204" pitchFamily="34" charset="0"/>
          </a:endParaRPr>
        </a:p>
      </cdr:txBody>
    </cdr:sp>
  </cdr:relSizeAnchor>
  <cdr:relSizeAnchor xmlns:cdr="http://schemas.openxmlformats.org/drawingml/2006/chartDrawing">
    <cdr:from>
      <cdr:x>0.27285</cdr:x>
      <cdr:y>0.57156</cdr:y>
    </cdr:from>
    <cdr:to>
      <cdr:x>0.43756</cdr:x>
      <cdr:y>0.67878</cdr:y>
    </cdr:to>
    <cdr:sp macro="" textlink="">
      <cdr:nvSpPr>
        <cdr:cNvPr id="3" name="TextBox 186"/>
        <cdr:cNvSpPr txBox="1"/>
      </cdr:nvSpPr>
      <cdr:spPr>
        <a:xfrm xmlns:a="http://schemas.openxmlformats.org/drawingml/2006/main">
          <a:off x="2979415" y="2789200"/>
          <a:ext cx="1798500"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2800" b="1" spc="-150" dirty="0" smtClean="0">
              <a:solidFill>
                <a:srgbClr val="FF0000"/>
              </a:solidFill>
              <a:latin typeface="Agency FB" panose="020B0503020202020204" pitchFamily="34" charset="0"/>
            </a:rPr>
            <a:t>64 TPID</a:t>
          </a:r>
          <a:endParaRPr lang="id-ID" sz="2800" b="1" spc="-150" dirty="0">
            <a:solidFill>
              <a:srgbClr val="FF0000"/>
            </a:solidFill>
            <a:latin typeface="Agency FB" panose="020B0503020202020204" pitchFamily="34" charset="0"/>
          </a:endParaRPr>
        </a:p>
      </cdr:txBody>
    </cdr:sp>
  </cdr:relSizeAnchor>
  <cdr:relSizeAnchor xmlns:cdr="http://schemas.openxmlformats.org/drawingml/2006/chartDrawing">
    <cdr:from>
      <cdr:x>0.39752</cdr:x>
      <cdr:y>0.57156</cdr:y>
    </cdr:from>
    <cdr:to>
      <cdr:x>0.56223</cdr:x>
      <cdr:y>0.67878</cdr:y>
    </cdr:to>
    <cdr:sp macro="" textlink="">
      <cdr:nvSpPr>
        <cdr:cNvPr id="4" name="TextBox 187"/>
        <cdr:cNvSpPr txBox="1"/>
      </cdr:nvSpPr>
      <cdr:spPr>
        <a:xfrm xmlns:a="http://schemas.openxmlformats.org/drawingml/2006/main">
          <a:off x="4340760" y="2789200"/>
          <a:ext cx="1798500"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2800" b="1" spc="-150" dirty="0" smtClean="0">
              <a:solidFill>
                <a:srgbClr val="FF0000"/>
              </a:solidFill>
              <a:latin typeface="Agency FB" panose="020B0503020202020204" pitchFamily="34" charset="0"/>
            </a:rPr>
            <a:t>86 TPID</a:t>
          </a:r>
          <a:endParaRPr lang="id-ID" sz="2800" b="1" spc="-150" dirty="0">
            <a:solidFill>
              <a:srgbClr val="FF0000"/>
            </a:solidFill>
            <a:latin typeface="Agency FB" panose="020B0503020202020204" pitchFamily="34" charset="0"/>
          </a:endParaRPr>
        </a:p>
      </cdr:txBody>
    </cdr:sp>
  </cdr:relSizeAnchor>
  <cdr:relSizeAnchor xmlns:cdr="http://schemas.openxmlformats.org/drawingml/2006/chartDrawing">
    <cdr:from>
      <cdr:x>0.52213</cdr:x>
      <cdr:y>0.41424</cdr:y>
    </cdr:from>
    <cdr:to>
      <cdr:x>0.68684</cdr:x>
      <cdr:y>0.52145</cdr:y>
    </cdr:to>
    <cdr:sp macro="" textlink="">
      <cdr:nvSpPr>
        <cdr:cNvPr id="5" name="TextBox 188"/>
        <cdr:cNvSpPr txBox="1"/>
      </cdr:nvSpPr>
      <cdr:spPr>
        <a:xfrm xmlns:a="http://schemas.openxmlformats.org/drawingml/2006/main">
          <a:off x="5701475" y="2530248"/>
          <a:ext cx="1798500" cy="65491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2800" b="1" spc="-150" dirty="0" smtClean="0">
              <a:solidFill>
                <a:srgbClr val="FF0000"/>
              </a:solidFill>
              <a:latin typeface="Agency FB" panose="020B0503020202020204" pitchFamily="34" charset="0"/>
            </a:rPr>
            <a:t>183 TPID</a:t>
          </a:r>
          <a:endParaRPr lang="id-ID" sz="2800" b="1" spc="-150" dirty="0">
            <a:solidFill>
              <a:srgbClr val="FF0000"/>
            </a:solidFill>
            <a:latin typeface="Agency FB" panose="020B0503020202020204" pitchFamily="34" charset="0"/>
          </a:endParaRPr>
        </a:p>
      </cdr:txBody>
    </cdr:sp>
  </cdr:relSizeAnchor>
  <cdr:relSizeAnchor xmlns:cdr="http://schemas.openxmlformats.org/drawingml/2006/chartDrawing">
    <cdr:from>
      <cdr:x>0.65285</cdr:x>
      <cdr:y>0.08078</cdr:y>
    </cdr:from>
    <cdr:to>
      <cdr:x>0.81755</cdr:x>
      <cdr:y>0.18799</cdr:y>
    </cdr:to>
    <cdr:sp macro="" textlink="">
      <cdr:nvSpPr>
        <cdr:cNvPr id="6" name="TextBox 189"/>
        <cdr:cNvSpPr txBox="1"/>
      </cdr:nvSpPr>
      <cdr:spPr>
        <a:xfrm xmlns:a="http://schemas.openxmlformats.org/drawingml/2006/main">
          <a:off x="7128774" y="493401"/>
          <a:ext cx="1798500" cy="65491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2800" b="1" spc="-150" dirty="0" smtClean="0">
              <a:solidFill>
                <a:srgbClr val="FF0000"/>
              </a:solidFill>
              <a:latin typeface="Agency FB" panose="020B0503020202020204" pitchFamily="34" charset="0"/>
            </a:rPr>
            <a:t>396 TPID</a:t>
          </a:r>
          <a:endParaRPr lang="id-ID" sz="2800" b="1" spc="-150" dirty="0">
            <a:solidFill>
              <a:srgbClr val="FF0000"/>
            </a:solidFill>
            <a:latin typeface="Agency FB" panose="020B0503020202020204" pitchFamily="34" charset="0"/>
          </a:endParaRPr>
        </a:p>
      </cdr:txBody>
    </cdr:sp>
  </cdr:relSizeAnchor>
  <cdr:relSizeAnchor xmlns:cdr="http://schemas.openxmlformats.org/drawingml/2006/chartDrawing">
    <cdr:from>
      <cdr:x>0.77147</cdr:x>
      <cdr:y>0</cdr:y>
    </cdr:from>
    <cdr:to>
      <cdr:x>0.97429</cdr:x>
      <cdr:y>0.08854</cdr:y>
    </cdr:to>
    <cdr:sp macro="" textlink="">
      <cdr:nvSpPr>
        <cdr:cNvPr id="7" name="TextBox 190"/>
        <cdr:cNvSpPr txBox="1"/>
      </cdr:nvSpPr>
      <cdr:spPr>
        <a:xfrm xmlns:a="http://schemas.openxmlformats.org/drawingml/2006/main">
          <a:off x="6859588" y="0"/>
          <a:ext cx="1803400"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2800" b="1" spc="-150" dirty="0" smtClean="0">
              <a:solidFill>
                <a:srgbClr val="FF0000"/>
              </a:solidFill>
              <a:effectLst>
                <a:outerShdw blurRad="38100" dist="38100" dir="2700000" algn="tl">
                  <a:srgbClr val="000000">
                    <a:alpha val="43137"/>
                  </a:srgbClr>
                </a:outerShdw>
              </a:effectLst>
              <a:latin typeface="Agency FB" panose="020B0503020202020204" pitchFamily="34" charset="0"/>
            </a:rPr>
            <a:t>44</a:t>
          </a:r>
          <a:r>
            <a:rPr lang="id-ID" sz="2800" b="1" spc="-150" dirty="0" smtClean="0">
              <a:solidFill>
                <a:srgbClr val="FF0000"/>
              </a:solidFill>
              <a:effectLst>
                <a:outerShdw blurRad="38100" dist="38100" dir="2700000" algn="tl">
                  <a:srgbClr val="000000">
                    <a:alpha val="43137"/>
                  </a:srgbClr>
                </a:outerShdw>
              </a:effectLst>
              <a:latin typeface="Agency FB" panose="020B0503020202020204" pitchFamily="34" charset="0"/>
            </a:rPr>
            <a:t>5  TPID</a:t>
          </a:r>
          <a:endParaRPr lang="id-ID" sz="2800" b="1" spc="-150" dirty="0">
            <a:solidFill>
              <a:srgbClr val="FF0000"/>
            </a:solidFill>
            <a:effectLst>
              <a:outerShdw blurRad="38100" dist="38100" dir="2700000" algn="tl">
                <a:srgbClr val="000000">
                  <a:alpha val="43137"/>
                </a:srgbClr>
              </a:outerShdw>
            </a:effectLst>
            <a:latin typeface="Agency FB" panose="020B0503020202020204" pitchFamily="34" charset="0"/>
          </a:endParaRPr>
        </a:p>
      </cdr:txBody>
    </cdr:sp>
  </cdr:relSizeAnchor>
  <cdr:relSizeAnchor xmlns:cdr="http://schemas.openxmlformats.org/drawingml/2006/chartDrawing">
    <cdr:from>
      <cdr:x>0.73653</cdr:x>
      <cdr:y>0.90338</cdr:y>
    </cdr:from>
    <cdr:to>
      <cdr:x>0.96544</cdr:x>
      <cdr:y>0.97907</cdr:y>
    </cdr:to>
    <cdr:sp macro="" textlink="">
      <cdr:nvSpPr>
        <cdr:cNvPr id="8" name="TextBox 196"/>
        <cdr:cNvSpPr txBox="1"/>
      </cdr:nvSpPr>
      <cdr:spPr>
        <a:xfrm xmlns:a="http://schemas.openxmlformats.org/drawingml/2006/main">
          <a:off x="8042543" y="5518081"/>
          <a:ext cx="2499629" cy="462291"/>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id-ID" sz="2200" b="1" dirty="0" smtClean="0">
              <a:solidFill>
                <a:schemeClr val="tx1"/>
              </a:solidFill>
              <a:latin typeface="Agency FB" panose="020B0503020202020204" pitchFamily="34" charset="0"/>
            </a:rPr>
            <a:t>NOV 2015</a:t>
          </a:r>
          <a:endParaRPr lang="id-ID" sz="2200" b="1" dirty="0">
            <a:solidFill>
              <a:schemeClr val="tx1"/>
            </a:solidFill>
            <a:latin typeface="Agency FB" panose="020B0503020202020204" pitchFamily="34" charset="0"/>
          </a:endParaRPr>
        </a:p>
      </cdr:txBody>
    </cdr:sp>
  </cdr:relSizeAnchor>
  <cdr:relSizeAnchor xmlns:cdr="http://schemas.openxmlformats.org/drawingml/2006/chartDrawing">
    <cdr:from>
      <cdr:x>0.76419</cdr:x>
      <cdr:y>0.90101</cdr:y>
    </cdr:from>
    <cdr:to>
      <cdr:x>0.9931</cdr:x>
      <cdr:y>0.9767</cdr:y>
    </cdr:to>
    <cdr:sp macro="" textlink="">
      <cdr:nvSpPr>
        <cdr:cNvPr id="9" name="TextBox 196"/>
        <cdr:cNvSpPr txBox="1"/>
      </cdr:nvSpPr>
      <cdr:spPr>
        <a:xfrm xmlns:a="http://schemas.openxmlformats.org/drawingml/2006/main">
          <a:off x="6794827" y="5324360"/>
          <a:ext cx="2035374" cy="447276"/>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id-ID" sz="2200" b="1" dirty="0" smtClean="0">
              <a:solidFill>
                <a:schemeClr val="tx1"/>
              </a:solidFill>
              <a:latin typeface="Agency FB" panose="020B0503020202020204" pitchFamily="34" charset="0"/>
            </a:rPr>
            <a:t>2015</a:t>
          </a:r>
          <a:endParaRPr lang="id-ID" sz="2200" b="1" dirty="0">
            <a:solidFill>
              <a:schemeClr val="tx1"/>
            </a:solidFill>
            <a:latin typeface="Agency FB" panose="020B0503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id-ID"/>
          </a:p>
        </p:txBody>
      </p:sp>
      <p:sp>
        <p:nvSpPr>
          <p:cNvPr id="3" name="Date Placeholder 2"/>
          <p:cNvSpPr>
            <a:spLocks noGrp="1"/>
          </p:cNvSpPr>
          <p:nvPr>
            <p:ph type="dt" sz="quarter" idx="1"/>
          </p:nvPr>
        </p:nvSpPr>
        <p:spPr>
          <a:xfrm>
            <a:off x="3901698" y="0"/>
            <a:ext cx="2984871" cy="502755"/>
          </a:xfrm>
          <a:prstGeom prst="rect">
            <a:avLst/>
          </a:prstGeom>
        </p:spPr>
        <p:txBody>
          <a:bodyPr vert="horz" lIns="96616" tIns="48308" rIns="96616" bIns="48308" rtlCol="0"/>
          <a:lstStyle>
            <a:lvl1pPr algn="r">
              <a:defRPr sz="1300"/>
            </a:lvl1pPr>
          </a:lstStyle>
          <a:p>
            <a:fld id="{95DB3BFC-691C-40B8-B24A-158C62D05ED2}" type="datetimeFigureOut">
              <a:rPr lang="id-ID" smtClean="0"/>
              <a:t>27/07/2016</a:t>
            </a:fld>
            <a:endParaRPr lang="id-ID"/>
          </a:p>
        </p:txBody>
      </p:sp>
      <p:sp>
        <p:nvSpPr>
          <p:cNvPr id="4" name="Footer Placeholder 3"/>
          <p:cNvSpPr>
            <a:spLocks noGrp="1"/>
          </p:cNvSpPr>
          <p:nvPr>
            <p:ph type="ftr" sz="quarter" idx="2"/>
          </p:nvPr>
        </p:nvSpPr>
        <p:spPr>
          <a:xfrm>
            <a:off x="0" y="9517547"/>
            <a:ext cx="2984871" cy="502754"/>
          </a:xfrm>
          <a:prstGeom prst="rect">
            <a:avLst/>
          </a:prstGeom>
        </p:spPr>
        <p:txBody>
          <a:bodyPr vert="horz" lIns="96616" tIns="48308" rIns="96616" bIns="48308" rtlCol="0" anchor="b"/>
          <a:lstStyle>
            <a:lvl1pPr algn="l">
              <a:defRPr sz="1300"/>
            </a:lvl1pPr>
          </a:lstStyle>
          <a:p>
            <a:endParaRPr lang="id-ID"/>
          </a:p>
        </p:txBody>
      </p:sp>
      <p:sp>
        <p:nvSpPr>
          <p:cNvPr id="5" name="Slide Number Placeholder 4"/>
          <p:cNvSpPr>
            <a:spLocks noGrp="1"/>
          </p:cNvSpPr>
          <p:nvPr>
            <p:ph type="sldNum" sz="quarter" idx="3"/>
          </p:nvPr>
        </p:nvSpPr>
        <p:spPr>
          <a:xfrm>
            <a:off x="3901698" y="9517547"/>
            <a:ext cx="2984871" cy="502754"/>
          </a:xfrm>
          <a:prstGeom prst="rect">
            <a:avLst/>
          </a:prstGeom>
        </p:spPr>
        <p:txBody>
          <a:bodyPr vert="horz" lIns="96616" tIns="48308" rIns="96616" bIns="48308" rtlCol="0" anchor="b"/>
          <a:lstStyle>
            <a:lvl1pPr algn="r">
              <a:defRPr sz="1300"/>
            </a:lvl1pPr>
          </a:lstStyle>
          <a:p>
            <a:fld id="{DED3AB24-99A6-4525-9D4B-E1BC5ACE1D2C}" type="slidenum">
              <a:rPr lang="id-ID" smtClean="0"/>
              <a:t>‹#›</a:t>
            </a:fld>
            <a:endParaRPr lang="id-ID"/>
          </a:p>
        </p:txBody>
      </p:sp>
    </p:spTree>
    <p:extLst>
      <p:ext uri="{BB962C8B-B14F-4D97-AF65-F5344CB8AC3E}">
        <p14:creationId xmlns:p14="http://schemas.microsoft.com/office/powerpoint/2010/main" val="31054106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1015"/>
          </a:xfrm>
          <a:prstGeom prst="rect">
            <a:avLst/>
          </a:prstGeom>
        </p:spPr>
        <p:txBody>
          <a:bodyPr vert="horz" lIns="96616" tIns="48308" rIns="96616" bIns="48308" rtlCol="0"/>
          <a:lstStyle>
            <a:lvl1pPr algn="l">
              <a:defRPr sz="1300"/>
            </a:lvl1pPr>
          </a:lstStyle>
          <a:p>
            <a:endParaRPr lang="en-US"/>
          </a:p>
        </p:txBody>
      </p:sp>
      <p:sp>
        <p:nvSpPr>
          <p:cNvPr id="3" name="Date Placeholder 2"/>
          <p:cNvSpPr>
            <a:spLocks noGrp="1"/>
          </p:cNvSpPr>
          <p:nvPr>
            <p:ph type="dt" idx="1"/>
          </p:nvPr>
        </p:nvSpPr>
        <p:spPr>
          <a:xfrm>
            <a:off x="3901698" y="0"/>
            <a:ext cx="2984871" cy="501015"/>
          </a:xfrm>
          <a:prstGeom prst="rect">
            <a:avLst/>
          </a:prstGeom>
        </p:spPr>
        <p:txBody>
          <a:bodyPr vert="horz" lIns="96616" tIns="48308" rIns="96616" bIns="48308" rtlCol="0"/>
          <a:lstStyle>
            <a:lvl1pPr algn="r">
              <a:defRPr sz="1300"/>
            </a:lvl1pPr>
          </a:lstStyle>
          <a:p>
            <a:fld id="{EFD763BD-C922-473D-9995-EAA82E465DEE}" type="datetimeFigureOut">
              <a:rPr lang="en-US" smtClean="0"/>
              <a:t>7/27/2016</a:t>
            </a:fld>
            <a:endParaRPr lang="en-US"/>
          </a:p>
        </p:txBody>
      </p:sp>
      <p:sp>
        <p:nvSpPr>
          <p:cNvPr id="4" name="Slide Image Placeholder 3"/>
          <p:cNvSpPr>
            <a:spLocks noGrp="1" noRot="1" noChangeAspect="1"/>
          </p:cNvSpPr>
          <p:nvPr>
            <p:ph type="sldImg" idx="2"/>
          </p:nvPr>
        </p:nvSpPr>
        <p:spPr>
          <a:xfrm>
            <a:off x="104775" y="750888"/>
            <a:ext cx="6678613" cy="3757612"/>
          </a:xfrm>
          <a:prstGeom prst="rect">
            <a:avLst/>
          </a:prstGeom>
          <a:noFill/>
          <a:ln w="12700">
            <a:solidFill>
              <a:prstClr val="black"/>
            </a:solidFill>
          </a:ln>
        </p:spPr>
        <p:txBody>
          <a:bodyPr vert="horz" lIns="96616" tIns="48308" rIns="96616" bIns="48308" rtlCol="0" anchor="ctr"/>
          <a:lstStyle/>
          <a:p>
            <a:endParaRPr lang="en-US"/>
          </a:p>
        </p:txBody>
      </p:sp>
      <p:sp>
        <p:nvSpPr>
          <p:cNvPr id="5" name="Notes Placeholder 4"/>
          <p:cNvSpPr>
            <a:spLocks noGrp="1"/>
          </p:cNvSpPr>
          <p:nvPr>
            <p:ph type="body" sz="quarter" idx="3"/>
          </p:nvPr>
        </p:nvSpPr>
        <p:spPr>
          <a:xfrm>
            <a:off x="688817" y="4759643"/>
            <a:ext cx="5510530" cy="4509135"/>
          </a:xfrm>
          <a:prstGeom prst="rect">
            <a:avLst/>
          </a:prstGeom>
        </p:spPr>
        <p:txBody>
          <a:bodyPr vert="horz" lIns="96616" tIns="48308" rIns="96616" bIns="4830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517546"/>
            <a:ext cx="2984871" cy="501015"/>
          </a:xfrm>
          <a:prstGeom prst="rect">
            <a:avLst/>
          </a:prstGeom>
        </p:spPr>
        <p:txBody>
          <a:bodyPr vert="horz" lIns="96616" tIns="48308" rIns="96616" bIns="48308" rtlCol="0" anchor="b"/>
          <a:lstStyle>
            <a:lvl1pPr algn="l">
              <a:defRPr sz="1300"/>
            </a:lvl1pPr>
          </a:lstStyle>
          <a:p>
            <a:endParaRPr lang="en-US"/>
          </a:p>
        </p:txBody>
      </p:sp>
      <p:sp>
        <p:nvSpPr>
          <p:cNvPr id="7" name="Slide Number Placeholder 6"/>
          <p:cNvSpPr>
            <a:spLocks noGrp="1"/>
          </p:cNvSpPr>
          <p:nvPr>
            <p:ph type="sldNum" sz="quarter" idx="5"/>
          </p:nvPr>
        </p:nvSpPr>
        <p:spPr>
          <a:xfrm>
            <a:off x="3901698" y="9517546"/>
            <a:ext cx="2984871" cy="501015"/>
          </a:xfrm>
          <a:prstGeom prst="rect">
            <a:avLst/>
          </a:prstGeom>
        </p:spPr>
        <p:txBody>
          <a:bodyPr vert="horz" lIns="96616" tIns="48308" rIns="96616" bIns="48308" rtlCol="0" anchor="b"/>
          <a:lstStyle>
            <a:lvl1pPr algn="r">
              <a:defRPr sz="1300"/>
            </a:lvl1pPr>
          </a:lstStyle>
          <a:p>
            <a:fld id="{4054125A-0914-41E0-99FA-CBD0D225005C}" type="slidenum">
              <a:rPr lang="en-US" smtClean="0"/>
              <a:t>‹#›</a:t>
            </a:fld>
            <a:endParaRPr lang="en-US"/>
          </a:p>
        </p:txBody>
      </p:sp>
    </p:spTree>
    <p:extLst>
      <p:ext uri="{BB962C8B-B14F-4D97-AF65-F5344CB8AC3E}">
        <p14:creationId xmlns:p14="http://schemas.microsoft.com/office/powerpoint/2010/main" val="116429283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1</a:t>
            </a:fld>
            <a:endParaRPr lang="en-US"/>
          </a:p>
        </p:txBody>
      </p:sp>
    </p:spTree>
    <p:extLst>
      <p:ext uri="{BB962C8B-B14F-4D97-AF65-F5344CB8AC3E}">
        <p14:creationId xmlns:p14="http://schemas.microsoft.com/office/powerpoint/2010/main" val="4480722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3038" cy="36703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E4AE9790-D48B-4E8D-9DC0-67D5F9DC33C8}" type="slidenum">
              <a:rPr lang="id-ID" smtClean="0"/>
              <a:pPr/>
              <a:t>14</a:t>
            </a:fld>
            <a:endParaRPr lang="id-ID"/>
          </a:p>
        </p:txBody>
      </p:sp>
    </p:spTree>
    <p:extLst>
      <p:ext uri="{BB962C8B-B14F-4D97-AF65-F5344CB8AC3E}">
        <p14:creationId xmlns:p14="http://schemas.microsoft.com/office/powerpoint/2010/main" val="2767936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15</a:t>
            </a:fld>
            <a:endParaRPr lang="en-US"/>
          </a:p>
        </p:txBody>
      </p:sp>
    </p:spTree>
    <p:extLst>
      <p:ext uri="{BB962C8B-B14F-4D97-AF65-F5344CB8AC3E}">
        <p14:creationId xmlns:p14="http://schemas.microsoft.com/office/powerpoint/2010/main" val="448072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id-ID" altLang="id-ID" smtClean="0">
                <a:latin typeface="Arial" pitchFamily="34" charset="0"/>
                <a:cs typeface="Arial" pitchFamily="34" charset="0"/>
              </a:rPr>
              <a:t>Terbaru</a:t>
            </a:r>
            <a:endParaRPr lang="en-US" altLang="id-ID" smtClean="0">
              <a:latin typeface="Arial" pitchFamily="34" charset="0"/>
              <a:cs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xfrm>
            <a:off x="104775" y="749300"/>
            <a:ext cx="6678613" cy="37576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id-ID" altLang="en-US" smtClean="0">
                <a:latin typeface="Arial" pitchFamily="34" charset="0"/>
                <a:cs typeface="Arial" pitchFamily="34" charset="0"/>
              </a:rPr>
              <a:t>Dalam Pelaksanaan Urusan Pemerintah Daerah</a:t>
            </a:r>
          </a:p>
          <a:p>
            <a:pPr eaLnBrk="1" hangingPunct="1">
              <a:spcBef>
                <a:spcPct val="0"/>
              </a:spcBef>
            </a:pPr>
            <a:r>
              <a:rPr lang="id-ID" altLang="en-US" smtClean="0">
                <a:latin typeface="Arial" pitchFamily="34" charset="0"/>
                <a:cs typeface="Arial" pitchFamily="34" charset="0"/>
              </a:rPr>
              <a:t>Sesuai Dengan Kewenangan</a:t>
            </a:r>
          </a:p>
          <a:p>
            <a:pPr eaLnBrk="1" hangingPunct="1">
              <a:spcBef>
                <a:spcPct val="0"/>
              </a:spcBef>
            </a:pPr>
            <a:endParaRPr lang="id-ID" altLang="en-US" smtClean="0">
              <a:latin typeface="Arial" pitchFamily="34" charset="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d-ID" smtClean="0"/>
          </a:p>
        </p:txBody>
      </p:sp>
      <p:sp>
        <p:nvSpPr>
          <p:cNvPr id="266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7EE0DA7-7EDC-493B-8F30-A858126F7541}" type="slidenum">
              <a:rPr lang="en-US" smtClean="0"/>
              <a:pPr fontAlgn="base">
                <a:spcBef>
                  <a:spcPct val="0"/>
                </a:spcBef>
                <a:spcAft>
                  <a:spcPct val="0"/>
                </a:spcAft>
                <a:defRPr/>
              </a:pPr>
              <a:t>30</a:t>
            </a:fld>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smtClean="0"/>
          </a:p>
        </p:txBody>
      </p:sp>
      <p:sp>
        <p:nvSpPr>
          <p:cNvPr id="4" name="Slide Number Placeholder 3"/>
          <p:cNvSpPr>
            <a:spLocks noGrp="1"/>
          </p:cNvSpPr>
          <p:nvPr>
            <p:ph type="sldNum" sz="quarter" idx="5"/>
          </p:nvPr>
        </p:nvSpPr>
        <p:spPr/>
        <p:txBody>
          <a:bodyPr/>
          <a:lstStyle/>
          <a:p>
            <a:pPr>
              <a:defRPr/>
            </a:pPr>
            <a:fld id="{69C2B0F2-6EE1-4758-BC0B-A5D59939EC36}" type="slidenum">
              <a:rPr lang="en-US" smtClean="0"/>
              <a:pPr>
                <a:defRPr/>
              </a:pPr>
              <a:t>32</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txBox="1">
            <a:spLocks noGrp="1" noChangeArrowheads="1"/>
          </p:cNvSpPr>
          <p:nvPr/>
        </p:nvSpPr>
        <p:spPr bwMode="auto">
          <a:xfrm>
            <a:off x="3900104" y="9519285"/>
            <a:ext cx="2988060" cy="501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772" tIns="61386" rIns="122772" bIns="61386"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D4FF7DE1-061A-478D-A3D8-BF254C679BF6}" type="slidenum">
              <a:rPr lang="en-US" sz="1600">
                <a:solidFill>
                  <a:srgbClr val="000000"/>
                </a:solidFill>
              </a:rPr>
              <a:pPr algn="r" eaLnBrk="1" hangingPunct="1"/>
              <a:t>35</a:t>
            </a:fld>
            <a:endParaRPr lang="en-US" sz="1600">
              <a:solidFill>
                <a:srgbClr val="000000"/>
              </a:solidFill>
            </a:endParaRPr>
          </a:p>
        </p:txBody>
      </p:sp>
      <p:sp>
        <p:nvSpPr>
          <p:cNvPr id="34819" name="Rectangle 2050"/>
          <p:cNvSpPr>
            <a:spLocks noGrp="1" noRot="1" noChangeAspect="1" noChangeArrowheads="1" noTextEdit="1"/>
          </p:cNvSpPr>
          <p:nvPr>
            <p:ph type="sldImg"/>
          </p:nvPr>
        </p:nvSpPr>
        <p:spPr bwMode="auto">
          <a:xfrm>
            <a:off x="103188" y="749300"/>
            <a:ext cx="6681787" cy="3759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20" name="Rectangle 2051"/>
          <p:cNvSpPr>
            <a:spLocks noGrp="1" noChangeArrowheads="1"/>
          </p:cNvSpPr>
          <p:nvPr>
            <p:ph type="body" idx="1"/>
          </p:nvPr>
        </p:nvSpPr>
        <p:spPr bwMode="auto">
          <a:xfrm>
            <a:off x="918422" y="4763122"/>
            <a:ext cx="5051320" cy="45056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latin typeface="Arial" pitchFamily="34" charset="0"/>
              <a:cs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AU"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38</a:t>
            </a:fld>
            <a:endParaRPr lang="en-US"/>
          </a:p>
        </p:txBody>
      </p:sp>
    </p:spTree>
    <p:extLst>
      <p:ext uri="{BB962C8B-B14F-4D97-AF65-F5344CB8AC3E}">
        <p14:creationId xmlns:p14="http://schemas.microsoft.com/office/powerpoint/2010/main" val="448072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3038" cy="36703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E4AE9790-D48B-4E8D-9DC0-67D5F9DC33C8}" type="slidenum">
              <a:rPr lang="id-ID" smtClean="0"/>
              <a:pPr/>
              <a:t>43</a:t>
            </a:fld>
            <a:endParaRPr lang="id-ID"/>
          </a:p>
        </p:txBody>
      </p:sp>
    </p:spTree>
    <p:extLst>
      <p:ext uri="{BB962C8B-B14F-4D97-AF65-F5344CB8AC3E}">
        <p14:creationId xmlns:p14="http://schemas.microsoft.com/office/powerpoint/2010/main" val="4035453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2</a:t>
            </a:fld>
            <a:endParaRPr lang="en-US"/>
          </a:p>
        </p:txBody>
      </p:sp>
    </p:spTree>
    <p:extLst>
      <p:ext uri="{BB962C8B-B14F-4D97-AF65-F5344CB8AC3E}">
        <p14:creationId xmlns:p14="http://schemas.microsoft.com/office/powerpoint/2010/main" val="448072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3</a:t>
            </a:fld>
            <a:endParaRPr lang="en-US"/>
          </a:p>
        </p:txBody>
      </p:sp>
    </p:spTree>
    <p:extLst>
      <p:ext uri="{BB962C8B-B14F-4D97-AF65-F5344CB8AC3E}">
        <p14:creationId xmlns:p14="http://schemas.microsoft.com/office/powerpoint/2010/main" val="448072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8B19EAA-13AA-4E18-8868-09309B5DDA21}" type="slidenum">
              <a:rPr lang="en-US" smtClean="0"/>
              <a:pPr/>
              <a:t>4</a:t>
            </a:fld>
            <a:endParaRPr lang="en-US"/>
          </a:p>
        </p:txBody>
      </p:sp>
    </p:spTree>
    <p:extLst>
      <p:ext uri="{BB962C8B-B14F-4D97-AF65-F5344CB8AC3E}">
        <p14:creationId xmlns:p14="http://schemas.microsoft.com/office/powerpoint/2010/main" val="3524280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8B19EAA-13AA-4E18-8868-09309B5DDA21}" type="slidenum">
              <a:rPr lang="en-US" smtClean="0"/>
              <a:pPr/>
              <a:t>5</a:t>
            </a:fld>
            <a:endParaRPr lang="en-US"/>
          </a:p>
        </p:txBody>
      </p:sp>
    </p:spTree>
    <p:extLst>
      <p:ext uri="{BB962C8B-B14F-4D97-AF65-F5344CB8AC3E}">
        <p14:creationId xmlns:p14="http://schemas.microsoft.com/office/powerpoint/2010/main" val="2060436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7</a:t>
            </a:fld>
            <a:endParaRPr lang="en-US"/>
          </a:p>
        </p:txBody>
      </p:sp>
    </p:spTree>
    <p:extLst>
      <p:ext uri="{BB962C8B-B14F-4D97-AF65-F5344CB8AC3E}">
        <p14:creationId xmlns:p14="http://schemas.microsoft.com/office/powerpoint/2010/main" val="13472183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8B19EAA-13AA-4E18-8868-09309B5DDA21}" type="slidenum">
              <a:rPr lang="en-US" smtClean="0"/>
              <a:pPr/>
              <a:t>9</a:t>
            </a:fld>
            <a:endParaRPr lang="en-US"/>
          </a:p>
        </p:txBody>
      </p:sp>
    </p:spTree>
    <p:extLst>
      <p:ext uri="{BB962C8B-B14F-4D97-AF65-F5344CB8AC3E}">
        <p14:creationId xmlns:p14="http://schemas.microsoft.com/office/powerpoint/2010/main" val="3164625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10</a:t>
            </a:fld>
            <a:endParaRPr lang="en-US"/>
          </a:p>
        </p:txBody>
      </p:sp>
    </p:spTree>
    <p:extLst>
      <p:ext uri="{BB962C8B-B14F-4D97-AF65-F5344CB8AC3E}">
        <p14:creationId xmlns:p14="http://schemas.microsoft.com/office/powerpoint/2010/main" val="41124938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2269"/>
            <a:ext cx="5510530" cy="3945493"/>
          </a:xfrm>
          <a:prstGeom prst="rect">
            <a:avLst/>
          </a:prstGeom>
        </p:spPr>
        <p:txBody>
          <a:bodyPr/>
          <a:lstStyle/>
          <a:p>
            <a:endParaRPr lang="en-US" dirty="0"/>
          </a:p>
        </p:txBody>
      </p:sp>
      <p:sp>
        <p:nvSpPr>
          <p:cNvPr id="4" name="Date Placeholder 3"/>
          <p:cNvSpPr>
            <a:spLocks noGrp="1"/>
          </p:cNvSpPr>
          <p:nvPr>
            <p:ph type="dt" idx="10"/>
          </p:nvPr>
        </p:nvSpPr>
        <p:spPr/>
        <p:txBody>
          <a:bodyPr/>
          <a:lstStyle/>
          <a:p>
            <a:pPr>
              <a:defRPr/>
            </a:pPr>
            <a:fld id="{BF4DD3D5-3BE2-4ED8-880F-D45BAB409BEC}" type="datetime1">
              <a:rPr lang="en-US" smtClean="0"/>
              <a:pPr>
                <a:defRPr/>
              </a:pPr>
              <a:t>7/27/2016</a:t>
            </a:fld>
            <a:endParaRPr lang="en-US"/>
          </a:p>
        </p:txBody>
      </p:sp>
      <p:sp>
        <p:nvSpPr>
          <p:cNvPr id="5" name="Slide Number Placeholder 4"/>
          <p:cNvSpPr>
            <a:spLocks noGrp="1"/>
          </p:cNvSpPr>
          <p:nvPr>
            <p:ph type="sldNum" sz="quarter" idx="11"/>
          </p:nvPr>
        </p:nvSpPr>
        <p:spPr/>
        <p:txBody>
          <a:bodyPr/>
          <a:lstStyle/>
          <a:p>
            <a:fld id="{F5C0D6C6-2C0A-4B3B-964C-A6A915D10AAE}" type="slidenum">
              <a:rPr lang="en-US" altLang="en-US" smtClean="0"/>
              <a:pPr/>
              <a:t>12</a:t>
            </a:fld>
            <a:endParaRPr lang="en-US" altLang="en-US"/>
          </a:p>
        </p:txBody>
      </p:sp>
    </p:spTree>
    <p:extLst>
      <p:ext uri="{BB962C8B-B14F-4D97-AF65-F5344CB8AC3E}">
        <p14:creationId xmlns:p14="http://schemas.microsoft.com/office/powerpoint/2010/main" val="1544617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4"/>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44"/>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21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23"/>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Kementerian Koordinator Bidang Perekonomian</a:t>
            </a:r>
          </a:p>
          <a:p>
            <a:pPr algn="ctr" fontAlgn="base">
              <a:spcBef>
                <a:spcPct val="0"/>
              </a:spcBef>
              <a:spcAft>
                <a:spcPct val="0"/>
              </a:spcAft>
            </a:pPr>
            <a:r>
              <a:rPr lang="id-ID" sz="800" b="1" dirty="0" smtClean="0">
                <a:solidFill>
                  <a:srgbClr val="000000"/>
                </a:solidFill>
                <a:cs typeface="Arial" charset="0"/>
              </a:rPr>
              <a:t>Republik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9361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321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23"/>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Coordinating Ministry for Economic Affairs</a:t>
            </a:r>
          </a:p>
          <a:p>
            <a:pPr algn="ctr" fontAlgn="base">
              <a:spcBef>
                <a:spcPct val="0"/>
              </a:spcBef>
              <a:spcAft>
                <a:spcPct val="0"/>
              </a:spcAft>
            </a:pPr>
            <a:r>
              <a:rPr lang="id-ID" sz="800" b="1" dirty="0" smtClean="0">
                <a:solidFill>
                  <a:srgbClr val="000000"/>
                </a:solidFill>
                <a:cs typeface="Arial" charset="0"/>
              </a:rPr>
              <a:t>The Republic of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09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110333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7"/>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221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42642688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423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5" y="3469922"/>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Kementerian Koordinator Bidang Perekonomian</a:t>
            </a:r>
          </a:p>
          <a:p>
            <a:pPr algn="ctr" fontAlgn="base">
              <a:spcBef>
                <a:spcPct val="0"/>
              </a:spcBef>
              <a:spcAft>
                <a:spcPct val="0"/>
              </a:spcAft>
            </a:pPr>
            <a:r>
              <a:rPr lang="id-ID" sz="900" b="1" dirty="0" smtClean="0">
                <a:solidFill>
                  <a:srgbClr val="000000"/>
                </a:solidFill>
                <a:cs typeface="Arial" charset="0"/>
              </a:rPr>
              <a:t>Republik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9"/>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202676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52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5" y="3469922"/>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Coordinating Ministry for Economic Affairs</a:t>
            </a:r>
          </a:p>
          <a:p>
            <a:pPr algn="ctr" fontAlgn="base">
              <a:spcBef>
                <a:spcPct val="0"/>
              </a:spcBef>
              <a:spcAft>
                <a:spcPct val="0"/>
              </a:spcAft>
            </a:pPr>
            <a:r>
              <a:rPr lang="id-ID" sz="900" b="1" dirty="0" smtClean="0">
                <a:solidFill>
                  <a:srgbClr val="000000"/>
                </a:solidFill>
                <a:cs typeface="Arial" charset="0"/>
              </a:rPr>
              <a:t>The Republic of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9"/>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969968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3288512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609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6197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3"/>
          <p:cNvSpPr>
            <a:spLocks noGrp="1"/>
          </p:cNvSpPr>
          <p:nvPr>
            <p:ph type="dt" sz="half" idx="10"/>
          </p:nvPr>
        </p:nvSpPr>
        <p:spPr>
          <a:xfrm>
            <a:off x="609600" y="6356378"/>
            <a:ext cx="2844800" cy="365125"/>
          </a:xfrm>
          <a:prstGeom prst="rect">
            <a:avLst/>
          </a:prstGeom>
        </p:spPr>
        <p:txBody>
          <a:bodyPr lIns="91438" tIns="45719" rIns="91438" bIns="45719"/>
          <a:lstStyle>
            <a:lvl1pPr>
              <a:defRPr/>
            </a:lvl1pPr>
          </a:lstStyle>
          <a:p>
            <a:endParaRPr lang="id-ID">
              <a:solidFill>
                <a:srgbClr val="000000"/>
              </a:solidFill>
            </a:endParaRPr>
          </a:p>
        </p:txBody>
      </p:sp>
      <p:sp>
        <p:nvSpPr>
          <p:cNvPr id="6" name="Footer Placeholder 4"/>
          <p:cNvSpPr>
            <a:spLocks noGrp="1"/>
          </p:cNvSpPr>
          <p:nvPr>
            <p:ph type="ftr" sz="quarter" idx="11"/>
          </p:nvPr>
        </p:nvSpPr>
        <p:spPr>
          <a:xfrm>
            <a:off x="4165600" y="6356378"/>
            <a:ext cx="3860800" cy="365125"/>
          </a:xfrm>
          <a:prstGeom prst="rect">
            <a:avLst/>
          </a:prstGeom>
        </p:spPr>
        <p:txBody>
          <a:bodyPr lIns="91438" tIns="45719" rIns="91438" bIns="45719"/>
          <a:lstStyle>
            <a:lvl1pPr>
              <a:defRPr/>
            </a:lvl1pPr>
          </a:lstStyle>
          <a:p>
            <a:endParaRPr lang="id-ID">
              <a:solidFill>
                <a:srgbClr val="000000"/>
              </a:solidFill>
            </a:endParaRPr>
          </a:p>
        </p:txBody>
      </p:sp>
      <p:sp>
        <p:nvSpPr>
          <p:cNvPr id="7" name="Slide Number Placeholder 5"/>
          <p:cNvSpPr>
            <a:spLocks noGrp="1"/>
          </p:cNvSpPr>
          <p:nvPr>
            <p:ph type="sldNum" sz="quarter" idx="12"/>
          </p:nvPr>
        </p:nvSpPr>
        <p:spPr>
          <a:xfrm>
            <a:off x="8737600" y="6356378"/>
            <a:ext cx="2844800" cy="365125"/>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5732492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74"/>
            <a:ext cx="2844800" cy="365125"/>
          </a:xfrm>
          <a:prstGeom prst="rect">
            <a:avLst/>
          </a:prstGeom>
        </p:spPr>
        <p:txBody>
          <a:bodyPr lIns="91438" tIns="45719" rIns="91438" bIns="45719"/>
          <a:lstStyle/>
          <a:p>
            <a:endParaRPr lang="en-US">
              <a:solidFill>
                <a:prstClr val="black">
                  <a:tint val="75000"/>
                </a:prstClr>
              </a:solidFill>
            </a:endParaRPr>
          </a:p>
        </p:txBody>
      </p:sp>
      <p:sp>
        <p:nvSpPr>
          <p:cNvPr id="4" name="Footer Placeholder 3"/>
          <p:cNvSpPr>
            <a:spLocks noGrp="1"/>
          </p:cNvSpPr>
          <p:nvPr>
            <p:ph type="ftr" sz="quarter" idx="11"/>
          </p:nvPr>
        </p:nvSpPr>
        <p:spPr>
          <a:xfrm>
            <a:off x="4165600" y="6356374"/>
            <a:ext cx="3860800" cy="365125"/>
          </a:xfrm>
          <a:prstGeom prst="rect">
            <a:avLst/>
          </a:prstGeom>
        </p:spPr>
        <p:txBody>
          <a:bodyPr lIns="91438" tIns="45719" rIns="91438" bIns="45719"/>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0" y="6356374"/>
            <a:ext cx="2844800" cy="365125"/>
          </a:xfrm>
          <a:prstGeom prst="rect">
            <a:avLst/>
          </a:prstGeom>
        </p:spPr>
        <p:txBody>
          <a:bodyPr lIns="91438" tIns="45719" rIns="91438" bIns="45719"/>
          <a:lstStyle/>
          <a:p>
            <a:fld id="{7CB42EAB-3FA4-4EFC-A3C8-8252F0DDD93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9230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89640951"/>
              </p:ex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727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Tree>
    <p:extLst>
      <p:ext uri="{BB962C8B-B14F-4D97-AF65-F5344CB8AC3E}">
        <p14:creationId xmlns:p14="http://schemas.microsoft.com/office/powerpoint/2010/main" val="3009130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40">
                                            <p:txEl>
                                              <p:pRg st="0" end="0"/>
                                            </p:txEl>
                                          </p:spTgt>
                                        </p:tgtEl>
                                        <p:attrNameLst>
                                          <p:attrName>style.visibility</p:attrName>
                                        </p:attrNameLst>
                                      </p:cBhvr>
                                      <p:to>
                                        <p:strVal val="visible"/>
                                      </p:to>
                                    </p:set>
                                    <p:animEffect transition="in" filter="fade">
                                      <p:cBhvr>
                                        <p:cTn id="7"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830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Coordinating Ministry for Economic Affairs</a:t>
            </a:r>
          </a:p>
          <a:p>
            <a:pPr algn="ctr" fontAlgn="base">
              <a:spcBef>
                <a:spcPct val="0"/>
              </a:spcBef>
              <a:spcAft>
                <a:spcPct val="0"/>
              </a:spcAft>
            </a:pPr>
            <a:r>
              <a:rPr lang="id-ID" sz="800" b="1" dirty="0" smtClean="0">
                <a:solidFill>
                  <a:srgbClr val="000000"/>
                </a:solidFill>
                <a:cs typeface="Arial" charset="0"/>
              </a:rPr>
              <a:t>The Republic of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783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222042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3"/>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697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03718905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932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Kementerian Koordinator Bidang Perekonomian</a:t>
            </a:r>
          </a:p>
          <a:p>
            <a:pPr algn="ctr" fontAlgn="base">
              <a:spcBef>
                <a:spcPct val="0"/>
              </a:spcBef>
              <a:spcAft>
                <a:spcPct val="0"/>
              </a:spcAft>
            </a:pPr>
            <a:r>
              <a:rPr lang="id-ID" sz="900" b="1" dirty="0" smtClean="0">
                <a:solidFill>
                  <a:srgbClr val="000000"/>
                </a:solidFill>
                <a:cs typeface="Arial" charset="0"/>
              </a:rPr>
              <a:t>Republik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1998717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034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Coordinating Ministry for Economic Affairs</a:t>
            </a:r>
          </a:p>
          <a:p>
            <a:pPr algn="ctr" fontAlgn="base">
              <a:spcBef>
                <a:spcPct val="0"/>
              </a:spcBef>
              <a:spcAft>
                <a:spcPct val="0"/>
              </a:spcAft>
            </a:pPr>
            <a:r>
              <a:rPr lang="id-ID" sz="900" b="1" dirty="0" smtClean="0">
                <a:solidFill>
                  <a:srgbClr val="000000"/>
                </a:solidFill>
                <a:cs typeface="Arial" charset="0"/>
              </a:rPr>
              <a:t>The Republic of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884510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2411009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5071103"/>
              </p:ex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23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Kementerian Koordinator Bidang Perekonomian</a:t>
            </a:r>
          </a:p>
          <a:p>
            <a:pPr algn="ctr" fontAlgn="base">
              <a:spcBef>
                <a:spcPct val="0"/>
              </a:spcBef>
              <a:spcAft>
                <a:spcPct val="0"/>
              </a:spcAft>
            </a:pPr>
            <a:r>
              <a:rPr lang="id-ID" sz="800" b="1" dirty="0" smtClean="0">
                <a:solidFill>
                  <a:srgbClr val="000000"/>
                </a:solidFill>
                <a:cs typeface="Arial" charset="0"/>
              </a:rPr>
              <a:t>Republik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3497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342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Coordinating Ministry for Economic Affairs</a:t>
            </a:r>
          </a:p>
          <a:p>
            <a:pPr algn="ctr" fontAlgn="base">
              <a:spcBef>
                <a:spcPct val="0"/>
              </a:spcBef>
              <a:spcAft>
                <a:spcPct val="0"/>
              </a:spcAft>
            </a:pPr>
            <a:r>
              <a:rPr lang="id-ID" sz="800" b="1" dirty="0" smtClean="0">
                <a:solidFill>
                  <a:srgbClr val="000000"/>
                </a:solidFill>
                <a:cs typeface="Arial" charset="0"/>
              </a:rPr>
              <a:t>The Republic of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58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20409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3"/>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448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832578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444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Kementerian Koordinator Bidang Perekonomian</a:t>
            </a:r>
          </a:p>
          <a:p>
            <a:pPr algn="ctr" fontAlgn="base">
              <a:spcBef>
                <a:spcPct val="0"/>
              </a:spcBef>
              <a:spcAft>
                <a:spcPct val="0"/>
              </a:spcAft>
            </a:pPr>
            <a:r>
              <a:rPr lang="id-ID" sz="900" b="1" dirty="0" smtClean="0">
                <a:solidFill>
                  <a:srgbClr val="000000"/>
                </a:solidFill>
                <a:cs typeface="Arial" charset="0"/>
              </a:rPr>
              <a:t>Republik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311100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54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Coordinating Ministry for Economic Affairs</a:t>
            </a:r>
          </a:p>
          <a:p>
            <a:pPr algn="ctr" fontAlgn="base">
              <a:spcBef>
                <a:spcPct val="0"/>
              </a:spcBef>
              <a:spcAft>
                <a:spcPct val="0"/>
              </a:spcAft>
            </a:pPr>
            <a:r>
              <a:rPr lang="id-ID" sz="900" b="1" dirty="0" smtClean="0">
                <a:solidFill>
                  <a:srgbClr val="000000"/>
                </a:solidFill>
                <a:cs typeface="Arial" charset="0"/>
              </a:rPr>
              <a:t>The Republic of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8939289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567042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35254285"/>
              </p:ex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85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7618300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95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626690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991258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3"/>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427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77000549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205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a:solidFill>
                  <a:srgbClr val="000000"/>
                </a:solidFill>
                <a:cs typeface="Arial" charset="0"/>
              </a:rPr>
              <a:t>Kementerian Koordinator Bidang Perekonomian</a:t>
            </a:r>
          </a:p>
          <a:p>
            <a:pPr algn="ctr" fontAlgn="base">
              <a:spcBef>
                <a:spcPct val="0"/>
              </a:spcBef>
              <a:spcAft>
                <a:spcPct val="0"/>
              </a:spcAft>
            </a:pPr>
            <a:r>
              <a:rPr lang="id-ID" sz="900" b="1" dirty="0">
                <a:solidFill>
                  <a:srgbClr val="000000"/>
                </a:solidFill>
                <a:cs typeface="Arial" charset="0"/>
              </a:rPr>
              <a:t>Republik Indonesia</a:t>
            </a:r>
          </a:p>
          <a:p>
            <a:pPr algn="ctr" fontAlgn="base">
              <a:spcBef>
                <a:spcPct val="0"/>
              </a:spcBef>
              <a:spcAft>
                <a:spcPct val="0"/>
              </a:spcAft>
            </a:pPr>
            <a:r>
              <a:rPr lang="id-ID" sz="800" b="1" dirty="0">
                <a:solidFill>
                  <a:srgbClr val="0000CC"/>
                </a:solidFill>
                <a:cs typeface="Arial" charset="0"/>
              </a:rPr>
              <a:t>www.ekon.go.id  </a:t>
            </a:r>
          </a:p>
          <a:p>
            <a:pPr algn="ctr" fontAlgn="base">
              <a:spcBef>
                <a:spcPct val="0"/>
              </a:spcBef>
              <a:spcAft>
                <a:spcPct val="0"/>
              </a:spcAft>
            </a:pPr>
            <a:r>
              <a:rPr lang="id-ID" sz="800" b="1" dirty="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797013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2160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a:solidFill>
                  <a:srgbClr val="000000"/>
                </a:solidFill>
                <a:cs typeface="Arial" charset="0"/>
              </a:rPr>
              <a:t>Coordinating Ministry for Economic Affairs</a:t>
            </a:r>
          </a:p>
          <a:p>
            <a:pPr algn="ctr" fontAlgn="base">
              <a:spcBef>
                <a:spcPct val="0"/>
              </a:spcBef>
              <a:spcAft>
                <a:spcPct val="0"/>
              </a:spcAft>
            </a:pPr>
            <a:r>
              <a:rPr lang="id-ID" sz="900" b="1" dirty="0">
                <a:solidFill>
                  <a:srgbClr val="000000"/>
                </a:solidFill>
                <a:cs typeface="Arial" charset="0"/>
              </a:rPr>
              <a:t>The Republic of Indonesia</a:t>
            </a:r>
          </a:p>
          <a:p>
            <a:pPr algn="ctr" fontAlgn="base">
              <a:spcBef>
                <a:spcPct val="0"/>
              </a:spcBef>
              <a:spcAft>
                <a:spcPct val="0"/>
              </a:spcAft>
            </a:pPr>
            <a:r>
              <a:rPr lang="id-ID" sz="800" b="1" dirty="0">
                <a:solidFill>
                  <a:srgbClr val="0000CC"/>
                </a:solidFill>
                <a:cs typeface="Arial" charset="0"/>
              </a:rPr>
              <a:t>www.ekon.go.id  </a:t>
            </a:r>
          </a:p>
          <a:p>
            <a:pPr algn="ctr" fontAlgn="base">
              <a:spcBef>
                <a:spcPct val="0"/>
              </a:spcBef>
              <a:spcAft>
                <a:spcPct val="0"/>
              </a:spcAft>
            </a:pPr>
            <a:r>
              <a:rPr lang="id-ID" sz="800" b="1" dirty="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366036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18474221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609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6197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3"/>
          <p:cNvSpPr>
            <a:spLocks noGrp="1"/>
          </p:cNvSpPr>
          <p:nvPr>
            <p:ph type="dt" sz="half" idx="10"/>
          </p:nvPr>
        </p:nvSpPr>
        <p:spPr>
          <a:xfrm>
            <a:off x="609600" y="6356374"/>
            <a:ext cx="2844800" cy="365125"/>
          </a:xfrm>
          <a:prstGeom prst="rect">
            <a:avLst/>
          </a:prstGeom>
        </p:spPr>
        <p:txBody>
          <a:bodyPr lIns="91438" tIns="45719" rIns="91438" bIns="45719"/>
          <a:lstStyle>
            <a:lvl1pPr>
              <a:defRPr/>
            </a:lvl1pPr>
          </a:lstStyle>
          <a:p>
            <a:endParaRPr lang="id-ID">
              <a:solidFill>
                <a:srgbClr val="000000"/>
              </a:solidFill>
            </a:endParaRPr>
          </a:p>
        </p:txBody>
      </p:sp>
      <p:sp>
        <p:nvSpPr>
          <p:cNvPr id="6" name="Footer Placeholder 4"/>
          <p:cNvSpPr>
            <a:spLocks noGrp="1"/>
          </p:cNvSpPr>
          <p:nvPr>
            <p:ph type="ftr" sz="quarter" idx="11"/>
          </p:nvPr>
        </p:nvSpPr>
        <p:spPr>
          <a:xfrm>
            <a:off x="4165600" y="6356374"/>
            <a:ext cx="3860800" cy="365125"/>
          </a:xfrm>
          <a:prstGeom prst="rect">
            <a:avLst/>
          </a:prstGeom>
        </p:spPr>
        <p:txBody>
          <a:bodyPr lIns="91438" tIns="45719" rIns="91438" bIns="45719"/>
          <a:lstStyle>
            <a:lvl1pPr>
              <a:defRPr/>
            </a:lvl1pPr>
          </a:lstStyle>
          <a:p>
            <a:endParaRPr lang="id-ID">
              <a:solidFill>
                <a:srgbClr val="000000"/>
              </a:solidFill>
            </a:endParaRPr>
          </a:p>
        </p:txBody>
      </p:sp>
      <p:sp>
        <p:nvSpPr>
          <p:cNvPr id="7" name="Slide Number Placeholder 5"/>
          <p:cNvSpPr>
            <a:spLocks noGrp="1"/>
          </p:cNvSpPr>
          <p:nvPr>
            <p:ph type="sldNum" sz="quarter" idx="12"/>
          </p:nvPr>
        </p:nvSpPr>
        <p:spPr>
          <a:xfrm>
            <a:off x="8737600" y="6356374"/>
            <a:ext cx="2844800" cy="365125"/>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265694633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65864978"/>
              </p:ext>
            </p:ext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36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8"/>
            <a:ext cx="8974091" cy="836827"/>
          </a:xfrm>
          <a:ln/>
        </p:spPr>
        <p:txBody>
          <a:bodyPr anchor="ctr" anchorCtr="1"/>
          <a:lstStyle>
            <a:lvl1pPr algn="ctr">
              <a:lnSpc>
                <a:spcPct val="100000"/>
              </a:lnSpc>
              <a:spcBef>
                <a:spcPts val="338"/>
              </a:spcBef>
              <a:spcAft>
                <a:spcPts val="0"/>
              </a:spcAft>
              <a:buClrTx/>
              <a:buNone/>
              <a:defRPr sz="1238"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8879"/>
            <a:ext cx="11254152" cy="568169"/>
          </a:xfrm>
        </p:spPr>
        <p:txBody>
          <a:bodyPr anchor="ctr">
            <a:spAutoFit/>
          </a:bodyPr>
          <a:lstStyle>
            <a:lvl1pPr algn="ctr">
              <a:defRPr lang="en-US" sz="3692"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28"/>
            <a:ext cx="5398197" cy="288174"/>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787" b="1" u="sng" dirty="0" smtClean="0">
                <a:solidFill>
                  <a:srgbClr val="000000"/>
                </a:solidFill>
                <a:cs typeface="Arial" charset="0"/>
              </a:rPr>
              <a:t>Kementerian Koordinator Bidang Perekonomian</a:t>
            </a:r>
          </a:p>
          <a:p>
            <a:pPr algn="ctr" defTabSz="914400" fontAlgn="base">
              <a:spcBef>
                <a:spcPct val="0"/>
              </a:spcBef>
              <a:spcAft>
                <a:spcPct val="0"/>
              </a:spcAft>
            </a:pPr>
            <a:r>
              <a:rPr lang="id-ID" sz="787" b="1" dirty="0" smtClean="0">
                <a:solidFill>
                  <a:srgbClr val="000000"/>
                </a:solidFill>
                <a:cs typeface="Arial" charset="0"/>
              </a:rPr>
              <a:t>Republik Indonesia</a:t>
            </a:r>
            <a:endParaRPr lang="id-ID" sz="787" b="1" dirty="0">
              <a:solidFill>
                <a:srgbClr val="000000"/>
              </a:solidFill>
              <a:cs typeface="Arial" charset="0"/>
            </a:endParaRPr>
          </a:p>
        </p:txBody>
      </p:sp>
      <p:sp>
        <p:nvSpPr>
          <p:cNvPr id="8" name="Rounded Rectangle 7"/>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4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46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8"/>
            <a:ext cx="8974091" cy="836827"/>
          </a:xfrm>
          <a:ln/>
        </p:spPr>
        <p:txBody>
          <a:bodyPr anchor="ctr" anchorCtr="1"/>
          <a:lstStyle>
            <a:lvl1pPr algn="ctr">
              <a:lnSpc>
                <a:spcPct val="100000"/>
              </a:lnSpc>
              <a:spcBef>
                <a:spcPts val="338"/>
              </a:spcBef>
              <a:spcAft>
                <a:spcPts val="0"/>
              </a:spcAft>
              <a:buClrTx/>
              <a:buNone/>
              <a:defRPr sz="1238"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8879"/>
            <a:ext cx="11254152" cy="568169"/>
          </a:xfrm>
        </p:spPr>
        <p:txBody>
          <a:bodyPr anchor="ctr">
            <a:spAutoFit/>
          </a:bodyPr>
          <a:lstStyle>
            <a:lvl1pPr algn="ctr">
              <a:defRPr lang="en-US" sz="3692"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28"/>
            <a:ext cx="5398197" cy="288174"/>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787" b="1" u="sng" dirty="0" smtClean="0">
                <a:solidFill>
                  <a:srgbClr val="000000"/>
                </a:solidFill>
                <a:cs typeface="Arial" charset="0"/>
              </a:rPr>
              <a:t>Coordinating Ministry for Economic Affairs</a:t>
            </a:r>
          </a:p>
          <a:p>
            <a:pPr algn="ctr" defTabSz="914400" fontAlgn="base">
              <a:spcBef>
                <a:spcPct val="0"/>
              </a:spcBef>
              <a:spcAft>
                <a:spcPct val="0"/>
              </a:spcAft>
            </a:pPr>
            <a:r>
              <a:rPr lang="id-ID" sz="787" b="1" dirty="0" smtClean="0">
                <a:solidFill>
                  <a:srgbClr val="000000"/>
                </a:solidFill>
                <a:cs typeface="Arial" charset="0"/>
              </a:rPr>
              <a:t>The Republic of Indonesia</a:t>
            </a:r>
            <a:endParaRPr lang="id-ID" sz="787" b="1" dirty="0">
              <a:solidFill>
                <a:srgbClr val="000000"/>
              </a:solidFill>
              <a:cs typeface="Arial" charset="0"/>
            </a:endParaRPr>
          </a:p>
        </p:txBody>
      </p:sp>
      <p:sp>
        <p:nvSpPr>
          <p:cNvPr id="8" name="Rounded Rectangle 7"/>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274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488220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2"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2"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1"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1"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1"/>
            <a:ext cx="10972800" cy="661649"/>
          </a:xfrm>
          <a:prstGeom prst="rect">
            <a:avLst/>
          </a:prstGeom>
        </p:spPr>
        <p:txBody>
          <a:bodyPr tIns="0" bIns="0" anchor="ctr" anchorCtr="0"/>
          <a:lstStyle>
            <a:lvl1pPr marL="0" indent="0" algn="ctr">
              <a:buNone/>
              <a:defRPr sz="2800" b="1">
                <a:solidFill>
                  <a:srgbClr val="0070C0"/>
                </a:solidFill>
              </a:defRPr>
            </a:lvl1pPr>
            <a:lvl2pPr marL="269267" indent="0">
              <a:buNone/>
              <a:defRPr sz="1069"/>
            </a:lvl2pPr>
            <a:lvl3pPr marL="538535" indent="0">
              <a:buNone/>
              <a:defRPr sz="956"/>
            </a:lvl3pPr>
            <a:lvl4pPr marL="807801" indent="0">
              <a:buNone/>
              <a:defRPr sz="844"/>
            </a:lvl4pPr>
            <a:lvl5pPr marL="1077068" indent="0">
              <a:buNone/>
              <a:defRPr sz="844"/>
            </a:lvl5pPr>
            <a:lvl6pPr marL="1346336" indent="0">
              <a:buNone/>
              <a:defRPr sz="844"/>
            </a:lvl6pPr>
            <a:lvl7pPr marL="1615602" indent="0">
              <a:buNone/>
              <a:defRPr sz="844"/>
            </a:lvl7pPr>
            <a:lvl8pPr marL="1884870" indent="0">
              <a:buNone/>
              <a:defRPr sz="844"/>
            </a:lvl8pPr>
            <a:lvl9pPr marL="2154136" indent="0">
              <a:buNone/>
              <a:defRPr sz="844"/>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036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0"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0" y="184332"/>
            <a:ext cx="11141612" cy="523875"/>
          </a:xfrm>
        </p:spPr>
        <p:txBody>
          <a:bodyPr/>
          <a:lstStyle>
            <a:lvl1pPr>
              <a:defRPr lang="en-US" sz="2123" b="1" kern="1200" dirty="0">
                <a:solidFill>
                  <a:srgbClr val="1F497D"/>
                </a:solidFill>
                <a:latin typeface="Arial" charset="0"/>
                <a:ea typeface="+mn-ea"/>
                <a:cs typeface="Calibri" pitchFamily="34" charset="0"/>
              </a:defRPr>
            </a:lvl1pPr>
          </a:lstStyle>
          <a:p>
            <a:pPr marR="0" lvl="0" algn="l" defTabSz="854341"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98602584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57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1" y="3469917"/>
            <a:ext cx="6125215" cy="565173"/>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900" b="1" dirty="0" smtClean="0">
                <a:solidFill>
                  <a:srgbClr val="000000"/>
                </a:solidFill>
                <a:cs typeface="Arial" charset="0"/>
              </a:rPr>
              <a:t>Kementerian Koordinator Bidang Perekonomian</a:t>
            </a:r>
          </a:p>
          <a:p>
            <a:pPr algn="ctr" defTabSz="914400" fontAlgn="base">
              <a:spcBef>
                <a:spcPct val="0"/>
              </a:spcBef>
              <a:spcAft>
                <a:spcPct val="0"/>
              </a:spcAft>
            </a:pPr>
            <a:r>
              <a:rPr lang="id-ID" sz="900" b="1" dirty="0" smtClean="0">
                <a:solidFill>
                  <a:srgbClr val="000000"/>
                </a:solidFill>
                <a:cs typeface="Arial" charset="0"/>
              </a:rPr>
              <a:t>Republik Indonesia</a:t>
            </a:r>
          </a:p>
          <a:p>
            <a:pPr algn="ctr" defTabSz="914400" fontAlgn="base">
              <a:spcBef>
                <a:spcPct val="0"/>
              </a:spcBef>
              <a:spcAft>
                <a:spcPct val="0"/>
              </a:spcAft>
            </a:pPr>
            <a:r>
              <a:rPr lang="id-ID" sz="787" b="1" dirty="0" smtClean="0">
                <a:solidFill>
                  <a:srgbClr val="0000CC"/>
                </a:solidFill>
                <a:cs typeface="Arial" charset="0"/>
              </a:rPr>
              <a:t>www.ekon.go.id  </a:t>
            </a:r>
          </a:p>
          <a:p>
            <a:pPr algn="ctr" defTabSz="914400" fontAlgn="base">
              <a:spcBef>
                <a:spcPct val="0"/>
              </a:spcBef>
              <a:spcAft>
                <a:spcPct val="0"/>
              </a:spcAft>
            </a:pPr>
            <a:r>
              <a:rPr lang="id-ID" sz="787"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4"/>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spTree>
    <p:extLst>
      <p:ext uri="{BB962C8B-B14F-4D97-AF65-F5344CB8AC3E}">
        <p14:creationId xmlns:p14="http://schemas.microsoft.com/office/powerpoint/2010/main" val="3122041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67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1" y="3469917"/>
            <a:ext cx="6125215" cy="565173"/>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900" b="1" dirty="0" smtClean="0">
                <a:solidFill>
                  <a:srgbClr val="000000"/>
                </a:solidFill>
                <a:cs typeface="Arial" charset="0"/>
              </a:rPr>
              <a:t>Coordinating Ministry for Economic Affairs</a:t>
            </a:r>
          </a:p>
          <a:p>
            <a:pPr algn="ctr" defTabSz="914400" fontAlgn="base">
              <a:spcBef>
                <a:spcPct val="0"/>
              </a:spcBef>
              <a:spcAft>
                <a:spcPct val="0"/>
              </a:spcAft>
            </a:pPr>
            <a:r>
              <a:rPr lang="id-ID" sz="900" b="1" dirty="0" smtClean="0">
                <a:solidFill>
                  <a:srgbClr val="000000"/>
                </a:solidFill>
                <a:cs typeface="Arial" charset="0"/>
              </a:rPr>
              <a:t>The Republic of Indonesia</a:t>
            </a:r>
          </a:p>
          <a:p>
            <a:pPr algn="ctr" defTabSz="914400" fontAlgn="base">
              <a:spcBef>
                <a:spcPct val="0"/>
              </a:spcBef>
              <a:spcAft>
                <a:spcPct val="0"/>
              </a:spcAft>
            </a:pPr>
            <a:r>
              <a:rPr lang="id-ID" sz="787" b="1" dirty="0" smtClean="0">
                <a:solidFill>
                  <a:srgbClr val="0000CC"/>
                </a:solidFill>
                <a:cs typeface="Arial" charset="0"/>
              </a:rPr>
              <a:t>www.ekon.go.id  </a:t>
            </a:r>
          </a:p>
          <a:p>
            <a:pPr algn="ctr" defTabSz="914400" fontAlgn="base">
              <a:spcBef>
                <a:spcPct val="0"/>
              </a:spcBef>
              <a:spcAft>
                <a:spcPct val="0"/>
              </a:spcAft>
            </a:pPr>
            <a:r>
              <a:rPr lang="id-ID" sz="787"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4"/>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spTree>
    <p:extLst>
      <p:ext uri="{BB962C8B-B14F-4D97-AF65-F5344CB8AC3E}">
        <p14:creationId xmlns:p14="http://schemas.microsoft.com/office/powerpoint/2010/main" val="2838236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63" indent="-217488">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a:lstStyle>
            <a:lvl1pPr>
              <a:defRPr/>
            </a:lvl1pPr>
          </a:lstStyle>
          <a:p>
            <a:pPr defTabSz="914400"/>
            <a:endParaRPr lang="id-ID" sz="1800">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a:lstStyle>
            <a:lvl1pPr>
              <a:defRPr/>
            </a:lvl1pPr>
          </a:lstStyle>
          <a:p>
            <a:pPr defTabSz="914400"/>
            <a:endParaRPr lang="id-ID" sz="1800">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a:lstStyle>
            <a:lvl1pPr>
              <a:defRPr/>
            </a:lvl1pPr>
          </a:lstStyle>
          <a:p>
            <a:pPr defTabSz="914400"/>
            <a:fld id="{5AB17EE9-A231-45BC-AB8A-31DFE21FB42E}" type="slidenum">
              <a:rPr lang="id-ID" sz="1800" smtClean="0">
                <a:solidFill>
                  <a:srgbClr val="000000"/>
                </a:solidFill>
              </a:rPr>
              <a:pPr defTabSz="914400"/>
              <a:t>‹#›</a:t>
            </a:fld>
            <a:endParaRPr lang="id-ID" sz="1800">
              <a:solidFill>
                <a:srgbClr val="000000"/>
              </a:solidFill>
            </a:endParaRPr>
          </a:p>
        </p:txBody>
      </p:sp>
    </p:spTree>
    <p:extLst>
      <p:ext uri="{BB962C8B-B14F-4D97-AF65-F5344CB8AC3E}">
        <p14:creationId xmlns:p14="http://schemas.microsoft.com/office/powerpoint/2010/main" val="14016958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69"/>
            <a:ext cx="2844800" cy="365125"/>
          </a:xfrm>
          <a:prstGeom prst="rect">
            <a:avLst/>
          </a:prstGeom>
        </p:spPr>
        <p:txBody>
          <a:bodyPr/>
          <a:lstStyle/>
          <a:p>
            <a:pPr defTabSz="914400"/>
            <a:endParaRPr lang="en-US" sz="1800">
              <a:solidFill>
                <a:prstClr val="black">
                  <a:tint val="75000"/>
                </a:prstClr>
              </a:solidFill>
            </a:endParaRPr>
          </a:p>
        </p:txBody>
      </p:sp>
      <p:sp>
        <p:nvSpPr>
          <p:cNvPr id="4" name="Footer Placeholder 3"/>
          <p:cNvSpPr>
            <a:spLocks noGrp="1"/>
          </p:cNvSpPr>
          <p:nvPr>
            <p:ph type="ftr" sz="quarter" idx="11"/>
          </p:nvPr>
        </p:nvSpPr>
        <p:spPr>
          <a:xfrm>
            <a:off x="4165600" y="6356369"/>
            <a:ext cx="3860800" cy="365125"/>
          </a:xfrm>
          <a:prstGeom prst="rect">
            <a:avLst/>
          </a:prstGeom>
        </p:spPr>
        <p:txBody>
          <a:bodyPr/>
          <a:lstStyle/>
          <a:p>
            <a:pPr defTabSz="914400"/>
            <a:endParaRPr lang="en-US" sz="1800">
              <a:solidFill>
                <a:prstClr val="black">
                  <a:tint val="75000"/>
                </a:prstClr>
              </a:solidFill>
            </a:endParaRPr>
          </a:p>
        </p:txBody>
      </p:sp>
      <p:sp>
        <p:nvSpPr>
          <p:cNvPr id="5" name="Slide Number Placeholder 4"/>
          <p:cNvSpPr>
            <a:spLocks noGrp="1"/>
          </p:cNvSpPr>
          <p:nvPr>
            <p:ph type="sldNum" sz="quarter" idx="12"/>
          </p:nvPr>
        </p:nvSpPr>
        <p:spPr>
          <a:xfrm>
            <a:off x="8737600" y="6356369"/>
            <a:ext cx="2844800" cy="365125"/>
          </a:xfrm>
          <a:prstGeom prst="rect">
            <a:avLst/>
          </a:prstGeom>
        </p:spPr>
        <p:txBody>
          <a:bodyPr/>
          <a:lstStyle>
            <a:lvl1pPr algn="r">
              <a:defRPr b="1">
                <a:solidFill>
                  <a:schemeClr val="tx1"/>
                </a:solidFill>
                <a:latin typeface="Agency FB" panose="020B0503020202020204" pitchFamily="34" charset="0"/>
              </a:defRPr>
            </a:lvl1pPr>
          </a:lstStyle>
          <a:p>
            <a:pPr defTabSz="914400"/>
            <a:fld id="{7CB42EAB-3FA4-4EFC-A3C8-8252F0DDD93B}" type="slidenum">
              <a:rPr lang="en-US" sz="1800" smtClean="0">
                <a:solidFill>
                  <a:srgbClr val="000000"/>
                </a:solidFill>
              </a:rPr>
              <a:pPr defTabSz="914400"/>
              <a:t>‹#›</a:t>
            </a:fld>
            <a:endParaRPr lang="en-US" sz="1800" dirty="0">
              <a:solidFill>
                <a:srgbClr val="000000"/>
              </a:solidFill>
            </a:endParaRPr>
          </a:p>
        </p:txBody>
      </p:sp>
    </p:spTree>
    <p:extLst>
      <p:ext uri="{BB962C8B-B14F-4D97-AF65-F5344CB8AC3E}">
        <p14:creationId xmlns:p14="http://schemas.microsoft.com/office/powerpoint/2010/main" val="2731137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885354" y="6250003"/>
            <a:ext cx="5048738" cy="365125"/>
          </a:xfrm>
          <a:prstGeom prst="rect">
            <a:avLst/>
          </a:prstGeom>
        </p:spPr>
        <p:txBody>
          <a:bodyPr/>
          <a:lstStyle/>
          <a:p>
            <a:pPr defTabSz="914400"/>
            <a:endParaRPr lang="en-US" sz="1800">
              <a:solidFill>
                <a:prstClr val="black">
                  <a:tint val="75000"/>
                </a:prstClr>
              </a:solidFill>
            </a:endParaRPr>
          </a:p>
        </p:txBody>
      </p:sp>
      <p:sp>
        <p:nvSpPr>
          <p:cNvPr id="3" name="Footer Placeholder 2"/>
          <p:cNvSpPr>
            <a:spLocks noGrp="1"/>
          </p:cNvSpPr>
          <p:nvPr>
            <p:ph type="ftr" sz="quarter" idx="11"/>
          </p:nvPr>
        </p:nvSpPr>
        <p:spPr>
          <a:xfrm>
            <a:off x="257908" y="6250003"/>
            <a:ext cx="5048738" cy="365125"/>
          </a:xfrm>
          <a:prstGeom prst="rect">
            <a:avLst/>
          </a:prstGeom>
        </p:spPr>
        <p:txBody>
          <a:bodyPr/>
          <a:lstStyle/>
          <a:p>
            <a:pPr defTabSz="914400"/>
            <a:endParaRPr lang="en-US" sz="1800">
              <a:solidFill>
                <a:prstClr val="black">
                  <a:tint val="75000"/>
                </a:prstClr>
              </a:solidFill>
            </a:endParaRPr>
          </a:p>
        </p:txBody>
      </p:sp>
      <p:sp>
        <p:nvSpPr>
          <p:cNvPr id="4" name="Slide Number Placeholder 3"/>
          <p:cNvSpPr>
            <a:spLocks noGrp="1"/>
          </p:cNvSpPr>
          <p:nvPr>
            <p:ph type="sldNum" sz="quarter" idx="12"/>
          </p:nvPr>
        </p:nvSpPr>
        <p:spPr>
          <a:xfrm>
            <a:off x="5320330" y="6250003"/>
            <a:ext cx="1551354" cy="365125"/>
          </a:xfrm>
          <a:prstGeom prst="rect">
            <a:avLst/>
          </a:prstGeom>
        </p:spPr>
        <p:txBody>
          <a:bodyPr/>
          <a:lstStyle/>
          <a:p>
            <a:pPr defTabSz="914400"/>
            <a:fld id="{6FFBE7BE-B5E3-4598-9B8D-879139B52FAD}" type="slidenum">
              <a:rPr lang="en-US" sz="1800" smtClean="0">
                <a:solidFill>
                  <a:prstClr val="black">
                    <a:tint val="75000"/>
                  </a:prstClr>
                </a:solidFill>
              </a:rPr>
              <a:pPr defTabSz="914400"/>
              <a:t>‹#›</a:t>
            </a:fld>
            <a:endParaRPr lang="en-US" sz="1800">
              <a:solidFill>
                <a:prstClr val="black">
                  <a:tint val="75000"/>
                </a:prstClr>
              </a:solidFill>
            </a:endParaRPr>
          </a:p>
        </p:txBody>
      </p:sp>
    </p:spTree>
    <p:extLst>
      <p:ext uri="{BB962C8B-B14F-4D97-AF65-F5344CB8AC3E}">
        <p14:creationId xmlns:p14="http://schemas.microsoft.com/office/powerpoint/2010/main" val="1295117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3"/>
            <a:ext cx="4011084"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5"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4"/>
            <a:ext cx="73152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342"/>
            <a:ext cx="7315200" cy="8048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oleObject" Target="../embeddings/oleObject6.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6.xml"/><Relationship Id="rId5" Type="http://schemas.openxmlformats.org/officeDocument/2006/relationships/slideLayout" Target="../slideLayouts/slideLayout26.xml"/><Relationship Id="rId10" Type="http://schemas.openxmlformats.org/officeDocument/2006/relationships/vmlDrawing" Target="../drawings/vmlDrawing6.vml"/><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11.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11.xml"/><Relationship Id="rId5" Type="http://schemas.openxmlformats.org/officeDocument/2006/relationships/slideLayout" Target="../slideLayouts/slideLayout34.xml"/><Relationship Id="rId10" Type="http://schemas.openxmlformats.org/officeDocument/2006/relationships/vmlDrawing" Target="../drawings/vmlDrawing11.vml"/><Relationship Id="rId4" Type="http://schemas.openxmlformats.org/officeDocument/2006/relationships/slideLayout" Target="../slideLayouts/slideLayout3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oleObject" Target="../embeddings/oleObject16.bin"/><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ags" Target="../tags/tag16.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vmlDrawing" Target="../drawings/vmlDrawing16.vml"/><Relationship Id="rId5" Type="http://schemas.openxmlformats.org/officeDocument/2006/relationships/slideLayout" Target="../slideLayouts/slideLayout42.xml"/><Relationship Id="rId10" Type="http://schemas.openxmlformats.org/officeDocument/2006/relationships/theme" Target="../theme/theme5.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21.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21.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6.xml"/><Relationship Id="rId5" Type="http://schemas.openxmlformats.org/officeDocument/2006/relationships/slideLayout" Target="../slideLayouts/slideLayout51.xml"/><Relationship Id="rId15" Type="http://schemas.openxmlformats.org/officeDocument/2006/relationships/image" Target="../media/image1.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5"/>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6"/>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6"/>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6"/>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fld id="{7D08530B-D843-4B68-A89E-667FFE5D1D6F}"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extLst/>
          </p:nvPr>
        </p:nvGraphicFramePr>
        <p:xfrm>
          <a:off x="1995" y="1611"/>
          <a:ext cx="1953" cy="1587"/>
        </p:xfrm>
        <a:graphic>
          <a:graphicData uri="http://schemas.openxmlformats.org/presentationml/2006/ole">
            <mc:AlternateContent xmlns:mc="http://schemas.openxmlformats.org/markup-compatibility/2006">
              <mc:Choice xmlns:v="urn:schemas-microsoft-com:vml" Requires="v">
                <p:oleObj spid="_x0000_s1164"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95"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7" tIns="41147" rIns="41147" bIns="41147"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110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85375" y="6461903"/>
            <a:ext cx="320601" cy="30995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a:solidFill>
                  <a:srgbClr val="FFFFFF"/>
                </a:solidFill>
                <a:latin typeface="Arial Narrow" pitchFamily="34" charset="0"/>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0589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539670791"/>
              </p:ext>
            </p:extLst>
          </p:nvPr>
        </p:nvGraphicFramePr>
        <p:xfrm>
          <a:off x="1992" y="1611"/>
          <a:ext cx="1953" cy="1587"/>
        </p:xfrm>
        <a:graphic>
          <a:graphicData uri="http://schemas.openxmlformats.org/presentationml/2006/ole">
            <mc:AlternateContent xmlns:mc="http://schemas.openxmlformats.org/markup-compatibility/2006">
              <mc:Choice xmlns:v="urn:schemas-microsoft-com:vml" Requires="v">
                <p:oleObj spid="_x0000_s6252"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92"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7" tIns="41147" rIns="41147" bIns="41147"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110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85375" y="6461899"/>
            <a:ext cx="320601" cy="30995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a:solidFill>
                  <a:srgbClr val="FFFFFF"/>
                </a:solidFill>
                <a:latin typeface="Arial Narrow" pitchFamily="34" charset="0"/>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859239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3666771996"/>
              </p:ext>
            </p:extLst>
          </p:nvPr>
        </p:nvGraphicFramePr>
        <p:xfrm>
          <a:off x="1992" y="1611"/>
          <a:ext cx="1953" cy="1587"/>
        </p:xfrm>
        <a:graphic>
          <a:graphicData uri="http://schemas.openxmlformats.org/presentationml/2006/ole">
            <mc:AlternateContent xmlns:mc="http://schemas.openxmlformats.org/markup-compatibility/2006">
              <mc:Choice xmlns:v="urn:schemas-microsoft-com:vml" Requires="v">
                <p:oleObj spid="_x0000_s11372"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92"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7" tIns="41147" rIns="41147" bIns="41147"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110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85375" y="6461899"/>
            <a:ext cx="320601" cy="30995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a:solidFill>
                  <a:srgbClr val="FFFFFF"/>
                </a:solidFill>
                <a:latin typeface="Arial Narrow" pitchFamily="34" charset="0"/>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793155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2"/>
            </p:custDataLst>
            <p:extLst>
              <p:ext uri="{D42A27DB-BD31-4B8C-83A1-F6EECF244321}">
                <p14:modId xmlns:p14="http://schemas.microsoft.com/office/powerpoint/2010/main" val="2370177047"/>
              </p:ext>
            </p:extLst>
          </p:nvPr>
        </p:nvGraphicFramePr>
        <p:xfrm>
          <a:off x="1992" y="1611"/>
          <a:ext cx="1953" cy="1587"/>
        </p:xfrm>
        <a:graphic>
          <a:graphicData uri="http://schemas.openxmlformats.org/presentationml/2006/ole">
            <mc:AlternateContent xmlns:mc="http://schemas.openxmlformats.org/markup-compatibility/2006">
              <mc:Choice xmlns:v="urn:schemas-microsoft-com:vml" Requires="v">
                <p:oleObj spid="_x0000_s17511"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92"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2107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extLst>
              <p:ext uri="{D42A27DB-BD31-4B8C-83A1-F6EECF244321}">
                <p14:modId xmlns:p14="http://schemas.microsoft.com/office/powerpoint/2010/main" val="2572787725"/>
              </p:ext>
            </p:extLst>
          </p:nvPr>
        </p:nvGraphicFramePr>
        <p:xfrm>
          <a:off x="1991" y="1610"/>
          <a:ext cx="1953" cy="1587"/>
        </p:xfrm>
        <a:graphic>
          <a:graphicData uri="http://schemas.openxmlformats.org/presentationml/2006/ole">
            <mc:AlternateContent xmlns:mc="http://schemas.openxmlformats.org/markup-compatibility/2006">
              <mc:Choice xmlns:v="urn:schemas-microsoft-com:vml" Requires="v">
                <p:oleObj spid="_x0000_s22630"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91" y="161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8" tIns="41148" rIns="41148" bIns="41148" numCol="1" rtlCol="0" anchor="ctr" anchorCtr="1" compatLnSpc="1">
            <a:prstTxWarp prst="textNoShape">
              <a:avLst/>
            </a:prstTxWarp>
          </a:bodyPr>
          <a:lstStyle/>
          <a:p>
            <a:pPr algn="ctr" defTabSz="914400" eaLnBrk="0" fontAlgn="base" hangingPunct="0">
              <a:lnSpc>
                <a:spcPct val="106000"/>
              </a:lnSpc>
              <a:spcBef>
                <a:spcPct val="0"/>
              </a:spcBef>
              <a:spcAft>
                <a:spcPct val="0"/>
              </a:spcAft>
            </a:pPr>
            <a:endParaRPr lang="en-US" sz="105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0"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0"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41"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91129" y="6478248"/>
            <a:ext cx="309093" cy="29360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sz="1800">
                <a:solidFill>
                  <a:srgbClr val="FFFFFF"/>
                </a:solidFill>
                <a:latin typeface="Arial Narrow" pitchFamily="34" charset="0"/>
                <a:cs typeface="Arial"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1640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2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81" algn="l" rtl="0" eaLnBrk="1" fontAlgn="base" hangingPunct="1">
        <a:lnSpc>
          <a:spcPct val="106000"/>
        </a:lnSpc>
        <a:spcBef>
          <a:spcPct val="0"/>
        </a:spcBef>
        <a:spcAft>
          <a:spcPct val="0"/>
        </a:spcAft>
        <a:defRPr sz="900" b="1">
          <a:solidFill>
            <a:schemeClr val="tx1"/>
          </a:solidFill>
          <a:latin typeface="Arial" charset="0"/>
        </a:defRPr>
      </a:lvl6pPr>
      <a:lvl7pPr marL="514363" algn="l" rtl="0" eaLnBrk="1" fontAlgn="base" hangingPunct="1">
        <a:lnSpc>
          <a:spcPct val="106000"/>
        </a:lnSpc>
        <a:spcBef>
          <a:spcPct val="0"/>
        </a:spcBef>
        <a:spcAft>
          <a:spcPct val="0"/>
        </a:spcAft>
        <a:defRPr sz="900" b="1">
          <a:solidFill>
            <a:schemeClr val="tx1"/>
          </a:solidFill>
          <a:latin typeface="Arial" charset="0"/>
        </a:defRPr>
      </a:lvl7pPr>
      <a:lvl8pPr marL="771545" algn="l" rtl="0" eaLnBrk="1" fontAlgn="base" hangingPunct="1">
        <a:lnSpc>
          <a:spcPct val="106000"/>
        </a:lnSpc>
        <a:spcBef>
          <a:spcPct val="0"/>
        </a:spcBef>
        <a:spcAft>
          <a:spcPct val="0"/>
        </a:spcAft>
        <a:defRPr sz="900" b="1">
          <a:solidFill>
            <a:schemeClr val="tx1"/>
          </a:solidFill>
          <a:latin typeface="Arial" charset="0"/>
        </a:defRPr>
      </a:lvl8pPr>
      <a:lvl9pPr marL="1028726"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6" indent="-192886"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4" indent="-191100" algn="l" rtl="0" eaLnBrk="1" fontAlgn="base" hangingPunct="1">
        <a:lnSpc>
          <a:spcPct val="106000"/>
        </a:lnSpc>
        <a:spcBef>
          <a:spcPct val="80000"/>
        </a:spcBef>
        <a:spcAft>
          <a:spcPct val="0"/>
        </a:spcAft>
        <a:buClr>
          <a:schemeClr val="tx1"/>
        </a:buClr>
        <a:buFont typeface="Wingdings" pitchFamily="2" charset="2"/>
        <a:buChar char="§"/>
        <a:tabLst>
          <a:tab pos="161632" algn="l"/>
        </a:tabLst>
        <a:defRPr sz="1700">
          <a:solidFill>
            <a:schemeClr val="tx1"/>
          </a:solidFill>
          <a:latin typeface="Arial" pitchFamily="34" charset="0"/>
          <a:cs typeface="Arial" pitchFamily="34" charset="0"/>
        </a:defRPr>
      </a:lvl2pPr>
      <a:lvl3pPr marL="449263" indent="-257175"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38" indent="-269875"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515" indent="-133057" algn="l" rtl="0" eaLnBrk="1" fontAlgn="base" hangingPunct="1">
        <a:spcBef>
          <a:spcPct val="20000"/>
        </a:spcBef>
        <a:spcAft>
          <a:spcPct val="0"/>
        </a:spcAft>
        <a:buClr>
          <a:schemeClr val="tx1"/>
        </a:buClr>
        <a:buChar char="–"/>
        <a:defRPr sz="675">
          <a:solidFill>
            <a:schemeClr val="tx1"/>
          </a:solidFill>
          <a:latin typeface="+mn-lt"/>
          <a:cs typeface="Arial" charset="0"/>
        </a:defRPr>
      </a:lvl5pPr>
      <a:lvl6pPr marL="1070697" indent="-133057" algn="l" rtl="0" eaLnBrk="1" fontAlgn="base" hangingPunct="1">
        <a:spcBef>
          <a:spcPct val="20000"/>
        </a:spcBef>
        <a:spcAft>
          <a:spcPct val="0"/>
        </a:spcAft>
        <a:buClr>
          <a:schemeClr val="tx1"/>
        </a:buClr>
        <a:buChar char="–"/>
        <a:defRPr sz="675">
          <a:solidFill>
            <a:schemeClr val="tx1"/>
          </a:solidFill>
          <a:latin typeface="+mn-lt"/>
        </a:defRPr>
      </a:lvl6pPr>
      <a:lvl7pPr marL="1327878" indent="-133057" algn="l" rtl="0" eaLnBrk="1" fontAlgn="base" hangingPunct="1">
        <a:spcBef>
          <a:spcPct val="20000"/>
        </a:spcBef>
        <a:spcAft>
          <a:spcPct val="0"/>
        </a:spcAft>
        <a:buClr>
          <a:schemeClr val="tx1"/>
        </a:buClr>
        <a:buChar char="–"/>
        <a:defRPr sz="675">
          <a:solidFill>
            <a:schemeClr val="tx1"/>
          </a:solidFill>
          <a:latin typeface="+mn-lt"/>
        </a:defRPr>
      </a:lvl7pPr>
      <a:lvl8pPr marL="1585060" indent="-133057" algn="l" rtl="0" eaLnBrk="1" fontAlgn="base" hangingPunct="1">
        <a:spcBef>
          <a:spcPct val="20000"/>
        </a:spcBef>
        <a:spcAft>
          <a:spcPct val="0"/>
        </a:spcAft>
        <a:buClr>
          <a:schemeClr val="tx1"/>
        </a:buClr>
        <a:buChar char="–"/>
        <a:defRPr sz="675">
          <a:solidFill>
            <a:schemeClr val="tx1"/>
          </a:solidFill>
          <a:latin typeface="+mn-lt"/>
        </a:defRPr>
      </a:lvl8pPr>
      <a:lvl9pPr marL="1842241" indent="-133057" algn="l" rtl="0" eaLnBrk="1" fontAlgn="base" hangingPunct="1">
        <a:spcBef>
          <a:spcPct val="20000"/>
        </a:spcBef>
        <a:spcAft>
          <a:spcPct val="0"/>
        </a:spcAft>
        <a:buClr>
          <a:schemeClr val="tx1"/>
        </a:buClr>
        <a:buChar char="–"/>
        <a:defRPr sz="675">
          <a:solidFill>
            <a:schemeClr val="tx1"/>
          </a:solidFill>
          <a:latin typeface="+mn-lt"/>
        </a:defRPr>
      </a:lvl9pPr>
    </p:bodyStyle>
    <p:otherStyle>
      <a:defPPr>
        <a:defRPr lang="en-US"/>
      </a:defPPr>
      <a:lvl1pPr marL="0" algn="l" defTabSz="514363" rtl="0" eaLnBrk="1" latinLnBrk="0" hangingPunct="1">
        <a:defRPr sz="1013" kern="1200">
          <a:solidFill>
            <a:schemeClr val="tx1"/>
          </a:solidFill>
          <a:latin typeface="+mn-lt"/>
          <a:ea typeface="+mn-ea"/>
          <a:cs typeface="+mn-cs"/>
        </a:defRPr>
      </a:lvl1pPr>
      <a:lvl2pPr marL="257181" algn="l" defTabSz="514363" rtl="0" eaLnBrk="1" latinLnBrk="0" hangingPunct="1">
        <a:defRPr sz="1013" kern="1200">
          <a:solidFill>
            <a:schemeClr val="tx1"/>
          </a:solidFill>
          <a:latin typeface="+mn-lt"/>
          <a:ea typeface="+mn-ea"/>
          <a:cs typeface="+mn-cs"/>
        </a:defRPr>
      </a:lvl2pPr>
      <a:lvl3pPr marL="514363" algn="l" defTabSz="514363" rtl="0" eaLnBrk="1" latinLnBrk="0" hangingPunct="1">
        <a:defRPr sz="1013" kern="1200">
          <a:solidFill>
            <a:schemeClr val="tx1"/>
          </a:solidFill>
          <a:latin typeface="+mn-lt"/>
          <a:ea typeface="+mn-ea"/>
          <a:cs typeface="+mn-cs"/>
        </a:defRPr>
      </a:lvl3pPr>
      <a:lvl4pPr marL="771545" algn="l" defTabSz="514363" rtl="0" eaLnBrk="1" latinLnBrk="0" hangingPunct="1">
        <a:defRPr sz="1013" kern="1200">
          <a:solidFill>
            <a:schemeClr val="tx1"/>
          </a:solidFill>
          <a:latin typeface="+mn-lt"/>
          <a:ea typeface="+mn-ea"/>
          <a:cs typeface="+mn-cs"/>
        </a:defRPr>
      </a:lvl4pPr>
      <a:lvl5pPr marL="1028726" algn="l" defTabSz="514363" rtl="0" eaLnBrk="1" latinLnBrk="0" hangingPunct="1">
        <a:defRPr sz="1013" kern="1200">
          <a:solidFill>
            <a:schemeClr val="tx1"/>
          </a:solidFill>
          <a:latin typeface="+mn-lt"/>
          <a:ea typeface="+mn-ea"/>
          <a:cs typeface="+mn-cs"/>
        </a:defRPr>
      </a:lvl5pPr>
      <a:lvl6pPr marL="1285907" algn="l" defTabSz="514363" rtl="0" eaLnBrk="1" latinLnBrk="0" hangingPunct="1">
        <a:defRPr sz="1013" kern="1200">
          <a:solidFill>
            <a:schemeClr val="tx1"/>
          </a:solidFill>
          <a:latin typeface="+mn-lt"/>
          <a:ea typeface="+mn-ea"/>
          <a:cs typeface="+mn-cs"/>
        </a:defRPr>
      </a:lvl6pPr>
      <a:lvl7pPr marL="1543089" algn="l" defTabSz="514363" rtl="0" eaLnBrk="1" latinLnBrk="0" hangingPunct="1">
        <a:defRPr sz="1013" kern="1200">
          <a:solidFill>
            <a:schemeClr val="tx1"/>
          </a:solidFill>
          <a:latin typeface="+mn-lt"/>
          <a:ea typeface="+mn-ea"/>
          <a:cs typeface="+mn-cs"/>
        </a:defRPr>
      </a:lvl7pPr>
      <a:lvl8pPr marL="1800270" algn="l" defTabSz="514363" rtl="0" eaLnBrk="1" latinLnBrk="0" hangingPunct="1">
        <a:defRPr sz="1013" kern="1200">
          <a:solidFill>
            <a:schemeClr val="tx1"/>
          </a:solidFill>
          <a:latin typeface="+mn-lt"/>
          <a:ea typeface="+mn-ea"/>
          <a:cs typeface="+mn-cs"/>
        </a:defRPr>
      </a:lvl8pPr>
      <a:lvl9pPr marL="2057451" algn="l" defTabSz="514363"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7.png"/><Relationship Id="rId7" Type="http://schemas.openxmlformats.org/officeDocument/2006/relationships/diagramQuickStyle" Target="../diagrams/quickStyle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2.wdp"/><Relationship Id="rId9" Type="http://schemas.microsoft.com/office/2007/relationships/diagramDrawing" Target="../diagrams/drawing2.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microsoft.com/office/2007/relationships/hdphoto" Target="../media/hdphoto3.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microsoft.com/office/2007/relationships/hdphoto" Target="../media/hdphoto4.wdp"/></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20.png"/></Relationships>
</file>

<file path=ppt/slides/_rels/slide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hargapangan.id/"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1"/>
          <p:cNvSpPr txBox="1">
            <a:spLocks/>
          </p:cNvSpPr>
          <p:nvPr/>
        </p:nvSpPr>
        <p:spPr>
          <a:xfrm>
            <a:off x="736055" y="1759594"/>
            <a:ext cx="10629899" cy="786020"/>
          </a:xfrm>
          <a:prstGeom prst="rect">
            <a:avLst/>
          </a:prstGeom>
        </p:spPr>
        <p:txBody>
          <a:bodyPr vert="horz" lIns="91438" tIns="45719" rIns="91438" bIns="45719"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id-ID" sz="1400" dirty="0">
              <a:ln>
                <a:solidFill>
                  <a:sysClr val="windowText" lastClr="000000"/>
                </a:solidFill>
              </a:ln>
              <a:solidFill>
                <a:sysClr val="windowText" lastClr="000000"/>
              </a:solidFill>
              <a:latin typeface="Adobe Gothic Std B"/>
            </a:endParaRPr>
          </a:p>
          <a:p>
            <a:r>
              <a:rPr lang="id-ID" sz="1400" dirty="0">
                <a:ln w="12700" cmpd="sng">
                  <a:solidFill>
                    <a:sysClr val="windowText" lastClr="000000"/>
                  </a:solidFill>
                  <a:prstDash val="solid"/>
                </a:ln>
                <a:solidFill>
                  <a:sysClr val="windowText" lastClr="000000"/>
                </a:solidFill>
                <a:latin typeface="Adobe Gothic Std B"/>
              </a:rPr>
              <a:t>SEKRETARIAT </a:t>
            </a:r>
            <a:r>
              <a:rPr lang="id-ID" sz="1400" dirty="0" smtClean="0">
                <a:ln w="12700" cmpd="sng">
                  <a:solidFill>
                    <a:sysClr val="windowText" lastClr="000000"/>
                  </a:solidFill>
                  <a:prstDash val="solid"/>
                </a:ln>
                <a:solidFill>
                  <a:sysClr val="windowText" lastClr="000000"/>
                </a:solidFill>
                <a:latin typeface="Adobe Gothic Std B"/>
              </a:rPr>
              <a:t>KELOMPOK KERJA NASIONAL TIM PENGENDALIAN INFLASI DAERAH </a:t>
            </a:r>
          </a:p>
          <a:p>
            <a:r>
              <a:rPr lang="id-ID" sz="1400" dirty="0" smtClean="0">
                <a:ln w="12700" cmpd="sng">
                  <a:solidFill>
                    <a:sysClr val="windowText" lastClr="000000"/>
                  </a:solidFill>
                  <a:prstDash val="solid"/>
                </a:ln>
                <a:solidFill>
                  <a:sysClr val="windowText" lastClr="000000"/>
                </a:solidFill>
                <a:latin typeface="Adobe Gothic Std B"/>
              </a:rPr>
              <a:t>(POKJANAS TPID)</a:t>
            </a:r>
            <a:endParaRPr lang="id-ID" sz="1400" dirty="0">
              <a:ln w="12700" cmpd="sng">
                <a:solidFill>
                  <a:sysClr val="windowText" lastClr="000000"/>
                </a:solidFill>
                <a:prstDash val="solid"/>
              </a:ln>
              <a:solidFill>
                <a:sysClr val="windowText" lastClr="000000"/>
              </a:solidFill>
              <a:latin typeface="Adobe Gothic Std B"/>
            </a:endParaRPr>
          </a:p>
        </p:txBody>
      </p:sp>
      <p:sp>
        <p:nvSpPr>
          <p:cNvPr id="9" name="Rounded Rectangle 8"/>
          <p:cNvSpPr/>
          <p:nvPr/>
        </p:nvSpPr>
        <p:spPr bwMode="auto">
          <a:xfrm>
            <a:off x="101600" y="130628"/>
            <a:ext cx="11959771" cy="6589485"/>
          </a:xfrm>
          <a:prstGeom prst="roundRect">
            <a:avLst>
              <a:gd name="adj" fmla="val 4224"/>
            </a:avLst>
          </a:prstGeom>
          <a:noFill/>
          <a:ln w="28575" cap="flat" cmpd="sng" algn="ctr">
            <a:solidFill>
              <a:schemeClr val="accent1">
                <a:lumMod val="75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4181" y="538316"/>
            <a:ext cx="819994" cy="882724"/>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3200" y="714889"/>
            <a:ext cx="2033000" cy="921872"/>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15349" y="654858"/>
            <a:ext cx="654460" cy="851670"/>
          </a:xfrm>
          <a:prstGeom prst="rect">
            <a:avLst/>
          </a:prstGeom>
        </p:spPr>
      </p:pic>
      <p:sp>
        <p:nvSpPr>
          <p:cNvPr id="11" name="TextBox 10"/>
          <p:cNvSpPr txBox="1"/>
          <p:nvPr/>
        </p:nvSpPr>
        <p:spPr>
          <a:xfrm>
            <a:off x="5337809" y="1421040"/>
            <a:ext cx="1672738" cy="338554"/>
          </a:xfrm>
          <a:prstGeom prst="rect">
            <a:avLst/>
          </a:prstGeom>
          <a:noFill/>
        </p:spPr>
        <p:txBody>
          <a:bodyPr wrap="square" rtlCol="0">
            <a:spAutoFit/>
          </a:bodyPr>
          <a:lstStyle/>
          <a:p>
            <a:pPr algn="ctr"/>
            <a:r>
              <a:rPr lang="en-US" sz="800" dirty="0" smtClean="0">
                <a:latin typeface="Arial Narrow" panose="020B0606020202030204" pitchFamily="34" charset="0"/>
              </a:rPr>
              <a:t>KEMENTERIAN KOORDINATOR</a:t>
            </a:r>
          </a:p>
          <a:p>
            <a:pPr algn="ctr"/>
            <a:r>
              <a:rPr lang="en-US" sz="800" dirty="0" smtClean="0">
                <a:latin typeface="Arial Narrow" panose="020B0606020202030204" pitchFamily="34" charset="0"/>
              </a:rPr>
              <a:t>BIDANG PEREKONOMIAN</a:t>
            </a:r>
            <a:endParaRPr lang="en-US" sz="800" dirty="0">
              <a:latin typeface="Arial Narrow" panose="020B0606020202030204" pitchFamily="34" charset="0"/>
            </a:endParaRPr>
          </a:p>
        </p:txBody>
      </p:sp>
      <p:sp>
        <p:nvSpPr>
          <p:cNvPr id="12" name="TextBox 11"/>
          <p:cNvSpPr txBox="1"/>
          <p:nvPr/>
        </p:nvSpPr>
        <p:spPr>
          <a:xfrm>
            <a:off x="7421880" y="1506528"/>
            <a:ext cx="1672738" cy="215444"/>
          </a:xfrm>
          <a:prstGeom prst="rect">
            <a:avLst/>
          </a:prstGeom>
          <a:noFill/>
        </p:spPr>
        <p:txBody>
          <a:bodyPr wrap="square" rtlCol="0">
            <a:spAutoFit/>
          </a:bodyPr>
          <a:lstStyle/>
          <a:p>
            <a:pPr algn="ctr"/>
            <a:r>
              <a:rPr lang="en-US" sz="800" dirty="0" smtClean="0">
                <a:latin typeface="Arial Narrow" panose="020B0606020202030204" pitchFamily="34" charset="0"/>
              </a:rPr>
              <a:t>KEMENTERIAN DALAM NEGERI</a:t>
            </a:r>
            <a:endParaRPr lang="en-US" sz="800" dirty="0">
              <a:latin typeface="Arial Narrow" panose="020B0606020202030204" pitchFamily="34" charset="0"/>
            </a:endParaRPr>
          </a:p>
        </p:txBody>
      </p:sp>
      <p:sp>
        <p:nvSpPr>
          <p:cNvPr id="13" name="Title 1"/>
          <p:cNvSpPr txBox="1">
            <a:spLocks/>
          </p:cNvSpPr>
          <p:nvPr/>
        </p:nvSpPr>
        <p:spPr>
          <a:xfrm>
            <a:off x="770344" y="4492570"/>
            <a:ext cx="10629899" cy="393010"/>
          </a:xfrm>
          <a:prstGeom prst="rect">
            <a:avLst/>
          </a:prstGeom>
        </p:spPr>
        <p:txBody>
          <a:bodyPr vert="horz" lIns="91438" tIns="45719" rIns="91438" bIns="45719"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pPr>
            <a:endParaRPr lang="id-ID" sz="2800" b="1" dirty="0">
              <a:ln>
                <a:solidFill>
                  <a:sysClr val="windowText" lastClr="000000"/>
                </a:solidFill>
              </a:ln>
              <a:solidFill>
                <a:schemeClr val="tx2">
                  <a:lumMod val="60000"/>
                  <a:lumOff val="40000"/>
                </a:schemeClr>
              </a:solidFill>
              <a:latin typeface="Adobe Gothic Std B"/>
            </a:endParaRPr>
          </a:p>
          <a:p>
            <a:pPr>
              <a:lnSpc>
                <a:spcPct val="100000"/>
              </a:lnSpc>
            </a:pPr>
            <a:r>
              <a:rPr lang="en-US" sz="2800" b="1" dirty="0" smtClean="0">
                <a:ln w="12700" cmpd="sng">
                  <a:solidFill>
                    <a:sysClr val="windowText" lastClr="000000"/>
                  </a:solidFill>
                  <a:prstDash val="solid"/>
                </a:ln>
                <a:solidFill>
                  <a:schemeClr val="tx2">
                    <a:lumMod val="60000"/>
                    <a:lumOff val="40000"/>
                  </a:schemeClr>
                </a:solidFill>
                <a:latin typeface="Adobe Gothic Std B"/>
              </a:rPr>
              <a:t>KEBIJAKAN PENGANGGARAN </a:t>
            </a:r>
          </a:p>
          <a:p>
            <a:pPr>
              <a:lnSpc>
                <a:spcPct val="100000"/>
              </a:lnSpc>
            </a:pPr>
            <a:r>
              <a:rPr lang="en-US" sz="2800" b="1" dirty="0" smtClean="0">
                <a:ln w="12700" cmpd="sng">
                  <a:solidFill>
                    <a:sysClr val="windowText" lastClr="000000"/>
                  </a:solidFill>
                  <a:prstDash val="solid"/>
                </a:ln>
                <a:solidFill>
                  <a:schemeClr val="tx2">
                    <a:lumMod val="60000"/>
                    <a:lumOff val="40000"/>
                  </a:schemeClr>
                </a:solidFill>
                <a:latin typeface="Adobe Gothic Std B"/>
              </a:rPr>
              <a:t>DALAM RANGKA PENGENDALIAN INFLASI DAERAH</a:t>
            </a:r>
            <a:endParaRPr lang="id-ID" sz="2800" b="1" dirty="0" smtClean="0">
              <a:ln w="12700" cmpd="sng">
                <a:solidFill>
                  <a:sysClr val="windowText" lastClr="000000"/>
                </a:solidFill>
                <a:prstDash val="solid"/>
              </a:ln>
              <a:solidFill>
                <a:schemeClr val="tx2">
                  <a:lumMod val="60000"/>
                  <a:lumOff val="40000"/>
                </a:schemeClr>
              </a:solidFill>
              <a:latin typeface="Adobe Gothic Std B"/>
            </a:endParaRPr>
          </a:p>
        </p:txBody>
      </p:sp>
      <p:sp>
        <p:nvSpPr>
          <p:cNvPr id="14" name="Title 1"/>
          <p:cNvSpPr txBox="1">
            <a:spLocks/>
          </p:cNvSpPr>
          <p:nvPr/>
        </p:nvSpPr>
        <p:spPr>
          <a:xfrm>
            <a:off x="766535" y="5931043"/>
            <a:ext cx="10629899" cy="393010"/>
          </a:xfrm>
          <a:prstGeom prst="rect">
            <a:avLst/>
          </a:prstGeom>
        </p:spPr>
        <p:txBody>
          <a:bodyPr vert="horz" lIns="91438" tIns="45719" rIns="91438" bIns="45719"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id-ID" sz="1400" dirty="0">
              <a:ln>
                <a:solidFill>
                  <a:sysClr val="windowText" lastClr="000000"/>
                </a:solidFill>
              </a:ln>
              <a:solidFill>
                <a:sysClr val="windowText" lastClr="000000"/>
              </a:solidFill>
              <a:latin typeface="Adobe Gothic Std B"/>
            </a:endParaRPr>
          </a:p>
          <a:p>
            <a:r>
              <a:rPr lang="en-US" sz="1400" dirty="0" smtClean="0">
                <a:ln w="12700" cmpd="sng">
                  <a:solidFill>
                    <a:sysClr val="windowText" lastClr="000000"/>
                  </a:solidFill>
                  <a:prstDash val="solid"/>
                </a:ln>
                <a:solidFill>
                  <a:sysClr val="windowText" lastClr="000000"/>
                </a:solidFill>
                <a:latin typeface="Adobe Gothic Std B"/>
              </a:rPr>
              <a:t>YOGYAKARTA, 24 MEI 2016</a:t>
            </a:r>
            <a:endParaRPr lang="id-ID" sz="1400" dirty="0" smtClean="0">
              <a:ln w="12700" cmpd="sng">
                <a:solidFill>
                  <a:sysClr val="windowText" lastClr="000000"/>
                </a:solidFill>
                <a:prstDash val="solid"/>
              </a:ln>
              <a:solidFill>
                <a:sysClr val="windowText" lastClr="000000"/>
              </a:solidFill>
              <a:latin typeface="Adobe Gothic Std B"/>
            </a:endParaRPr>
          </a:p>
          <a:p>
            <a:endParaRPr lang="id-ID" sz="1400" dirty="0">
              <a:ln w="12700" cmpd="sng">
                <a:solidFill>
                  <a:sysClr val="windowText" lastClr="000000"/>
                </a:solidFill>
                <a:prstDash val="solid"/>
              </a:ln>
              <a:solidFill>
                <a:sysClr val="windowText" lastClr="000000"/>
              </a:solidFill>
              <a:latin typeface="Adobe Gothic Std B"/>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250146"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0251" y="1371599"/>
            <a:ext cx="7206949" cy="5166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444" t="12069" r="8760" b="11853"/>
          <a:stretch/>
        </p:blipFill>
        <p:spPr bwMode="auto">
          <a:xfrm>
            <a:off x="6553200" y="922601"/>
            <a:ext cx="4988938" cy="3603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le 1"/>
          <p:cNvSpPr>
            <a:spLocks noGrp="1"/>
          </p:cNvSpPr>
          <p:nvPr>
            <p:ph type="title"/>
          </p:nvPr>
        </p:nvSpPr>
        <p:spPr>
          <a:xfrm>
            <a:off x="368913" y="528992"/>
            <a:ext cx="12764814" cy="563562"/>
          </a:xfrm>
        </p:spPr>
        <p:txBody>
          <a:bodyPr>
            <a:noAutofit/>
          </a:bodyPr>
          <a:lstStyle/>
          <a:p>
            <a:pPr algn="l"/>
            <a:r>
              <a:rPr lang="id-ID" sz="4800" b="1" dirty="0" smtClean="0">
                <a:solidFill>
                  <a:srgbClr val="002060"/>
                </a:solidFill>
                <a:latin typeface="DilleniaUPC" pitchFamily="18" charset="-34"/>
                <a:ea typeface="+mn-ea"/>
                <a:cs typeface="DilleniaUPC" pitchFamily="18" charset="-34"/>
              </a:rPr>
              <a:t>F</a:t>
            </a:r>
            <a:r>
              <a:rPr lang="en-US" sz="4800" b="1" dirty="0" smtClean="0">
                <a:solidFill>
                  <a:srgbClr val="002060"/>
                </a:solidFill>
                <a:latin typeface="DilleniaUPC" pitchFamily="18" charset="-34"/>
                <a:ea typeface="+mn-ea"/>
                <a:cs typeface="DilleniaUPC" pitchFamily="18" charset="-34"/>
              </a:rPr>
              <a:t>ITUR APLIKASI </a:t>
            </a:r>
            <a:r>
              <a:rPr lang="en-US" sz="4800" b="1" dirty="0">
                <a:solidFill>
                  <a:srgbClr val="002060"/>
                </a:solidFill>
                <a:latin typeface="DilleniaUPC" pitchFamily="18" charset="-34"/>
                <a:ea typeface="+mn-ea"/>
                <a:cs typeface="DilleniaUPC" pitchFamily="18" charset="-34"/>
              </a:rPr>
              <a:t>SAAT INI</a:t>
            </a:r>
            <a:br>
              <a:rPr lang="en-US" sz="4800" b="1" dirty="0">
                <a:solidFill>
                  <a:srgbClr val="002060"/>
                </a:solidFill>
                <a:latin typeface="DilleniaUPC" pitchFamily="18" charset="-34"/>
                <a:ea typeface="+mn-ea"/>
                <a:cs typeface="DilleniaUPC" pitchFamily="18" charset="-34"/>
              </a:rPr>
            </a:br>
            <a:endParaRPr lang="en-US" sz="4800" b="1" dirty="0">
              <a:solidFill>
                <a:srgbClr val="002060"/>
              </a:solidFill>
              <a:latin typeface="DilleniaUPC" pitchFamily="18" charset="-34"/>
              <a:ea typeface="+mn-ea"/>
              <a:cs typeface="DilleniaUPC" pitchFamily="18" charset="-34"/>
            </a:endParaRPr>
          </a:p>
        </p:txBody>
      </p:sp>
    </p:spTree>
    <p:extLst>
      <p:ext uri="{BB962C8B-B14F-4D97-AF65-F5344CB8AC3E}">
        <p14:creationId xmlns:p14="http://schemas.microsoft.com/office/powerpoint/2010/main" val="30964976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50146"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txBox="1">
            <a:spLocks/>
          </p:cNvSpPr>
          <p:nvPr/>
        </p:nvSpPr>
        <p:spPr bwMode="auto">
          <a:xfrm>
            <a:off x="203355" y="152486"/>
            <a:ext cx="10972800" cy="639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914400" indent="-914400" algn="l" rtl="0" eaLnBrk="0" fontAlgn="base" hangingPunct="0">
              <a:spcBef>
                <a:spcPct val="0"/>
              </a:spcBef>
              <a:spcAft>
                <a:spcPct val="0"/>
              </a:spcAft>
              <a:defRPr sz="3200" b="1">
                <a:solidFill>
                  <a:srgbClr val="595959"/>
                </a:solidFill>
                <a:latin typeface="+mj-lt"/>
                <a:ea typeface="+mj-ea"/>
                <a:cs typeface="+mj-cs"/>
                <a:sym typeface="Calibri" panose="020F0502020204030204" pitchFamily="34" charset="0"/>
              </a:defRPr>
            </a:lvl1pPr>
            <a:lvl2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2pPr>
            <a:lvl3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3pPr>
            <a:lvl4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4pPr>
            <a:lvl5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5pPr>
            <a:lvl6pPr marL="13716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6pPr>
            <a:lvl7pPr marL="18288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7pPr>
            <a:lvl8pPr marL="22860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8pPr>
            <a:lvl9pPr marL="27432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9pPr>
          </a:lstStyle>
          <a:p>
            <a:pPr>
              <a:buFontTx/>
            </a:pPr>
            <a:r>
              <a:rPr lang="en-US" sz="4800" dirty="0">
                <a:solidFill>
                  <a:srgbClr val="002060"/>
                </a:solidFill>
                <a:latin typeface="DilleniaUPC" pitchFamily="18" charset="-34"/>
                <a:ea typeface="+mn-ea"/>
                <a:cs typeface="DilleniaUPC" pitchFamily="18" charset="-34"/>
              </a:rPr>
              <a:t>MEKANISME PEROLEHAN DATA</a:t>
            </a:r>
          </a:p>
        </p:txBody>
      </p:sp>
      <p:sp>
        <p:nvSpPr>
          <p:cNvPr id="12" name="Chevron 11"/>
          <p:cNvSpPr/>
          <p:nvPr/>
        </p:nvSpPr>
        <p:spPr>
          <a:xfrm rot="16200000">
            <a:off x="-1351643" y="3180643"/>
            <a:ext cx="4800544" cy="877767"/>
          </a:xfrm>
          <a:prstGeom prst="chevron">
            <a:avLst/>
          </a:prstGeom>
          <a:solidFill>
            <a:srgbClr val="4892B8"/>
          </a:solidFill>
        </p:spPr>
        <p:style>
          <a:lnRef idx="1">
            <a:schemeClr val="accent1"/>
          </a:lnRef>
          <a:fillRef idx="3">
            <a:schemeClr val="accent1"/>
          </a:fillRef>
          <a:effectRef idx="2">
            <a:schemeClr val="accent1"/>
          </a:effectRef>
          <a:fontRef idx="minor">
            <a:schemeClr val="lt1"/>
          </a:fontRef>
        </p:style>
        <p:txBody>
          <a:bodyPr anchor="ctr"/>
          <a:lstStyle/>
          <a:p>
            <a:pPr marL="685800">
              <a:spcBef>
                <a:spcPts val="600"/>
              </a:spcBef>
              <a:spcAft>
                <a:spcPts val="0"/>
              </a:spcAft>
              <a:defRPr/>
            </a:pPr>
            <a:r>
              <a:rPr lang="en-US" sz="2400" b="1" spc="-25" dirty="0" err="1">
                <a:solidFill>
                  <a:srgbClr val="FFFFFF"/>
                </a:solidFill>
                <a:effectLst>
                  <a:glow rad="63500">
                    <a:schemeClr val="accent1">
                      <a:satMod val="175000"/>
                      <a:alpha val="40000"/>
                    </a:schemeClr>
                  </a:glow>
                </a:effectLst>
                <a:latin typeface="Agency FB" pitchFamily="34" charset="0"/>
                <a:ea typeface="Times New Roman"/>
                <a:cs typeface="Times New Roman"/>
              </a:rPr>
              <a:t>Alur</a:t>
            </a:r>
            <a:r>
              <a:rPr lang="en-US" sz="2400" b="1" spc="-25" dirty="0">
                <a:solidFill>
                  <a:srgbClr val="FFFFFF"/>
                </a:solidFill>
                <a:effectLst>
                  <a:glow rad="63500">
                    <a:schemeClr val="accent1">
                      <a:satMod val="175000"/>
                      <a:alpha val="40000"/>
                    </a:schemeClr>
                  </a:glow>
                </a:effectLst>
                <a:latin typeface="Agency FB" pitchFamily="34" charset="0"/>
                <a:ea typeface="Times New Roman"/>
                <a:cs typeface="Times New Roman"/>
              </a:rPr>
              <a:t> </a:t>
            </a:r>
            <a:r>
              <a:rPr lang="en-US" sz="2400" b="1" spc="-25" dirty="0" err="1">
                <a:solidFill>
                  <a:srgbClr val="FFFFFF"/>
                </a:solidFill>
                <a:effectLst>
                  <a:glow rad="63500">
                    <a:schemeClr val="accent1">
                      <a:satMod val="175000"/>
                      <a:alpha val="40000"/>
                    </a:schemeClr>
                  </a:glow>
                </a:effectLst>
                <a:latin typeface="Agency FB" pitchFamily="34" charset="0"/>
                <a:ea typeface="Times New Roman"/>
                <a:cs typeface="Times New Roman"/>
              </a:rPr>
              <a:t>Sumber</a:t>
            </a:r>
            <a:r>
              <a:rPr lang="en-US" sz="2400" b="1" spc="-25" dirty="0">
                <a:solidFill>
                  <a:srgbClr val="FFFFFF"/>
                </a:solidFill>
                <a:effectLst>
                  <a:glow rad="63500">
                    <a:schemeClr val="accent1">
                      <a:satMod val="175000"/>
                      <a:alpha val="40000"/>
                    </a:schemeClr>
                  </a:glow>
                </a:effectLst>
                <a:latin typeface="Agency FB" pitchFamily="34" charset="0"/>
                <a:ea typeface="Times New Roman"/>
                <a:cs typeface="Times New Roman"/>
              </a:rPr>
              <a:t> </a:t>
            </a:r>
            <a:r>
              <a:rPr lang="en-US" sz="2400" b="1" spc="-25" dirty="0" err="1">
                <a:solidFill>
                  <a:srgbClr val="FFFFFF"/>
                </a:solidFill>
                <a:effectLst>
                  <a:glow rad="63500">
                    <a:schemeClr val="accent1">
                      <a:satMod val="175000"/>
                      <a:alpha val="40000"/>
                    </a:schemeClr>
                  </a:glow>
                </a:effectLst>
                <a:latin typeface="Agency FB" pitchFamily="34" charset="0"/>
                <a:ea typeface="Times New Roman"/>
                <a:cs typeface="Times New Roman"/>
              </a:rPr>
              <a:t>Informasi</a:t>
            </a:r>
            <a:r>
              <a:rPr lang="en-US" sz="2400" b="1" spc="-25" dirty="0">
                <a:solidFill>
                  <a:srgbClr val="FFFFFF"/>
                </a:solidFill>
                <a:effectLst>
                  <a:glow rad="63500">
                    <a:schemeClr val="accent1">
                      <a:satMod val="175000"/>
                      <a:alpha val="40000"/>
                    </a:schemeClr>
                  </a:glow>
                </a:effectLst>
                <a:latin typeface="Agency FB" pitchFamily="34" charset="0"/>
                <a:ea typeface="Times New Roman"/>
                <a:cs typeface="Times New Roman"/>
              </a:rPr>
              <a:t> </a:t>
            </a:r>
            <a:r>
              <a:rPr lang="en-US" sz="2400" b="1" spc="-25" dirty="0" err="1">
                <a:solidFill>
                  <a:srgbClr val="FFFFFF"/>
                </a:solidFill>
                <a:effectLst>
                  <a:glow rad="63500">
                    <a:schemeClr val="accent1">
                      <a:satMod val="175000"/>
                      <a:alpha val="40000"/>
                    </a:schemeClr>
                  </a:glow>
                </a:effectLst>
                <a:latin typeface="Agency FB" pitchFamily="34" charset="0"/>
                <a:ea typeface="Times New Roman"/>
                <a:cs typeface="Times New Roman"/>
              </a:rPr>
              <a:t>Harga</a:t>
            </a:r>
            <a:endParaRPr lang="en-US" sz="2400" spc="-25" dirty="0">
              <a:solidFill>
                <a:srgbClr val="FFFFFF"/>
              </a:solidFill>
              <a:latin typeface="Agency FB" pitchFamily="34" charset="0"/>
              <a:ea typeface="Times New Roman"/>
              <a:cs typeface="Times New Roman"/>
            </a:endParaRPr>
          </a:p>
        </p:txBody>
      </p:sp>
      <p:pic>
        <p:nvPicPr>
          <p:cNvPr id="14" name="Picture 13" descr="Alur.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2370" y="1548421"/>
            <a:ext cx="9958957" cy="3559339"/>
          </a:xfrm>
          <a:prstGeom prst="rect">
            <a:avLst/>
          </a:prstGeom>
        </p:spPr>
      </p:pic>
    </p:spTree>
    <p:extLst>
      <p:ext uri="{BB962C8B-B14F-4D97-AF65-F5344CB8AC3E}">
        <p14:creationId xmlns:p14="http://schemas.microsoft.com/office/powerpoint/2010/main" val="18540846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5973"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6797"/>
          <a:stretch/>
        </p:blipFill>
        <p:spPr>
          <a:xfrm>
            <a:off x="152401" y="702143"/>
            <a:ext cx="11887199" cy="6232057"/>
          </a:xfrm>
          <a:prstGeom prst="rect">
            <a:avLst/>
          </a:prstGeom>
        </p:spPr>
      </p:pic>
      <p:sp>
        <p:nvSpPr>
          <p:cNvPr id="5" name="Title 1"/>
          <p:cNvSpPr txBox="1">
            <a:spLocks/>
          </p:cNvSpPr>
          <p:nvPr/>
        </p:nvSpPr>
        <p:spPr bwMode="auto">
          <a:xfrm>
            <a:off x="304800" y="122172"/>
            <a:ext cx="10972800" cy="639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914400" indent="-914400" algn="l" rtl="0" eaLnBrk="0" fontAlgn="base" hangingPunct="0">
              <a:spcBef>
                <a:spcPct val="0"/>
              </a:spcBef>
              <a:spcAft>
                <a:spcPct val="0"/>
              </a:spcAft>
              <a:defRPr sz="3200" b="1">
                <a:solidFill>
                  <a:srgbClr val="595959"/>
                </a:solidFill>
                <a:latin typeface="+mj-lt"/>
                <a:ea typeface="+mj-ea"/>
                <a:cs typeface="+mj-cs"/>
                <a:sym typeface="Calibri" panose="020F0502020204030204" pitchFamily="34" charset="0"/>
              </a:defRPr>
            </a:lvl1pPr>
            <a:lvl2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2pPr>
            <a:lvl3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3pPr>
            <a:lvl4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4pPr>
            <a:lvl5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5pPr>
            <a:lvl6pPr marL="13716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6pPr>
            <a:lvl7pPr marL="18288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7pPr>
            <a:lvl8pPr marL="22860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8pPr>
            <a:lvl9pPr marL="27432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9pPr>
          </a:lstStyle>
          <a:p>
            <a:pPr>
              <a:buFontTx/>
            </a:pPr>
            <a:r>
              <a:rPr lang="en-US" sz="4800" dirty="0" smtClean="0">
                <a:solidFill>
                  <a:srgbClr val="002060"/>
                </a:solidFill>
                <a:latin typeface="DilleniaUPC" pitchFamily="18" charset="-34"/>
                <a:ea typeface="+mn-ea"/>
                <a:cs typeface="DilleniaUPC" pitchFamily="18" charset="-34"/>
              </a:rPr>
              <a:t>ALUR KERJA DATA PIHPS</a:t>
            </a:r>
            <a:endParaRPr lang="en-US" sz="4800" dirty="0">
              <a:solidFill>
                <a:srgbClr val="002060"/>
              </a:solidFill>
              <a:latin typeface="DilleniaUPC" pitchFamily="18" charset="-34"/>
              <a:ea typeface="+mn-ea"/>
              <a:cs typeface="DilleniaUPC" pitchFamily="18" charset="-34"/>
            </a:endParaRPr>
          </a:p>
        </p:txBody>
      </p:sp>
    </p:spTree>
    <p:extLst>
      <p:ext uri="{BB962C8B-B14F-4D97-AF65-F5344CB8AC3E}">
        <p14:creationId xmlns:p14="http://schemas.microsoft.com/office/powerpoint/2010/main" val="3562637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25973"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425087" y="56488"/>
            <a:ext cx="11213912" cy="707886"/>
          </a:xfrm>
          <a:prstGeom prst="rect">
            <a:avLst/>
          </a:prstGeom>
          <a:noFill/>
        </p:spPr>
        <p:txBody>
          <a:bodyPr wrap="square" rtlCol="0">
            <a:spAutoFit/>
          </a:bodyPr>
          <a:lstStyle/>
          <a:p>
            <a:r>
              <a:rPr lang="en-US" sz="4000" b="1" dirty="0" smtClean="0">
                <a:solidFill>
                  <a:srgbClr val="002060"/>
                </a:solidFill>
                <a:latin typeface="DilleniaUPC" pitchFamily="18" charset="-34"/>
                <a:cs typeface="DilleniaUPC" pitchFamily="18" charset="-34"/>
                <a:sym typeface="Calibri" panose="020F0502020204030204" pitchFamily="34" charset="0"/>
              </a:rPr>
              <a:t>TINDAK LANJUT EVALUASI 2015 DAN AGENDA PENGEMBANGAN 2016</a:t>
            </a:r>
            <a:endParaRPr lang="en-US" sz="4000" b="1" dirty="0">
              <a:solidFill>
                <a:srgbClr val="002060"/>
              </a:solidFill>
              <a:latin typeface="DilleniaUPC" pitchFamily="18" charset="-34"/>
              <a:cs typeface="DilleniaUPC" pitchFamily="18" charset="-34"/>
              <a:sym typeface="Calibri" panose="020F0502020204030204" pitchFamily="34" charset="0"/>
            </a:endParaRPr>
          </a:p>
        </p:txBody>
      </p:sp>
      <p:sp>
        <p:nvSpPr>
          <p:cNvPr id="4" name="Text Box 8"/>
          <p:cNvSpPr txBox="1">
            <a:spLocks noChangeArrowheads="1"/>
          </p:cNvSpPr>
          <p:nvPr/>
        </p:nvSpPr>
        <p:spPr bwMode="auto">
          <a:xfrm>
            <a:off x="1311124" y="940594"/>
            <a:ext cx="10566400"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rgbClr val="C00000"/>
                </a:solidFill>
                <a:latin typeface="Calibri" pitchFamily="34" charset="0"/>
              </a:defRPr>
            </a:lvl1pPr>
            <a:lvl2pPr>
              <a:defRPr>
                <a:solidFill>
                  <a:schemeClr val="tx1"/>
                </a:solidFill>
                <a:latin typeface="Calibri" pitchFamily="34" charset="0"/>
              </a:defRPr>
            </a:lvl2pPr>
            <a:lvl3pPr>
              <a:defRPr>
                <a:solidFill>
                  <a:schemeClr val="tx1"/>
                </a:solidFill>
                <a:latin typeface="Calibri" pitchFamily="34" charset="0"/>
              </a:defRPr>
            </a:lvl3pPr>
            <a:lvl4pPr>
              <a:defRPr>
                <a:solidFill>
                  <a:schemeClr val="tx1"/>
                </a:solidFill>
                <a:latin typeface="Calibri" pitchFamily="34" charset="0"/>
              </a:defRPr>
            </a:lvl4pPr>
            <a:lvl5pPr>
              <a:defRPr>
                <a:solidFill>
                  <a:schemeClr val="tx1"/>
                </a:solidFill>
                <a:latin typeface="Calibri" pitchFamily="34" charset="0"/>
              </a:defRPr>
            </a:lvl5pPr>
            <a:lvl6pPr eaLnBrk="0" fontAlgn="base" hangingPunct="0">
              <a:spcAft>
                <a:spcPct val="0"/>
              </a:spcAft>
              <a:buChar char="»"/>
              <a:defRPr>
                <a:solidFill>
                  <a:schemeClr val="tx1"/>
                </a:solidFill>
                <a:latin typeface="Calibri" pitchFamily="34" charset="0"/>
              </a:defRPr>
            </a:lvl6pPr>
            <a:lvl7pPr eaLnBrk="0" fontAlgn="base" hangingPunct="0">
              <a:spcAft>
                <a:spcPct val="0"/>
              </a:spcAft>
              <a:buChar char="»"/>
              <a:defRPr>
                <a:solidFill>
                  <a:schemeClr val="tx1"/>
                </a:solidFill>
                <a:latin typeface="Calibri" pitchFamily="34" charset="0"/>
              </a:defRPr>
            </a:lvl7pPr>
            <a:lvl8pPr eaLnBrk="0" fontAlgn="base" hangingPunct="0">
              <a:spcAft>
                <a:spcPct val="0"/>
              </a:spcAft>
              <a:buChar char="»"/>
              <a:defRPr>
                <a:solidFill>
                  <a:schemeClr val="tx1"/>
                </a:solidFill>
                <a:latin typeface="Calibri" pitchFamily="34" charset="0"/>
              </a:defRPr>
            </a:lvl8pPr>
            <a:lvl9pPr eaLnBrk="0" fontAlgn="base" hangingPunct="0">
              <a:spcAft>
                <a:spcPct val="0"/>
              </a:spcAft>
              <a:buChar char="»"/>
              <a:defRPr>
                <a:solidFill>
                  <a:schemeClr val="tx1"/>
                </a:solidFill>
                <a:latin typeface="Calibri" pitchFamily="34" charset="0"/>
              </a:defRPr>
            </a:lvl9pPr>
          </a:lstStyle>
          <a:p>
            <a:pPr lvl="0"/>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Memfokuskan pada pembenahan input data daerah melalui KPwDN dan peran pembinaan Kemendagri</a:t>
            </a:r>
          </a:p>
          <a:p>
            <a:endParaRPr lang="en-GB" altLang="id-ID" sz="2000" dirty="0">
              <a:solidFill>
                <a:srgbClr val="0070C0"/>
              </a:solidFill>
              <a:effectLst>
                <a:outerShdw blurRad="38100" dist="38100" dir="2700000" algn="tl">
                  <a:srgbClr val="000000">
                    <a:alpha val="43137"/>
                  </a:srgbClr>
                </a:outerShdw>
              </a:effectLst>
              <a:cs typeface="Arial" pitchFamily="34" charset="0"/>
            </a:endParaRPr>
          </a:p>
        </p:txBody>
      </p:sp>
      <p:sp>
        <p:nvSpPr>
          <p:cNvPr id="5" name="Oval 4"/>
          <p:cNvSpPr/>
          <p:nvPr/>
        </p:nvSpPr>
        <p:spPr>
          <a:xfrm>
            <a:off x="394609" y="965656"/>
            <a:ext cx="713316" cy="53340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800" b="1" dirty="0">
                <a:solidFill>
                  <a:schemeClr val="bg1"/>
                </a:solidFill>
                <a:effectLst>
                  <a:outerShdw blurRad="38100" dist="38100" dir="2700000" algn="tl">
                    <a:srgbClr val="000000">
                      <a:alpha val="43137"/>
                    </a:srgbClr>
                  </a:outerShdw>
                </a:effectLst>
              </a:rPr>
              <a:t>1</a:t>
            </a:r>
          </a:p>
        </p:txBody>
      </p:sp>
      <p:sp>
        <p:nvSpPr>
          <p:cNvPr id="6" name="Text Box 8"/>
          <p:cNvSpPr txBox="1">
            <a:spLocks noChangeArrowheads="1"/>
          </p:cNvSpPr>
          <p:nvPr/>
        </p:nvSpPr>
        <p:spPr bwMode="auto">
          <a:xfrm>
            <a:off x="1311124" y="1930956"/>
            <a:ext cx="105664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rgbClr val="C00000"/>
                </a:solidFill>
                <a:latin typeface="Calibri" pitchFamily="34" charset="0"/>
              </a:defRPr>
            </a:lvl1pPr>
            <a:lvl2pPr>
              <a:defRPr>
                <a:solidFill>
                  <a:schemeClr val="tx1"/>
                </a:solidFill>
                <a:latin typeface="Calibri" pitchFamily="34" charset="0"/>
              </a:defRPr>
            </a:lvl2pPr>
            <a:lvl3pPr>
              <a:defRPr>
                <a:solidFill>
                  <a:schemeClr val="tx1"/>
                </a:solidFill>
                <a:latin typeface="Calibri" pitchFamily="34" charset="0"/>
              </a:defRPr>
            </a:lvl3pPr>
            <a:lvl4pPr>
              <a:defRPr>
                <a:solidFill>
                  <a:schemeClr val="tx1"/>
                </a:solidFill>
                <a:latin typeface="Calibri" pitchFamily="34" charset="0"/>
              </a:defRPr>
            </a:lvl4pPr>
            <a:lvl5pPr>
              <a:defRPr>
                <a:solidFill>
                  <a:schemeClr val="tx1"/>
                </a:solidFill>
                <a:latin typeface="Calibri" pitchFamily="34" charset="0"/>
              </a:defRPr>
            </a:lvl5pPr>
            <a:lvl6pPr eaLnBrk="0" fontAlgn="base" hangingPunct="0">
              <a:spcAft>
                <a:spcPct val="0"/>
              </a:spcAft>
              <a:buChar char="»"/>
              <a:defRPr>
                <a:solidFill>
                  <a:schemeClr val="tx1"/>
                </a:solidFill>
                <a:latin typeface="Calibri" pitchFamily="34" charset="0"/>
              </a:defRPr>
            </a:lvl6pPr>
            <a:lvl7pPr eaLnBrk="0" fontAlgn="base" hangingPunct="0">
              <a:spcAft>
                <a:spcPct val="0"/>
              </a:spcAft>
              <a:buChar char="»"/>
              <a:defRPr>
                <a:solidFill>
                  <a:schemeClr val="tx1"/>
                </a:solidFill>
                <a:latin typeface="Calibri" pitchFamily="34" charset="0"/>
              </a:defRPr>
            </a:lvl7pPr>
            <a:lvl8pPr eaLnBrk="0" fontAlgn="base" hangingPunct="0">
              <a:spcAft>
                <a:spcPct val="0"/>
              </a:spcAft>
              <a:buChar char="»"/>
              <a:defRPr>
                <a:solidFill>
                  <a:schemeClr val="tx1"/>
                </a:solidFill>
                <a:latin typeface="Calibri" pitchFamily="34" charset="0"/>
              </a:defRPr>
            </a:lvl8pPr>
            <a:lvl9pPr eaLnBrk="0" fontAlgn="base" hangingPunct="0">
              <a:spcAft>
                <a:spcPct val="0"/>
              </a:spcAft>
              <a:buChar char="»"/>
              <a:defRPr>
                <a:solidFill>
                  <a:schemeClr val="tx1"/>
                </a:solidFill>
                <a:latin typeface="Calibri" pitchFamily="34" charset="0"/>
              </a:defRPr>
            </a:lvl9pPr>
          </a:lstStyle>
          <a:p>
            <a:pPr lvl="0"/>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Mempertajam cakupan dan lingkup data:</a:t>
            </a:r>
          </a:p>
          <a:p>
            <a:pPr marL="514350" lvl="0" indent="-514350">
              <a:buAutoNum type="romanLcParenBoth"/>
            </a:pP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prioritas pada 82 kota/kab </a:t>
            </a:r>
            <a:r>
              <a:rPr lang="en-US" sz="2800" dirty="0" smtClean="0">
                <a:solidFill>
                  <a:srgbClr val="0070C0"/>
                </a:solidFill>
                <a:latin typeface="Agency FB" pitchFamily="34" charset="0"/>
                <a:ea typeface="Times New Roman" panose="02020603050405020304" pitchFamily="18" charset="0"/>
                <a:cs typeface="Times New Roman" panose="02020603050405020304" pitchFamily="18" charset="0"/>
              </a:rPr>
              <a:t>IHK </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SBH 2012</a:t>
            </a:r>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 </a:t>
            </a:r>
            <a:endPar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endParaRPr>
          </a:p>
          <a:p>
            <a:pPr marL="514350" lvl="0" indent="-514350">
              <a:buAutoNum type="romanLcParenBoth"/>
            </a:pP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Memperluas cakupan komoditas yang masuk dalam PIHPS</a:t>
            </a:r>
            <a:endParaRPr lang="id-ID" sz="2800" dirty="0">
              <a:solidFill>
                <a:srgbClr val="0070C0"/>
              </a:solidFill>
              <a:latin typeface="Agency FB" pitchFamily="34" charset="0"/>
              <a:ea typeface="Times New Roman" panose="02020603050405020304" pitchFamily="18" charset="0"/>
              <a:cs typeface="Times New Roman" panose="02020603050405020304" pitchFamily="18" charset="0"/>
            </a:endParaRPr>
          </a:p>
          <a:p>
            <a:pPr marL="514350" lvl="0" indent="-514350">
              <a:buAutoNum type="romanLcParenBoth"/>
            </a:pP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data </a:t>
            </a:r>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dalam PIHPS Nasional adalah data harian daerah dan terkait hal ini diusulkan dukungan penuh BI melalui KPwDN untuk support data harian daerah; </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dan</a:t>
            </a:r>
          </a:p>
          <a:p>
            <a:pPr marL="514350" lvl="0" indent="-514350">
              <a:buAutoNum type="romanLcParenBoth"/>
            </a:pP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penegasan </a:t>
            </a:r>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pengelolaan PIHPS Nasional di Pokjanas TPID </a:t>
            </a:r>
          </a:p>
          <a:p>
            <a:endParaRPr lang="en-GB" altLang="id-ID" sz="2400" dirty="0">
              <a:solidFill>
                <a:srgbClr val="0070C0"/>
              </a:solidFill>
              <a:effectLst>
                <a:outerShdw blurRad="38100" dist="38100" dir="2700000" algn="tl">
                  <a:srgbClr val="000000">
                    <a:alpha val="43137"/>
                  </a:srgbClr>
                </a:outerShdw>
              </a:effectLst>
              <a:cs typeface="Arial" pitchFamily="34" charset="0"/>
            </a:endParaRPr>
          </a:p>
        </p:txBody>
      </p:sp>
      <p:sp>
        <p:nvSpPr>
          <p:cNvPr id="7" name="Oval 6"/>
          <p:cNvSpPr/>
          <p:nvPr/>
        </p:nvSpPr>
        <p:spPr>
          <a:xfrm>
            <a:off x="394609" y="2032456"/>
            <a:ext cx="713316" cy="53340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d-ID" sz="2800" b="1" dirty="0" smtClean="0">
                <a:solidFill>
                  <a:schemeClr val="bg1"/>
                </a:solidFill>
                <a:effectLst>
                  <a:outerShdw blurRad="38100" dist="38100" dir="2700000" algn="tl">
                    <a:srgbClr val="000000">
                      <a:alpha val="43137"/>
                    </a:srgbClr>
                  </a:outerShdw>
                </a:effectLst>
              </a:rPr>
              <a:t>2</a:t>
            </a:r>
            <a:endParaRPr lang="en-US" sz="2800" b="1" dirty="0">
              <a:solidFill>
                <a:schemeClr val="bg1"/>
              </a:solidFill>
              <a:effectLst>
                <a:outerShdw blurRad="38100" dist="38100" dir="2700000" algn="tl">
                  <a:srgbClr val="000000">
                    <a:alpha val="43137"/>
                  </a:srgbClr>
                </a:outerShdw>
              </a:effectLst>
            </a:endParaRPr>
          </a:p>
        </p:txBody>
      </p:sp>
      <p:sp>
        <p:nvSpPr>
          <p:cNvPr id="8" name="Oval 7"/>
          <p:cNvSpPr/>
          <p:nvPr/>
        </p:nvSpPr>
        <p:spPr>
          <a:xfrm>
            <a:off x="384931" y="4753570"/>
            <a:ext cx="713316" cy="53340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d-ID" sz="2800" b="1" dirty="0" smtClean="0">
                <a:solidFill>
                  <a:schemeClr val="bg1"/>
                </a:solidFill>
                <a:effectLst>
                  <a:outerShdw blurRad="38100" dist="38100" dir="2700000" algn="tl">
                    <a:srgbClr val="000000">
                      <a:alpha val="43137"/>
                    </a:srgbClr>
                  </a:outerShdw>
                </a:effectLst>
              </a:rPr>
              <a:t>3</a:t>
            </a:r>
            <a:endParaRPr lang="en-US" sz="2800" b="1" dirty="0">
              <a:solidFill>
                <a:schemeClr val="bg1"/>
              </a:solidFill>
              <a:effectLst>
                <a:outerShdw blurRad="38100" dist="38100" dir="2700000" algn="tl">
                  <a:srgbClr val="000000">
                    <a:alpha val="43137"/>
                  </a:srgbClr>
                </a:outerShdw>
              </a:effectLst>
            </a:endParaRPr>
          </a:p>
        </p:txBody>
      </p:sp>
      <p:sp>
        <p:nvSpPr>
          <p:cNvPr id="9" name="Text Box 8"/>
          <p:cNvSpPr txBox="1">
            <a:spLocks noChangeArrowheads="1"/>
          </p:cNvSpPr>
          <p:nvPr/>
        </p:nvSpPr>
        <p:spPr bwMode="auto">
          <a:xfrm>
            <a:off x="1311124" y="4666327"/>
            <a:ext cx="108712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rgbClr val="C00000"/>
                </a:solidFill>
                <a:latin typeface="Calibri" pitchFamily="34" charset="0"/>
              </a:defRPr>
            </a:lvl1pPr>
            <a:lvl2pPr>
              <a:defRPr>
                <a:solidFill>
                  <a:schemeClr val="tx1"/>
                </a:solidFill>
                <a:latin typeface="Calibri" pitchFamily="34" charset="0"/>
              </a:defRPr>
            </a:lvl2pPr>
            <a:lvl3pPr>
              <a:defRPr>
                <a:solidFill>
                  <a:schemeClr val="tx1"/>
                </a:solidFill>
                <a:latin typeface="Calibri" pitchFamily="34" charset="0"/>
              </a:defRPr>
            </a:lvl3pPr>
            <a:lvl4pPr>
              <a:defRPr>
                <a:solidFill>
                  <a:schemeClr val="tx1"/>
                </a:solidFill>
                <a:latin typeface="Calibri" pitchFamily="34" charset="0"/>
              </a:defRPr>
            </a:lvl4pPr>
            <a:lvl5pPr>
              <a:defRPr>
                <a:solidFill>
                  <a:schemeClr val="tx1"/>
                </a:solidFill>
                <a:latin typeface="Calibri" pitchFamily="34" charset="0"/>
              </a:defRPr>
            </a:lvl5pPr>
            <a:lvl6pPr eaLnBrk="0" fontAlgn="base" hangingPunct="0">
              <a:spcAft>
                <a:spcPct val="0"/>
              </a:spcAft>
              <a:buChar char="»"/>
              <a:defRPr>
                <a:solidFill>
                  <a:schemeClr val="tx1"/>
                </a:solidFill>
                <a:latin typeface="Calibri" pitchFamily="34" charset="0"/>
              </a:defRPr>
            </a:lvl6pPr>
            <a:lvl7pPr eaLnBrk="0" fontAlgn="base" hangingPunct="0">
              <a:spcAft>
                <a:spcPct val="0"/>
              </a:spcAft>
              <a:buChar char="»"/>
              <a:defRPr>
                <a:solidFill>
                  <a:schemeClr val="tx1"/>
                </a:solidFill>
                <a:latin typeface="Calibri" pitchFamily="34" charset="0"/>
              </a:defRPr>
            </a:lvl7pPr>
            <a:lvl8pPr eaLnBrk="0" fontAlgn="base" hangingPunct="0">
              <a:spcAft>
                <a:spcPct val="0"/>
              </a:spcAft>
              <a:buChar char="»"/>
              <a:defRPr>
                <a:solidFill>
                  <a:schemeClr val="tx1"/>
                </a:solidFill>
                <a:latin typeface="Calibri" pitchFamily="34" charset="0"/>
              </a:defRPr>
            </a:lvl8pPr>
            <a:lvl9pPr eaLnBrk="0" fontAlgn="base" hangingPunct="0">
              <a:spcAft>
                <a:spcPct val="0"/>
              </a:spcAft>
              <a:buChar char="»"/>
              <a:defRPr>
                <a:solidFill>
                  <a:schemeClr val="tx1"/>
                </a:solidFill>
                <a:latin typeface="Calibri" pitchFamily="34" charset="0"/>
              </a:defRPr>
            </a:lvl9pPr>
          </a:lstStyle>
          <a:p>
            <a:pPr lvl="0"/>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Menginisiasi atau penjajakan data harga produsen dan stok untuk diintegrasi dalam PIHPS Daerah dan/atau PIHPS Nasional</a:t>
            </a:r>
            <a:endParaRPr lang="en-GB" altLang="id-ID" sz="2800" dirty="0">
              <a:solidFill>
                <a:srgbClr val="0070C0"/>
              </a:solidFill>
              <a:effectLst>
                <a:outerShdw blurRad="38100" dist="38100" dir="2700000" algn="tl">
                  <a:srgbClr val="000000">
                    <a:alpha val="43137"/>
                  </a:srgbClr>
                </a:outerShdw>
              </a:effectLst>
              <a:latin typeface="Agency FB" pitchFamily="34" charset="0"/>
              <a:cs typeface="Arial" pitchFamily="34" charset="0"/>
            </a:endParaRPr>
          </a:p>
        </p:txBody>
      </p:sp>
      <p:sp>
        <p:nvSpPr>
          <p:cNvPr id="10" name="Oval 9"/>
          <p:cNvSpPr/>
          <p:nvPr/>
        </p:nvSpPr>
        <p:spPr>
          <a:xfrm>
            <a:off x="394609" y="5842456"/>
            <a:ext cx="713316" cy="53340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d-ID" sz="2800" b="1" dirty="0" smtClean="0">
                <a:solidFill>
                  <a:schemeClr val="bg1"/>
                </a:solidFill>
                <a:effectLst>
                  <a:outerShdw blurRad="38100" dist="38100" dir="2700000" algn="tl">
                    <a:srgbClr val="000000">
                      <a:alpha val="43137"/>
                    </a:srgbClr>
                  </a:outerShdw>
                </a:effectLst>
              </a:rPr>
              <a:t>4</a:t>
            </a:r>
            <a:endParaRPr lang="en-US" sz="2800" b="1" dirty="0">
              <a:solidFill>
                <a:schemeClr val="bg1"/>
              </a:solidFill>
              <a:effectLst>
                <a:outerShdw blurRad="38100" dist="38100" dir="2700000" algn="tl">
                  <a:srgbClr val="000000">
                    <a:alpha val="43137"/>
                  </a:srgbClr>
                </a:outerShdw>
              </a:effectLst>
            </a:endParaRPr>
          </a:p>
        </p:txBody>
      </p:sp>
      <p:sp>
        <p:nvSpPr>
          <p:cNvPr id="11" name="Text Box 8"/>
          <p:cNvSpPr txBox="1">
            <a:spLocks noChangeArrowheads="1"/>
          </p:cNvSpPr>
          <p:nvPr/>
        </p:nvSpPr>
        <p:spPr bwMode="auto">
          <a:xfrm>
            <a:off x="1301448" y="5755213"/>
            <a:ext cx="108712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rgbClr val="C00000"/>
                </a:solidFill>
                <a:latin typeface="Calibri" pitchFamily="34" charset="0"/>
              </a:defRPr>
            </a:lvl1pPr>
            <a:lvl2pPr>
              <a:defRPr>
                <a:solidFill>
                  <a:schemeClr val="tx1"/>
                </a:solidFill>
                <a:latin typeface="Calibri" pitchFamily="34" charset="0"/>
              </a:defRPr>
            </a:lvl2pPr>
            <a:lvl3pPr>
              <a:defRPr>
                <a:solidFill>
                  <a:schemeClr val="tx1"/>
                </a:solidFill>
                <a:latin typeface="Calibri" pitchFamily="34" charset="0"/>
              </a:defRPr>
            </a:lvl3pPr>
            <a:lvl4pPr>
              <a:defRPr>
                <a:solidFill>
                  <a:schemeClr val="tx1"/>
                </a:solidFill>
                <a:latin typeface="Calibri" pitchFamily="34" charset="0"/>
              </a:defRPr>
            </a:lvl4pPr>
            <a:lvl5pPr>
              <a:defRPr>
                <a:solidFill>
                  <a:schemeClr val="tx1"/>
                </a:solidFill>
                <a:latin typeface="Calibri" pitchFamily="34" charset="0"/>
              </a:defRPr>
            </a:lvl5pPr>
            <a:lvl6pPr eaLnBrk="0" fontAlgn="base" hangingPunct="0">
              <a:spcAft>
                <a:spcPct val="0"/>
              </a:spcAft>
              <a:buChar char="»"/>
              <a:defRPr>
                <a:solidFill>
                  <a:schemeClr val="tx1"/>
                </a:solidFill>
                <a:latin typeface="Calibri" pitchFamily="34" charset="0"/>
              </a:defRPr>
            </a:lvl6pPr>
            <a:lvl7pPr eaLnBrk="0" fontAlgn="base" hangingPunct="0">
              <a:spcAft>
                <a:spcPct val="0"/>
              </a:spcAft>
              <a:buChar char="»"/>
              <a:defRPr>
                <a:solidFill>
                  <a:schemeClr val="tx1"/>
                </a:solidFill>
                <a:latin typeface="Calibri" pitchFamily="34" charset="0"/>
              </a:defRPr>
            </a:lvl7pPr>
            <a:lvl8pPr eaLnBrk="0" fontAlgn="base" hangingPunct="0">
              <a:spcAft>
                <a:spcPct val="0"/>
              </a:spcAft>
              <a:buChar char="»"/>
              <a:defRPr>
                <a:solidFill>
                  <a:schemeClr val="tx1"/>
                </a:solidFill>
                <a:latin typeface="Calibri" pitchFamily="34" charset="0"/>
              </a:defRPr>
            </a:lvl8pPr>
            <a:lvl9pPr eaLnBrk="0" fontAlgn="base" hangingPunct="0">
              <a:spcAft>
                <a:spcPct val="0"/>
              </a:spcAft>
              <a:buChar char="»"/>
              <a:defRPr>
                <a:solidFill>
                  <a:schemeClr val="tx1"/>
                </a:solidFill>
                <a:latin typeface="Calibri" pitchFamily="34" charset="0"/>
              </a:defRPr>
            </a:lvl9pPr>
          </a:lstStyle>
          <a:p>
            <a:r>
              <a:rPr lang="id-ID" altLang="id-ID" sz="2800" dirty="0">
                <a:solidFill>
                  <a:srgbClr val="0070C0"/>
                </a:solidFill>
                <a:latin typeface="Agency FB" pitchFamily="34" charset="0"/>
                <a:ea typeface="Times New Roman" panose="02020603050405020304" pitchFamily="18" charset="0"/>
                <a:cs typeface="Times New Roman" panose="02020603050405020304" pitchFamily="18" charset="0"/>
              </a:rPr>
              <a:t>Mengembangkan sarana diseminasi melalui fitur pada website, sms gateway, dan app-based mobile phone </a:t>
            </a:r>
            <a:endParaRPr lang="en-GB" altLang="id-ID" sz="2800" dirty="0">
              <a:solidFill>
                <a:srgbClr val="0070C0"/>
              </a:solidFill>
              <a:latin typeface="Agency FB"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35117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23" presetClass="entr" presetSubtype="16" fill="hold" grpId="0" nodeType="withEffect">
                                  <p:stCondLst>
                                    <p:cond delay="750"/>
                                  </p:stCondLst>
                                  <p:childTnLst>
                                    <p:set>
                                      <p:cBhvr>
                                        <p:cTn id="9" dur="1" fill="hold">
                                          <p:stCondLst>
                                            <p:cond delay="0"/>
                                          </p:stCondLst>
                                        </p:cTn>
                                        <p:tgtEl>
                                          <p:spTgt spid="4"/>
                                        </p:tgtEl>
                                        <p:attrNameLst>
                                          <p:attrName>style.visibility</p:attrName>
                                        </p:attrNameLst>
                                      </p:cBhvr>
                                      <p:to>
                                        <p:strVal val="visible"/>
                                      </p:to>
                                    </p:set>
                                    <p:anim calcmode="lin" valueType="num">
                                      <p:cBhvr>
                                        <p:cTn id="10" dur="1000" fill="hold"/>
                                        <p:tgtEl>
                                          <p:spTgt spid="4"/>
                                        </p:tgtEl>
                                        <p:attrNameLst>
                                          <p:attrName>ppt_w</p:attrName>
                                        </p:attrNameLst>
                                      </p:cBhvr>
                                      <p:tavLst>
                                        <p:tav tm="0">
                                          <p:val>
                                            <p:fltVal val="0"/>
                                          </p:val>
                                        </p:tav>
                                        <p:tav tm="100000">
                                          <p:val>
                                            <p:strVal val="#ppt_w"/>
                                          </p:val>
                                        </p:tav>
                                      </p:tavLst>
                                    </p:anim>
                                    <p:anim calcmode="lin" valueType="num">
                                      <p:cBhvr>
                                        <p:cTn id="11" dur="1000" fill="hold"/>
                                        <p:tgtEl>
                                          <p:spTgt spid="4"/>
                                        </p:tgtEl>
                                        <p:attrNameLst>
                                          <p:attrName>ppt_h</p:attrName>
                                        </p:attrNameLst>
                                      </p:cBhvr>
                                      <p:tavLst>
                                        <p:tav tm="0">
                                          <p:val>
                                            <p:fltVal val="0"/>
                                          </p:val>
                                        </p:tav>
                                        <p:tav tm="100000">
                                          <p:val>
                                            <p:strVal val="#ppt_h"/>
                                          </p:val>
                                        </p:tav>
                                      </p:tavLst>
                                    </p:anim>
                                  </p:childTnLst>
                                </p:cTn>
                              </p:par>
                              <p:par>
                                <p:cTn id="12" presetID="10" presetClass="entr" presetSubtype="0" fill="hold" grpId="0" nodeType="withEffect">
                                  <p:stCondLst>
                                    <p:cond delay="25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childTnLst>
                                </p:cTn>
                              </p:par>
                              <p:par>
                                <p:cTn id="15" presetID="23" presetClass="entr" presetSubtype="16"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p:cTn id="17" dur="1000" fill="hold"/>
                                        <p:tgtEl>
                                          <p:spTgt spid="6"/>
                                        </p:tgtEl>
                                        <p:attrNameLst>
                                          <p:attrName>ppt_w</p:attrName>
                                        </p:attrNameLst>
                                      </p:cBhvr>
                                      <p:tavLst>
                                        <p:tav tm="0">
                                          <p:val>
                                            <p:fltVal val="0"/>
                                          </p:val>
                                        </p:tav>
                                        <p:tav tm="100000">
                                          <p:val>
                                            <p:strVal val="#ppt_w"/>
                                          </p:val>
                                        </p:tav>
                                      </p:tavLst>
                                    </p:anim>
                                    <p:anim calcmode="lin" valueType="num">
                                      <p:cBhvr>
                                        <p:cTn id="18" dur="1000" fill="hold"/>
                                        <p:tgtEl>
                                          <p:spTgt spid="6"/>
                                        </p:tgtEl>
                                        <p:attrNameLst>
                                          <p:attrName>ppt_h</p:attrName>
                                        </p:attrNameLst>
                                      </p:cBhvr>
                                      <p:tavLst>
                                        <p:tav tm="0">
                                          <p:val>
                                            <p:fltVal val="0"/>
                                          </p:val>
                                        </p:tav>
                                        <p:tav tm="100000">
                                          <p:val>
                                            <p:strVal val="#ppt_h"/>
                                          </p:val>
                                        </p:tav>
                                      </p:tavLst>
                                    </p:anim>
                                  </p:childTnLst>
                                </p:cTn>
                              </p:par>
                              <p:par>
                                <p:cTn id="19" presetID="10" presetClass="entr" presetSubtype="0" fill="hold" grpId="0" nodeType="withEffect">
                                  <p:stCondLst>
                                    <p:cond delay="2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childTnLst>
                                </p:cTn>
                              </p:par>
                              <p:par>
                                <p:cTn id="22" presetID="23" presetClass="entr" presetSubtype="16" fill="hold" grpId="0" nodeType="withEffect">
                                  <p:stCondLst>
                                    <p:cond delay="750"/>
                                  </p:stCondLst>
                                  <p:childTnLst>
                                    <p:set>
                                      <p:cBhvr>
                                        <p:cTn id="23" dur="1" fill="hold">
                                          <p:stCondLst>
                                            <p:cond delay="0"/>
                                          </p:stCondLst>
                                        </p:cTn>
                                        <p:tgtEl>
                                          <p:spTgt spid="9"/>
                                        </p:tgtEl>
                                        <p:attrNameLst>
                                          <p:attrName>style.visibility</p:attrName>
                                        </p:attrNameLst>
                                      </p:cBhvr>
                                      <p:to>
                                        <p:strVal val="visible"/>
                                      </p:to>
                                    </p:set>
                                    <p:anim calcmode="lin" valueType="num">
                                      <p:cBhvr>
                                        <p:cTn id="24" dur="1000" fill="hold"/>
                                        <p:tgtEl>
                                          <p:spTgt spid="9"/>
                                        </p:tgtEl>
                                        <p:attrNameLst>
                                          <p:attrName>ppt_w</p:attrName>
                                        </p:attrNameLst>
                                      </p:cBhvr>
                                      <p:tavLst>
                                        <p:tav tm="0">
                                          <p:val>
                                            <p:fltVal val="0"/>
                                          </p:val>
                                        </p:tav>
                                        <p:tav tm="100000">
                                          <p:val>
                                            <p:strVal val="#ppt_w"/>
                                          </p:val>
                                        </p:tav>
                                      </p:tavLst>
                                    </p:anim>
                                    <p:anim calcmode="lin" valueType="num">
                                      <p:cBhvr>
                                        <p:cTn id="25" dur="1000" fill="hold"/>
                                        <p:tgtEl>
                                          <p:spTgt spid="9"/>
                                        </p:tgtEl>
                                        <p:attrNameLst>
                                          <p:attrName>ppt_h</p:attrName>
                                        </p:attrNameLst>
                                      </p:cBhvr>
                                      <p:tavLst>
                                        <p:tav tm="0">
                                          <p:val>
                                            <p:fltVal val="0"/>
                                          </p:val>
                                        </p:tav>
                                        <p:tav tm="100000">
                                          <p:val>
                                            <p:strVal val="#ppt_h"/>
                                          </p:val>
                                        </p:tav>
                                      </p:tavLst>
                                    </p:anim>
                                  </p:childTnLst>
                                </p:cTn>
                              </p:par>
                              <p:par>
                                <p:cTn id="26" presetID="10" presetClass="entr" presetSubtype="0" fill="hold" grpId="0" nodeType="withEffect">
                                  <p:stCondLst>
                                    <p:cond delay="25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childTnLst>
                                </p:cTn>
                              </p:par>
                              <p:par>
                                <p:cTn id="29" presetID="23" presetClass="entr" presetSubtype="16" fill="hold" grpId="0" nodeType="withEffect">
                                  <p:stCondLst>
                                    <p:cond delay="750"/>
                                  </p:stCondLst>
                                  <p:childTnLst>
                                    <p:set>
                                      <p:cBhvr>
                                        <p:cTn id="30" dur="1" fill="hold">
                                          <p:stCondLst>
                                            <p:cond delay="0"/>
                                          </p:stCondLst>
                                        </p:cTn>
                                        <p:tgtEl>
                                          <p:spTgt spid="11"/>
                                        </p:tgtEl>
                                        <p:attrNameLst>
                                          <p:attrName>style.visibility</p:attrName>
                                        </p:attrNameLst>
                                      </p:cBhvr>
                                      <p:to>
                                        <p:strVal val="visible"/>
                                      </p:to>
                                    </p:set>
                                    <p:anim calcmode="lin" valueType="num">
                                      <p:cBhvr>
                                        <p:cTn id="31" dur="1000" fill="hold"/>
                                        <p:tgtEl>
                                          <p:spTgt spid="11"/>
                                        </p:tgtEl>
                                        <p:attrNameLst>
                                          <p:attrName>ppt_w</p:attrName>
                                        </p:attrNameLst>
                                      </p:cBhvr>
                                      <p:tavLst>
                                        <p:tav tm="0">
                                          <p:val>
                                            <p:fltVal val="0"/>
                                          </p:val>
                                        </p:tav>
                                        <p:tav tm="100000">
                                          <p:val>
                                            <p:strVal val="#ppt_w"/>
                                          </p:val>
                                        </p:tav>
                                      </p:tavLst>
                                    </p:anim>
                                    <p:anim calcmode="lin" valueType="num">
                                      <p:cBhvr>
                                        <p:cTn id="32" dur="1000" fill="hold"/>
                                        <p:tgtEl>
                                          <p:spTgt spid="1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P spid="7" grpId="0" animBg="1"/>
      <p:bldP spid="8" grpId="0" animBg="1"/>
      <p:bldP spid="9" grpId="0"/>
      <p:bldP spid="10" grpId="0" animBg="1"/>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Rectangle 9"/>
          <p:cNvSpPr/>
          <p:nvPr/>
        </p:nvSpPr>
        <p:spPr>
          <a:xfrm>
            <a:off x="250146"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200000"/>
                    </a14:imgEffect>
                  </a14:imgLayer>
                </a14:imgProps>
              </a:ext>
            </a:extLst>
          </a:blip>
          <a:srcRect l="12295" t="8283" r="13522" b="10367"/>
          <a:stretch/>
        </p:blipFill>
        <p:spPr>
          <a:xfrm rot="731254">
            <a:off x="5274250" y="834408"/>
            <a:ext cx="1669747" cy="1029468"/>
          </a:xfrm>
          <a:prstGeom prst="roundRect">
            <a:avLst>
              <a:gd name="adj" fmla="val 10921"/>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2" name="Rectangle 1"/>
          <p:cNvSpPr/>
          <p:nvPr/>
        </p:nvSpPr>
        <p:spPr>
          <a:xfrm>
            <a:off x="7048802" y="1066800"/>
            <a:ext cx="5082238" cy="5016758"/>
          </a:xfrm>
          <a:prstGeom prst="rect">
            <a:avLst/>
          </a:prstGeom>
        </p:spPr>
        <p:txBody>
          <a:bodyPr wrap="square">
            <a:spAutoFit/>
          </a:bodyPr>
          <a:lstStyle/>
          <a:p>
            <a:pPr marL="285750" lvl="0" indent="-285750">
              <a:spcBef>
                <a:spcPts val="1200"/>
              </a:spcBef>
              <a:buSzPts val="1400"/>
              <a:buFont typeface="Arial" panose="020B0604020202020204" pitchFamily="34" charset="0"/>
              <a:buChar char="•"/>
            </a:pPr>
            <a:r>
              <a:rPr lang="id-ID" sz="2000" b="1" dirty="0" smtClean="0">
                <a:solidFill>
                  <a:srgbClr val="7E0000"/>
                </a:solidFill>
                <a:latin typeface="Agency FB" panose="020B0503020202020204" pitchFamily="34" charset="0"/>
                <a:ea typeface="Times New Roman" panose="02020603050405020304" pitchFamily="18" charset="0"/>
                <a:cs typeface="Arial" panose="020B0604020202020204" pitchFamily="34" charset="0"/>
              </a:rPr>
              <a:t>POKJANAS TPID AKAN BERKOORDINASI DENGAN LEMBAGA YANG DITUNJUK PEMERINTAH SEBAGAI PENGELOLA SISTEM INFORMASI PANGAN SESUAI AMANAT UU NO.18 /2012 TENTANG PANGAN.</a:t>
            </a:r>
          </a:p>
          <a:p>
            <a:pPr marL="285750" lvl="0" indent="-285750">
              <a:spcBef>
                <a:spcPts val="1200"/>
              </a:spcBef>
              <a:buSzPts val="1400"/>
              <a:buFont typeface="Arial" panose="020B0604020202020204" pitchFamily="34" charset="0"/>
              <a:buChar char="•"/>
            </a:pPr>
            <a:r>
              <a:rPr lang="id-ID" sz="2000" b="1" dirty="0" smtClean="0">
                <a:solidFill>
                  <a:srgbClr val="7E0000"/>
                </a:solidFill>
                <a:latin typeface="Agency FB" panose="020B0503020202020204" pitchFamily="34" charset="0"/>
                <a:ea typeface="Times New Roman" panose="02020603050405020304" pitchFamily="18" charset="0"/>
                <a:cs typeface="Arial" panose="020B0604020202020204" pitchFamily="34" charset="0"/>
              </a:rPr>
              <a:t>KEMENTERIAN PERDAGANGAN MIMILIKI PERANAN STRATEGIS DALAM MENDUKUNG PENGEMBANGAN PIHPS TAHAP II. SELAIN ITU, SESUAI DENGAN TUPOKSI YANG MELEKAT, KEMENTERIAN PERDAGANGAN JUGA DAPAT TURUT ANDIL DALAM PENGENDALIAN INFLASI NASIONAL LEWAT LANJUTAN PENGEMBANGAN DAN PENGUATAN KELEMBAGAAN PASAR</a:t>
            </a:r>
          </a:p>
          <a:p>
            <a:pPr marL="285750" lvl="0" indent="-285750">
              <a:spcBef>
                <a:spcPts val="1200"/>
              </a:spcBef>
              <a:buSzPts val="1400"/>
              <a:buFont typeface="Arial" panose="020B0604020202020204" pitchFamily="34" charset="0"/>
              <a:buChar char="•"/>
            </a:pPr>
            <a:r>
              <a:rPr lang="id-ID" sz="2000" b="1" dirty="0" smtClean="0">
                <a:solidFill>
                  <a:srgbClr val="7E0000"/>
                </a:solidFill>
                <a:latin typeface="Agency FB" panose="020B0503020202020204" pitchFamily="34" charset="0"/>
                <a:ea typeface="Times New Roman" panose="02020603050405020304" pitchFamily="18" charset="0"/>
                <a:cs typeface="Arial" panose="020B0604020202020204" pitchFamily="34" charset="0"/>
              </a:rPr>
              <a:t>GUDANG PRODUK PERTANIAN DAN PASAR LELANG KOMODITAS JUGA SANGAT PENTING DIPERKUAT DALAM RANGKA EFISIENSI RANTAI DISTRIBUSI PANGAN STRATEGIS. </a:t>
            </a:r>
            <a:endParaRPr lang="id-ID" sz="2000" b="1" dirty="0">
              <a:solidFill>
                <a:srgbClr val="7E0000"/>
              </a:solidFill>
              <a:effectLst/>
              <a:latin typeface="Agency FB" panose="020B0503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4415698" y="1974762"/>
            <a:ext cx="2519674" cy="1223412"/>
          </a:xfrm>
          <a:prstGeom prst="rect">
            <a:avLst/>
          </a:prstGeom>
        </p:spPr>
        <p:txBody>
          <a:bodyPr wrap="square">
            <a:spAutoFit/>
          </a:bodyPr>
          <a:lstStyle/>
          <a:p>
            <a:pPr lvl="0" algn="r">
              <a:buSzPts val="1400"/>
            </a:pPr>
            <a:r>
              <a:rPr lang="id-ID" sz="1050" b="1" i="1" dirty="0" smtClean="0">
                <a:latin typeface="Calibri" panose="020F0502020204030204" pitchFamily="34" charset="0"/>
                <a:ea typeface="Times New Roman" panose="02020603050405020304" pitchFamily="18" charset="0"/>
                <a:cs typeface="Calibri" panose="020F0502020204030204" pitchFamily="34" charset="0"/>
              </a:rPr>
              <a:t>Akan diawali dengan identifikasi ketersediaan dan kualitas data harga produsen di daerah dan menjajaki kemungkinan kerja sama dengan Kementerian Pertanian terutama terkait perolehan data harga di daerah yang menjadi sentra produksi</a:t>
            </a:r>
            <a:endParaRPr lang="id-ID" sz="1050" b="1" i="1" dirty="0">
              <a:latin typeface="Calibri" panose="020F0502020204030204" pitchFamily="34" charset="0"/>
              <a:ea typeface="Times New Roman" panose="02020603050405020304" pitchFamily="18" charset="0"/>
              <a:cs typeface="Calibri" panose="020F0502020204030204" pitchFamily="34" charset="0"/>
            </a:endParaRPr>
          </a:p>
        </p:txBody>
      </p:sp>
      <p:graphicFrame>
        <p:nvGraphicFramePr>
          <p:cNvPr id="3" name="Diagram 2"/>
          <p:cNvGraphicFramePr/>
          <p:nvPr>
            <p:extLst/>
          </p:nvPr>
        </p:nvGraphicFramePr>
        <p:xfrm>
          <a:off x="-1411509" y="748812"/>
          <a:ext cx="8298381" cy="575951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itle 1"/>
          <p:cNvSpPr>
            <a:spLocks noGrp="1"/>
          </p:cNvSpPr>
          <p:nvPr>
            <p:ph type="title"/>
          </p:nvPr>
        </p:nvSpPr>
        <p:spPr>
          <a:xfrm>
            <a:off x="380999" y="152400"/>
            <a:ext cx="11418135" cy="563563"/>
          </a:xfrm>
        </p:spPr>
        <p:txBody>
          <a:bodyPr>
            <a:noAutofit/>
          </a:bodyPr>
          <a:lstStyle/>
          <a:p>
            <a:pPr algn="l"/>
            <a:r>
              <a:rPr lang="en-US" b="1" dirty="0" smtClean="0">
                <a:solidFill>
                  <a:srgbClr val="002060"/>
                </a:solidFill>
                <a:latin typeface="DilleniaUPC" pitchFamily="18" charset="-34"/>
                <a:ea typeface="+mn-ea"/>
                <a:cs typeface="DilleniaUPC" pitchFamily="18" charset="-34"/>
              </a:rPr>
              <a:t>AGENDA PENGEMBANGAN PIHPS TAHAP II (2016 S.D. 2018)</a:t>
            </a:r>
            <a:endParaRPr lang="en-US" b="1" dirty="0">
              <a:solidFill>
                <a:srgbClr val="002060"/>
              </a:solidFill>
              <a:latin typeface="DilleniaUPC" pitchFamily="18" charset="-34"/>
              <a:ea typeface="+mn-ea"/>
              <a:cs typeface="DilleniaUPC" pitchFamily="18" charset="-34"/>
            </a:endParaRPr>
          </a:p>
        </p:txBody>
      </p:sp>
      <p:sp>
        <p:nvSpPr>
          <p:cNvPr id="5" name="Slide Number Placeholder 4"/>
          <p:cNvSpPr>
            <a:spLocks noGrp="1"/>
          </p:cNvSpPr>
          <p:nvPr>
            <p:ph type="sldNum" sz="quarter" idx="12"/>
          </p:nvPr>
        </p:nvSpPr>
        <p:spPr/>
        <p:txBody>
          <a:bodyPr/>
          <a:lstStyle/>
          <a:p>
            <a:fld id="{7D08530B-D843-4B68-A89E-667FFE5D1D6F}" type="slidenum">
              <a:rPr lang="en-US" smtClean="0"/>
              <a:t>14</a:t>
            </a:fld>
            <a:endParaRPr lang="en-US" dirty="0"/>
          </a:p>
        </p:txBody>
      </p:sp>
    </p:spTree>
    <p:extLst>
      <p:ext uri="{BB962C8B-B14F-4D97-AF65-F5344CB8AC3E}">
        <p14:creationId xmlns:p14="http://schemas.microsoft.com/office/powerpoint/2010/main" val="2704190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48050" y="5009258"/>
            <a:ext cx="8077200" cy="570608"/>
          </a:xfrm>
          <a:prstGeom prst="rect">
            <a:avLst/>
          </a:prstGeom>
        </p:spPr>
        <p:txBody>
          <a:bodyPr vert="horz" lIns="91438" tIns="45719" rIns="91438" bIns="45719" rtlCol="0" anchor="ctr">
            <a:noAutofit/>
          </a:bodyPr>
          <a:lstStyle/>
          <a:p>
            <a:pPr algn="r">
              <a:lnSpc>
                <a:spcPct val="50000"/>
              </a:lnSpc>
              <a:defRPr/>
            </a:pPr>
            <a:r>
              <a:rPr lang="en-US" sz="7200" b="1" dirty="0">
                <a:solidFill>
                  <a:schemeClr val="tx2">
                    <a:lumMod val="60000"/>
                    <a:lumOff val="40000"/>
                  </a:schemeClr>
                </a:solidFill>
                <a:latin typeface="DilleniaUPC" pitchFamily="18" charset="-34"/>
                <a:cs typeface="DilleniaUPC" pitchFamily="18" charset="-34"/>
              </a:rPr>
              <a:t>DASAR HUKUM</a:t>
            </a:r>
          </a:p>
          <a:p>
            <a:pPr marL="396875" algn="r">
              <a:lnSpc>
                <a:spcPct val="50000"/>
              </a:lnSpc>
              <a:defRPr/>
            </a:pPr>
            <a:r>
              <a:rPr lang="en-US" sz="3600" b="1" dirty="0" smtClean="0">
                <a:solidFill>
                  <a:srgbClr val="002060"/>
                </a:solidFill>
                <a:latin typeface="DilleniaUPC" pitchFamily="18" charset="-34"/>
                <a:cs typeface="DilleniaUPC" pitchFamily="18" charset="-34"/>
              </a:rPr>
              <a:t>STABILISASI HARGA</a:t>
            </a:r>
          </a:p>
          <a:p>
            <a:pPr marL="396875" algn="r">
              <a:lnSpc>
                <a:spcPct val="50000"/>
              </a:lnSpc>
              <a:defRPr/>
            </a:pPr>
            <a:r>
              <a:rPr lang="en-US" sz="3600" b="1" dirty="0" smtClean="0">
                <a:solidFill>
                  <a:srgbClr val="002060"/>
                </a:solidFill>
                <a:latin typeface="DilleniaUPC" pitchFamily="18" charset="-34"/>
                <a:cs typeface="DilleniaUPC" pitchFamily="18" charset="-34"/>
              </a:rPr>
              <a:t>PENGELOLAAN KEUANGAN DAERAH</a:t>
            </a:r>
            <a:endParaRPr lang="id-ID" sz="3600" b="1" dirty="0">
              <a:solidFill>
                <a:srgbClr val="002060"/>
              </a:solidFill>
              <a:latin typeface="DilleniaUPC" pitchFamily="18" charset="-34"/>
              <a:cs typeface="DilleniaUPC" pitchFamily="18" charset="-34"/>
            </a:endParaRPr>
          </a:p>
        </p:txBody>
      </p:sp>
      <p:sp>
        <p:nvSpPr>
          <p:cNvPr id="8" name="Slide Number Placeholder 7"/>
          <p:cNvSpPr>
            <a:spLocks noGrp="1"/>
          </p:cNvSpPr>
          <p:nvPr>
            <p:ph type="sldNum" sz="quarter" idx="12"/>
          </p:nvPr>
        </p:nvSpPr>
        <p:spPr>
          <a:xfrm>
            <a:off x="9067800" y="6328075"/>
            <a:ext cx="2844800" cy="365125"/>
          </a:xfrm>
        </p:spPr>
        <p:txBody>
          <a:bodyPr/>
          <a:lstStyle/>
          <a:p>
            <a:fld id="{7D08530B-D843-4B68-A89E-667FFE5D1D6F}" type="slidenum">
              <a:rPr lang="en-US" sz="1400" smtClean="0"/>
              <a:t>15</a:t>
            </a:fld>
            <a:endParaRPr lang="en-US" sz="1400"/>
          </a:p>
        </p:txBody>
      </p:sp>
      <p:sp>
        <p:nvSpPr>
          <p:cNvPr id="11" name="AutoShape 2"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4"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8674" name="Picture 2" descr="https://i.ytimg.com/vi/kkmbCQ7Z2Ko/maxresdefault.jpg"/>
          <p:cNvPicPr>
            <a:picLocks noChangeAspect="1" noChangeArrowheads="1"/>
          </p:cNvPicPr>
          <p:nvPr/>
        </p:nvPicPr>
        <p:blipFill rotWithShape="1">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l="27580" r="13680" b="4519"/>
          <a:stretch/>
        </p:blipFill>
        <p:spPr bwMode="auto">
          <a:xfrm>
            <a:off x="0" y="0"/>
            <a:ext cx="6096000" cy="6880226"/>
          </a:xfrm>
          <a:prstGeom prst="rect">
            <a:avLst/>
          </a:prstGeom>
          <a:noFill/>
          <a:effectLst>
            <a:softEdge rad="6477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0456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FA84A37A-AFC2-4A01-80A1-FC20F2C0D5BB}" type="slidenum">
              <a:rPr lang="en-US" smtClean="0"/>
              <a:pPr/>
              <a:t>16</a:t>
            </a:fld>
            <a:endParaRPr lang="en-US"/>
          </a:p>
        </p:txBody>
      </p:sp>
      <p:sp>
        <p:nvSpPr>
          <p:cNvPr id="5" name="Rectangle 4"/>
          <p:cNvSpPr/>
          <p:nvPr/>
        </p:nvSpPr>
        <p:spPr>
          <a:xfrm>
            <a:off x="136464" y="-37466"/>
            <a:ext cx="10668000" cy="769441"/>
          </a:xfrm>
          <a:prstGeom prst="rect">
            <a:avLst/>
          </a:prstGeom>
          <a:noFill/>
        </p:spPr>
        <p:txBody>
          <a:bodyPr vert="horz" wrap="square" lIns="91440" tIns="45720" rIns="91440" bIns="45720" rtlCol="0" anchor="ctr">
            <a:spAutoFit/>
          </a:bodyPr>
          <a:lstStyle/>
          <a:p>
            <a:pPr>
              <a:spcBef>
                <a:spcPct val="0"/>
              </a:spcBef>
            </a:pPr>
            <a:r>
              <a:rPr lang="id-ID" sz="4400" b="1" dirty="0">
                <a:solidFill>
                  <a:srgbClr val="002060"/>
                </a:solidFill>
                <a:latin typeface="DilleniaUPC" pitchFamily="18" charset="-34"/>
                <a:cs typeface="DilleniaUPC" pitchFamily="18" charset="-34"/>
              </a:rPr>
              <a:t>DASAR HUKUM STABILISASI HARGA</a:t>
            </a:r>
          </a:p>
        </p:txBody>
      </p:sp>
      <p:sp>
        <p:nvSpPr>
          <p:cNvPr id="2" name="Rectangle 1"/>
          <p:cNvSpPr/>
          <p:nvPr/>
        </p:nvSpPr>
        <p:spPr>
          <a:xfrm>
            <a:off x="365438" y="890216"/>
            <a:ext cx="4572000" cy="25672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000" dirty="0" smtClean="0">
                <a:latin typeface="Calibri" pitchFamily="34" charset="0"/>
              </a:rPr>
              <a:t>Kewajiban Pemerintah Pusat dan Pemerintah Daerah untuk Ketersediaan Pangan dan Stabilisasi Harga</a:t>
            </a:r>
            <a:endParaRPr lang="en-US" sz="2000" dirty="0">
              <a:latin typeface="Calibri" pitchFamily="34" charset="0"/>
            </a:endParaRPr>
          </a:p>
        </p:txBody>
      </p:sp>
      <p:sp>
        <p:nvSpPr>
          <p:cNvPr id="3" name="Right Arrow 2"/>
          <p:cNvSpPr/>
          <p:nvPr/>
        </p:nvSpPr>
        <p:spPr>
          <a:xfrm>
            <a:off x="5071533" y="1981200"/>
            <a:ext cx="457200" cy="685800"/>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p:cNvSpPr/>
          <p:nvPr/>
        </p:nvSpPr>
        <p:spPr>
          <a:xfrm>
            <a:off x="5029200" y="4419600"/>
            <a:ext cx="457200" cy="685800"/>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5550746" y="990600"/>
            <a:ext cx="6468534" cy="2308324"/>
          </a:xfrm>
          <a:prstGeom prst="rect">
            <a:avLst/>
          </a:prstGeom>
          <a:solidFill>
            <a:schemeClr val="tx2">
              <a:lumMod val="20000"/>
              <a:lumOff val="80000"/>
            </a:schemeClr>
          </a:solidFill>
          <a:ln>
            <a:noFill/>
          </a:ln>
        </p:spPr>
        <p:txBody>
          <a:bodyPr wrap="square" rtlCol="0">
            <a:spAutoFit/>
          </a:bodyPr>
          <a:lstStyle/>
          <a:p>
            <a:pPr marL="285750" indent="-285750">
              <a:buFont typeface="Arial" pitchFamily="34" charset="0"/>
              <a:buChar char="•"/>
            </a:pPr>
            <a:r>
              <a:rPr lang="id-ID" sz="2400" b="1" dirty="0" smtClean="0">
                <a:latin typeface="Agency FB" pitchFamily="34" charset="0"/>
              </a:rPr>
              <a:t>UU No.18 Tahun 2012 tentang Pangan</a:t>
            </a:r>
          </a:p>
          <a:p>
            <a:pPr marL="285750" indent="-285750">
              <a:buFont typeface="Arial" pitchFamily="34" charset="0"/>
              <a:buChar char="•"/>
            </a:pPr>
            <a:r>
              <a:rPr lang="id-ID" sz="2400" b="1" dirty="0" smtClean="0">
                <a:latin typeface="Agency FB" pitchFamily="34" charset="0"/>
              </a:rPr>
              <a:t>UU No.7 Tahun 2014 tentang Perdagangan</a:t>
            </a:r>
          </a:p>
          <a:p>
            <a:pPr marL="285750" indent="-285750">
              <a:buFont typeface="Arial" pitchFamily="34" charset="0"/>
              <a:buChar char="•"/>
            </a:pPr>
            <a:r>
              <a:rPr lang="id-ID" sz="2400" b="1" dirty="0" smtClean="0">
                <a:latin typeface="Agency FB" pitchFamily="34" charset="0"/>
              </a:rPr>
              <a:t>UU No. 23 tentang Pemerintah Daerah</a:t>
            </a:r>
          </a:p>
          <a:p>
            <a:pPr marL="285750" indent="-285750">
              <a:buFont typeface="Arial" pitchFamily="34" charset="0"/>
              <a:buChar char="•"/>
            </a:pPr>
            <a:r>
              <a:rPr lang="id-ID" sz="2400" b="1" dirty="0" smtClean="0">
                <a:latin typeface="Agency FB" pitchFamily="34" charset="0"/>
              </a:rPr>
              <a:t>UU No.17 Tahun 2015 tentang Ketahanan Pangan dan Gizi</a:t>
            </a:r>
          </a:p>
          <a:p>
            <a:pPr marL="285750" indent="-285750">
              <a:buFont typeface="Arial" pitchFamily="34" charset="0"/>
              <a:buChar char="•"/>
            </a:pPr>
            <a:r>
              <a:rPr lang="id-ID" sz="2400" b="1" dirty="0" smtClean="0">
                <a:latin typeface="Agency FB" pitchFamily="34" charset="0"/>
              </a:rPr>
              <a:t>Perpres No.71 Tahun 2015 tentang Penetapan dan Penyimpanan Barang Kebutuhan Pokok.</a:t>
            </a:r>
            <a:endParaRPr lang="en-US" sz="2400" b="1" dirty="0" smtClean="0">
              <a:latin typeface="Agency FB" pitchFamily="34" charset="0"/>
            </a:endParaRPr>
          </a:p>
        </p:txBody>
      </p:sp>
      <p:sp>
        <p:nvSpPr>
          <p:cNvPr id="18" name="Rectangle 17"/>
          <p:cNvSpPr/>
          <p:nvPr/>
        </p:nvSpPr>
        <p:spPr>
          <a:xfrm>
            <a:off x="365438" y="902917"/>
            <a:ext cx="4572000" cy="23083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800" b="1" dirty="0" smtClean="0">
                <a:latin typeface="Agency FB" pitchFamily="34" charset="0"/>
              </a:rPr>
              <a:t>Kewajiban Pemerintah Pusat dan Pemerintah Daerah untuk Ketersediaan Pangan </a:t>
            </a:r>
            <a:endParaRPr lang="en-US" sz="2800" b="1" dirty="0" smtClean="0">
              <a:latin typeface="Agency FB" pitchFamily="34" charset="0"/>
            </a:endParaRPr>
          </a:p>
          <a:p>
            <a:pPr algn="ctr"/>
            <a:r>
              <a:rPr lang="id-ID" sz="2800" b="1" dirty="0" smtClean="0">
                <a:latin typeface="Agency FB" pitchFamily="34" charset="0"/>
              </a:rPr>
              <a:t>dan Stabilisasi Harga</a:t>
            </a:r>
            <a:endParaRPr lang="en-US" sz="2800" b="1" dirty="0">
              <a:latin typeface="Agency FB" pitchFamily="34" charset="0"/>
            </a:endParaRPr>
          </a:p>
        </p:txBody>
      </p:sp>
      <p:sp>
        <p:nvSpPr>
          <p:cNvPr id="19" name="Rectangle 18"/>
          <p:cNvSpPr/>
          <p:nvPr/>
        </p:nvSpPr>
        <p:spPr>
          <a:xfrm>
            <a:off x="365438" y="3949005"/>
            <a:ext cx="4572000" cy="19110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800" b="1" dirty="0">
                <a:latin typeface="Agency FB" pitchFamily="34" charset="0"/>
              </a:rPr>
              <a:t>Anggaran Pemerintah Pusat dan Pemerintah Daerah untuk Ketersediaan Pangan </a:t>
            </a:r>
            <a:endParaRPr lang="en-US" sz="2800" b="1" dirty="0" smtClean="0">
              <a:latin typeface="Agency FB" pitchFamily="34" charset="0"/>
            </a:endParaRPr>
          </a:p>
          <a:p>
            <a:pPr algn="ctr"/>
            <a:r>
              <a:rPr lang="id-ID" sz="2800" b="1" dirty="0" smtClean="0">
                <a:latin typeface="Agency FB" pitchFamily="34" charset="0"/>
              </a:rPr>
              <a:t>dan </a:t>
            </a:r>
            <a:r>
              <a:rPr lang="id-ID" sz="2800" b="1" dirty="0">
                <a:latin typeface="Agency FB" pitchFamily="34" charset="0"/>
              </a:rPr>
              <a:t>Stabilisasi Harga</a:t>
            </a:r>
            <a:endParaRPr lang="en-US" sz="2800" b="1" dirty="0">
              <a:latin typeface="Agency FB" pitchFamily="34" charset="0"/>
            </a:endParaRPr>
          </a:p>
        </p:txBody>
      </p:sp>
      <p:sp>
        <p:nvSpPr>
          <p:cNvPr id="20" name="TextBox 19"/>
          <p:cNvSpPr txBox="1"/>
          <p:nvPr/>
        </p:nvSpPr>
        <p:spPr>
          <a:xfrm>
            <a:off x="5466078" y="4191000"/>
            <a:ext cx="6468533" cy="1446550"/>
          </a:xfrm>
          <a:prstGeom prst="rect">
            <a:avLst/>
          </a:prstGeom>
          <a:solidFill>
            <a:schemeClr val="accent2">
              <a:lumMod val="20000"/>
              <a:lumOff val="80000"/>
            </a:schemeClr>
          </a:solidFill>
          <a:ln>
            <a:noFill/>
          </a:ln>
        </p:spPr>
        <p:txBody>
          <a:bodyPr wrap="square" rtlCol="0">
            <a:spAutoFit/>
          </a:bodyPr>
          <a:lstStyle/>
          <a:p>
            <a:pPr marL="285750" indent="-285750">
              <a:buFont typeface="Arial" pitchFamily="34" charset="0"/>
              <a:buChar char="•"/>
            </a:pPr>
            <a:endParaRPr lang="en-US" sz="2000" b="1" dirty="0" smtClean="0">
              <a:latin typeface="Calibri" pitchFamily="34" charset="0"/>
            </a:endParaRPr>
          </a:p>
          <a:p>
            <a:pPr marL="285750" indent="-285750">
              <a:buFont typeface="Arial" pitchFamily="34" charset="0"/>
              <a:buChar char="•"/>
            </a:pPr>
            <a:r>
              <a:rPr lang="id-ID" sz="2400" b="1" dirty="0">
                <a:latin typeface="Agency FB" pitchFamily="34" charset="0"/>
              </a:rPr>
              <a:t>UU No. 17 Tahun 2003 tentang Keuangan Negara </a:t>
            </a:r>
          </a:p>
          <a:p>
            <a:pPr marL="285750" indent="-285750">
              <a:buFont typeface="Arial" pitchFamily="34" charset="0"/>
              <a:buChar char="•"/>
            </a:pPr>
            <a:r>
              <a:rPr lang="id-ID" sz="2400" b="1" dirty="0">
                <a:latin typeface="Agency FB" pitchFamily="34" charset="0"/>
              </a:rPr>
              <a:t>UU No. 1 Tahun 2004 tentang Perbendaharaan Negara</a:t>
            </a:r>
            <a:endParaRPr lang="en-US" sz="2400" b="1" dirty="0">
              <a:latin typeface="Agency FB" pitchFamily="34" charset="0"/>
            </a:endParaRPr>
          </a:p>
          <a:p>
            <a:endParaRPr lang="id-ID" sz="2000" b="1" dirty="0" smtClean="0">
              <a:latin typeface="Calibri" pitchFamily="34" charset="0"/>
            </a:endParaRPr>
          </a:p>
        </p:txBody>
      </p:sp>
    </p:spTree>
    <p:extLst>
      <p:ext uri="{BB962C8B-B14F-4D97-AF65-F5344CB8AC3E}">
        <p14:creationId xmlns:p14="http://schemas.microsoft.com/office/powerpoint/2010/main" val="5429590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450893" y="762000"/>
            <a:ext cx="4880187" cy="35925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3600" b="1" dirty="0">
                <a:solidFill>
                  <a:srgbClr val="002060"/>
                </a:solidFill>
                <a:latin typeface="DilleniaUPC" pitchFamily="18" charset="-34"/>
                <a:cs typeface="DilleniaUPC" pitchFamily="18" charset="-34"/>
              </a:rPr>
              <a:t>UU No. 18 Tahun 2012 ttg Pangan</a:t>
            </a:r>
          </a:p>
        </p:txBody>
      </p:sp>
      <p:sp>
        <p:nvSpPr>
          <p:cNvPr id="2" name="Rectangle 1"/>
          <p:cNvSpPr/>
          <p:nvPr/>
        </p:nvSpPr>
        <p:spPr>
          <a:xfrm>
            <a:off x="101600" y="-49125"/>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1)</a:t>
            </a:r>
          </a:p>
        </p:txBody>
      </p:sp>
      <p:sp>
        <p:nvSpPr>
          <p:cNvPr id="17" name="Rectangle 16"/>
          <p:cNvSpPr/>
          <p:nvPr/>
        </p:nvSpPr>
        <p:spPr>
          <a:xfrm>
            <a:off x="420412" y="1324254"/>
            <a:ext cx="11677227" cy="2200602"/>
          </a:xfrm>
          <a:prstGeom prst="rect">
            <a:avLst/>
          </a:prstGeom>
        </p:spPr>
        <p:txBody>
          <a:bodyPr wrap="square">
            <a:spAutoFit/>
          </a:bodyPr>
          <a:lstStyle/>
          <a:p>
            <a:pPr>
              <a:spcAft>
                <a:spcPts val="600"/>
              </a:spcAft>
            </a:pPr>
            <a:r>
              <a:rPr lang="id-ID" sz="2400" b="1" dirty="0" smtClean="0">
                <a:solidFill>
                  <a:srgbClr val="C00000"/>
                </a:solidFill>
                <a:latin typeface="Agency FB" pitchFamily="34" charset="0"/>
                <a:cs typeface="Calibri" panose="020F0502020204030204" pitchFamily="34" charset="0"/>
              </a:rPr>
              <a:t>Pasal 5 </a:t>
            </a:r>
          </a:p>
          <a:p>
            <a:r>
              <a:rPr lang="id-ID" sz="2000" dirty="0" smtClean="0">
                <a:latin typeface="Agency FB" pitchFamily="34" charset="0"/>
                <a:cs typeface="Calibri" panose="020F0502020204030204" pitchFamily="34" charset="0"/>
              </a:rPr>
              <a:t>Lingkup </a:t>
            </a:r>
            <a:r>
              <a:rPr lang="id-ID" sz="2000" dirty="0">
                <a:latin typeface="Agency FB" pitchFamily="34" charset="0"/>
                <a:cs typeface="Calibri" panose="020F0502020204030204" pitchFamily="34" charset="0"/>
              </a:rPr>
              <a:t>pengaturan Penyelenggaraan Pangan meliputi:</a:t>
            </a:r>
          </a:p>
          <a:p>
            <a:pPr marL="342900" indent="-342900">
              <a:buFont typeface="+mj-lt"/>
              <a:buAutoNum type="alphaLcPeriod"/>
            </a:pPr>
            <a:r>
              <a:rPr lang="id-ID" sz="2000" dirty="0" smtClean="0">
                <a:latin typeface="Agency FB" pitchFamily="34" charset="0"/>
                <a:cs typeface="Calibri" panose="020F0502020204030204" pitchFamily="34" charset="0"/>
              </a:rPr>
              <a:t>Perencanaan Pangan;</a:t>
            </a:r>
          </a:p>
          <a:p>
            <a:pPr marL="342900" indent="-342900">
              <a:buFont typeface="+mj-lt"/>
              <a:buAutoNum type="alphaLcPeriod"/>
            </a:pPr>
            <a:r>
              <a:rPr lang="id-ID" sz="2400" b="1" dirty="0" smtClean="0">
                <a:latin typeface="Agency FB" pitchFamily="34" charset="0"/>
                <a:cs typeface="Calibri" panose="020F0502020204030204" pitchFamily="34" charset="0"/>
              </a:rPr>
              <a:t>Ketersediaan Pangan;</a:t>
            </a:r>
          </a:p>
          <a:p>
            <a:pPr marL="342900" indent="-342900">
              <a:buFont typeface="+mj-lt"/>
              <a:buAutoNum type="alphaLcPeriod"/>
            </a:pPr>
            <a:r>
              <a:rPr lang="id-ID" sz="2400" b="1" dirty="0">
                <a:latin typeface="Agency FB" pitchFamily="34" charset="0"/>
                <a:cs typeface="Calibri" panose="020F0502020204030204" pitchFamily="34" charset="0"/>
              </a:rPr>
              <a:t>K</a:t>
            </a:r>
            <a:r>
              <a:rPr lang="id-ID" sz="2400" b="1" dirty="0" smtClean="0">
                <a:latin typeface="Agency FB" pitchFamily="34" charset="0"/>
                <a:cs typeface="Calibri" panose="020F0502020204030204" pitchFamily="34" charset="0"/>
              </a:rPr>
              <a:t>eterjangkauan Pangan</a:t>
            </a:r>
            <a:r>
              <a:rPr lang="id-ID" sz="2000" b="1" dirty="0" smtClean="0">
                <a:latin typeface="Agency FB" pitchFamily="34" charset="0"/>
                <a:cs typeface="Calibri" panose="020F0502020204030204" pitchFamily="34" charset="0"/>
              </a:rPr>
              <a:t>;</a:t>
            </a:r>
          </a:p>
          <a:p>
            <a:pPr marL="342900" indent="-342900">
              <a:buFont typeface="+mj-lt"/>
              <a:buAutoNum type="alphaLcPeriod"/>
            </a:pPr>
            <a:r>
              <a:rPr lang="id-ID" sz="2000" dirty="0">
                <a:latin typeface="Agency FB" pitchFamily="34" charset="0"/>
                <a:cs typeface="Calibri" panose="020F0502020204030204" pitchFamily="34" charset="0"/>
              </a:rPr>
              <a:t>K</a:t>
            </a:r>
            <a:r>
              <a:rPr lang="sv-SE" sz="2000" dirty="0" smtClean="0">
                <a:latin typeface="Agency FB" pitchFamily="34" charset="0"/>
                <a:cs typeface="Calibri" panose="020F0502020204030204" pitchFamily="34" charset="0"/>
              </a:rPr>
              <a:t>onsumsi </a:t>
            </a:r>
            <a:r>
              <a:rPr lang="sv-SE" sz="2000" dirty="0">
                <a:latin typeface="Agency FB" pitchFamily="34" charset="0"/>
                <a:cs typeface="Calibri" panose="020F0502020204030204" pitchFamily="34" charset="0"/>
              </a:rPr>
              <a:t>Pangan dan </a:t>
            </a:r>
            <a:r>
              <a:rPr lang="sv-SE" sz="2000" dirty="0" smtClean="0">
                <a:latin typeface="Agency FB" pitchFamily="34" charset="0"/>
                <a:cs typeface="Calibri" panose="020F0502020204030204" pitchFamily="34" charset="0"/>
              </a:rPr>
              <a:t>Gizi;</a:t>
            </a:r>
            <a:endParaRPr lang="id-ID" sz="2000" dirty="0" smtClean="0">
              <a:latin typeface="Agency FB" pitchFamily="34" charset="0"/>
              <a:cs typeface="Calibri" panose="020F0502020204030204" pitchFamily="34" charset="0"/>
            </a:endParaRPr>
          </a:p>
        </p:txBody>
      </p:sp>
      <p:sp>
        <p:nvSpPr>
          <p:cNvPr id="3" name="Rectangle 2"/>
          <p:cNvSpPr/>
          <p:nvPr/>
        </p:nvSpPr>
        <p:spPr>
          <a:xfrm>
            <a:off x="419578" y="3536028"/>
            <a:ext cx="12195387" cy="3077766"/>
          </a:xfrm>
          <a:prstGeom prst="rect">
            <a:avLst/>
          </a:prstGeom>
        </p:spPr>
        <p:txBody>
          <a:bodyPr wrap="square">
            <a:spAutoFit/>
          </a:bodyPr>
          <a:lstStyle/>
          <a:p>
            <a:pPr>
              <a:spcAft>
                <a:spcPts val="600"/>
              </a:spcAft>
            </a:pPr>
            <a:r>
              <a:rPr lang="id-ID" sz="2400" b="1" dirty="0">
                <a:solidFill>
                  <a:srgbClr val="C00000"/>
                </a:solidFill>
                <a:latin typeface="Agency FB" pitchFamily="34" charset="0"/>
                <a:cs typeface="Calibri" panose="020F0502020204030204" pitchFamily="34" charset="0"/>
              </a:rPr>
              <a:t>Pasal 13 </a:t>
            </a:r>
          </a:p>
          <a:p>
            <a:r>
              <a:rPr lang="id-ID" sz="2000" dirty="0">
                <a:latin typeface="Agency FB" pitchFamily="34" charset="0"/>
              </a:rPr>
              <a:t>Pemerintah berkewajiban </a:t>
            </a:r>
            <a:r>
              <a:rPr lang="id-ID" sz="2400" b="1" dirty="0">
                <a:latin typeface="Agency FB" pitchFamily="34" charset="0"/>
              </a:rPr>
              <a:t>mengelola stabilisasi pasokan dan harga Pangan Pokok, mengelola cadangan Pangan Pokok Pemerintah, dan distribusi Pangan Pokok </a:t>
            </a:r>
            <a:r>
              <a:rPr lang="id-ID" sz="2000" dirty="0">
                <a:latin typeface="Agency FB" pitchFamily="34" charset="0"/>
              </a:rPr>
              <a:t>untuk mewujudkan kecukupan Pangan Pokok yang aman dan bergizi bagi masyarakat. </a:t>
            </a:r>
          </a:p>
          <a:p>
            <a:endParaRPr lang="id-ID" sz="1600" b="1" dirty="0" smtClean="0">
              <a:solidFill>
                <a:srgbClr val="C00000"/>
              </a:solidFill>
              <a:latin typeface="Calibri" panose="020F0502020204030204" pitchFamily="34" charset="0"/>
            </a:endParaRPr>
          </a:p>
          <a:p>
            <a:pPr>
              <a:spcAft>
                <a:spcPts val="600"/>
              </a:spcAft>
            </a:pPr>
            <a:r>
              <a:rPr lang="id-ID" sz="2400" b="1" dirty="0">
                <a:solidFill>
                  <a:srgbClr val="C00000"/>
                </a:solidFill>
                <a:latin typeface="Agency FB" pitchFamily="34" charset="0"/>
                <a:cs typeface="Calibri" panose="020F0502020204030204" pitchFamily="34" charset="0"/>
              </a:rPr>
              <a:t>Pasal 14</a:t>
            </a:r>
          </a:p>
          <a:p>
            <a:pPr marL="342900" indent="-342900">
              <a:buAutoNum type="arabicParenBoth"/>
            </a:pPr>
            <a:r>
              <a:rPr lang="id-ID" sz="2000" dirty="0">
                <a:latin typeface="Agency FB" pitchFamily="34" charset="0"/>
                <a:cs typeface="Aharoni" pitchFamily="2" charset="-79"/>
              </a:rPr>
              <a:t>Sumber penyediaan Pangan berasal dari Produksi Pangan dalam negeri dan </a:t>
            </a:r>
            <a:r>
              <a:rPr lang="id-ID" sz="2400" b="1" dirty="0">
                <a:latin typeface="Agency FB" pitchFamily="34" charset="0"/>
                <a:cs typeface="Aharoni" pitchFamily="2" charset="-79"/>
              </a:rPr>
              <a:t>Cadangan Pangan Nasional</a:t>
            </a:r>
            <a:r>
              <a:rPr lang="id-ID" sz="2000" b="1" dirty="0">
                <a:latin typeface="Agency FB" pitchFamily="34" charset="0"/>
                <a:cs typeface="Aharoni" pitchFamily="2" charset="-79"/>
              </a:rPr>
              <a:t>. </a:t>
            </a:r>
          </a:p>
          <a:p>
            <a:pPr marL="342900" indent="-342900">
              <a:buAutoNum type="arabicParenBoth"/>
            </a:pPr>
            <a:r>
              <a:rPr lang="id-ID" sz="2000" dirty="0">
                <a:latin typeface="Agency FB" pitchFamily="34" charset="0"/>
                <a:cs typeface="Aharoni" pitchFamily="2" charset="-79"/>
              </a:rPr>
              <a:t>Dalam hal sumber penyediaan Pangan sebagaimana dimaksud pada ayat (1) </a:t>
            </a:r>
            <a:r>
              <a:rPr lang="id-ID" sz="2400" b="1" dirty="0">
                <a:latin typeface="Agency FB" pitchFamily="34" charset="0"/>
                <a:cs typeface="Aharoni" pitchFamily="2" charset="-79"/>
              </a:rPr>
              <a:t>belum mencukupi</a:t>
            </a:r>
            <a:r>
              <a:rPr lang="id-ID" sz="2000" dirty="0">
                <a:latin typeface="Agency FB" pitchFamily="34" charset="0"/>
                <a:cs typeface="Aharoni" pitchFamily="2" charset="-79"/>
              </a:rPr>
              <a:t>, Pangan dapat dipenuhi dengan </a:t>
            </a:r>
            <a:r>
              <a:rPr lang="id-ID" sz="2400" b="1" dirty="0">
                <a:latin typeface="Agency FB" pitchFamily="34" charset="0"/>
                <a:cs typeface="Aharoni" pitchFamily="2" charset="-79"/>
              </a:rPr>
              <a:t>Impor Pangan </a:t>
            </a:r>
            <a:r>
              <a:rPr lang="id-ID" sz="2000" dirty="0">
                <a:latin typeface="Agency FB" pitchFamily="34" charset="0"/>
                <a:cs typeface="Aharoni" pitchFamily="2" charset="-79"/>
              </a:rPr>
              <a:t>sesuai dengan </a:t>
            </a:r>
            <a:r>
              <a:rPr lang="id-ID" sz="2000" dirty="0" smtClean="0">
                <a:latin typeface="Agency FB" pitchFamily="34" charset="0"/>
                <a:cs typeface="Aharoni" pitchFamily="2" charset="-79"/>
              </a:rPr>
              <a:t>kebutuhan </a:t>
            </a:r>
            <a:endParaRPr lang="id-ID" sz="2000" dirty="0">
              <a:latin typeface="Agency FB" pitchFamily="34" charset="0"/>
              <a:cs typeface="Aharoni" pitchFamily="2" charset="-79"/>
            </a:endParaRPr>
          </a:p>
        </p:txBody>
      </p:sp>
      <p:sp>
        <p:nvSpPr>
          <p:cNvPr id="5" name="Rectangle 4"/>
          <p:cNvSpPr/>
          <p:nvPr/>
        </p:nvSpPr>
        <p:spPr>
          <a:xfrm>
            <a:off x="4328626" y="2201417"/>
            <a:ext cx="6096000" cy="1323439"/>
          </a:xfrm>
          <a:prstGeom prst="rect">
            <a:avLst/>
          </a:prstGeom>
        </p:spPr>
        <p:txBody>
          <a:bodyPr>
            <a:spAutoFit/>
          </a:bodyPr>
          <a:lstStyle/>
          <a:p>
            <a:pPr marL="457200" indent="-457200">
              <a:buFont typeface="+mj-lt"/>
              <a:buAutoNum type="alphaLcPeriod" startAt="5"/>
            </a:pPr>
            <a:r>
              <a:rPr lang="id-ID" sz="2000" dirty="0">
                <a:latin typeface="Agency FB" pitchFamily="34" charset="0"/>
                <a:cs typeface="Calibri" panose="020F0502020204030204" pitchFamily="34" charset="0"/>
              </a:rPr>
              <a:t>Keamanan Pangan;</a:t>
            </a:r>
          </a:p>
          <a:p>
            <a:pPr marL="342900" indent="-342900">
              <a:buFont typeface="+mj-lt"/>
              <a:buAutoNum type="alphaLcPeriod" startAt="5"/>
            </a:pPr>
            <a:r>
              <a:rPr lang="id-ID" sz="2000" dirty="0">
                <a:latin typeface="Agency FB" pitchFamily="34" charset="0"/>
                <a:cs typeface="Calibri" panose="020F0502020204030204" pitchFamily="34" charset="0"/>
              </a:rPr>
              <a:t>Label dan iklan Pangan;</a:t>
            </a:r>
          </a:p>
          <a:p>
            <a:pPr marL="342900" indent="-342900">
              <a:buFont typeface="+mj-lt"/>
              <a:buAutoNum type="alphaLcPeriod" startAt="7"/>
            </a:pPr>
            <a:r>
              <a:rPr lang="id-ID" sz="2000" dirty="0" smtClean="0">
                <a:latin typeface="Agency FB" pitchFamily="34" charset="0"/>
                <a:cs typeface="Calibri" panose="020F0502020204030204" pitchFamily="34" charset="0"/>
              </a:rPr>
              <a:t>Pengawasan</a:t>
            </a:r>
            <a:r>
              <a:rPr lang="id-ID" sz="2000" dirty="0">
                <a:latin typeface="Agency FB" pitchFamily="34" charset="0"/>
                <a:cs typeface="Calibri" panose="020F0502020204030204" pitchFamily="34" charset="0"/>
              </a:rPr>
              <a:t>;</a:t>
            </a:r>
          </a:p>
          <a:p>
            <a:pPr marL="342900" indent="-342900">
              <a:buFont typeface="+mj-lt"/>
              <a:buAutoNum type="alphaLcPeriod" startAt="7"/>
            </a:pPr>
            <a:r>
              <a:rPr lang="id-ID" sz="2000" dirty="0">
                <a:latin typeface="Agency FB" pitchFamily="34" charset="0"/>
                <a:cs typeface="Calibri" panose="020F0502020204030204" pitchFamily="34" charset="0"/>
              </a:rPr>
              <a:t>Sistem informasi Pangan</a:t>
            </a:r>
            <a:r>
              <a:rPr lang="id-ID" sz="2000" dirty="0" smtClean="0">
                <a:latin typeface="Agency FB" pitchFamily="34" charset="0"/>
                <a:cs typeface="Calibri" panose="020F0502020204030204" pitchFamily="34" charset="0"/>
              </a:rPr>
              <a:t>;</a:t>
            </a:r>
            <a:endParaRPr lang="id-ID" sz="2000" dirty="0">
              <a:latin typeface="Agency FB" pitchFamily="34" charset="0"/>
              <a:cs typeface="Calibri" panose="020F0502020204030204" pitchFamily="34" charset="0"/>
            </a:endParaRPr>
          </a:p>
        </p:txBody>
      </p:sp>
      <p:sp>
        <p:nvSpPr>
          <p:cNvPr id="6" name="Slide Number Placeholder 5"/>
          <p:cNvSpPr>
            <a:spLocks noGrp="1"/>
          </p:cNvSpPr>
          <p:nvPr>
            <p:ph type="sldNum" sz="quarter" idx="12"/>
          </p:nvPr>
        </p:nvSpPr>
        <p:spPr/>
        <p:txBody>
          <a:bodyPr/>
          <a:lstStyle/>
          <a:p>
            <a:fld id="{FA84A37A-AFC2-4A01-80A1-FC20F2C0D5BB}" type="slidenum">
              <a:rPr lang="en-US" smtClean="0"/>
              <a:pPr/>
              <a:t>17</a:t>
            </a:fld>
            <a:endParaRPr lang="en-US" dirty="0"/>
          </a:p>
        </p:txBody>
      </p:sp>
      <p:sp>
        <p:nvSpPr>
          <p:cNvPr id="9" name="Rectangle 8"/>
          <p:cNvSpPr/>
          <p:nvPr/>
        </p:nvSpPr>
        <p:spPr>
          <a:xfrm>
            <a:off x="7682630" y="2201416"/>
            <a:ext cx="4267200" cy="1323439"/>
          </a:xfrm>
          <a:prstGeom prst="rect">
            <a:avLst/>
          </a:prstGeom>
        </p:spPr>
        <p:txBody>
          <a:bodyPr wrap="square">
            <a:spAutoFit/>
          </a:bodyPr>
          <a:lstStyle/>
          <a:p>
            <a:pPr marL="457200" indent="-457200">
              <a:buFont typeface="+mj-lt"/>
              <a:buAutoNum type="alphaLcPeriod" startAt="9"/>
            </a:pPr>
            <a:r>
              <a:rPr lang="id-ID" sz="2000" dirty="0">
                <a:latin typeface="Agency FB" pitchFamily="34" charset="0"/>
                <a:cs typeface="Calibri" panose="020F0502020204030204" pitchFamily="34" charset="0"/>
              </a:rPr>
              <a:t>P</a:t>
            </a:r>
            <a:r>
              <a:rPr lang="nn-NO" sz="2000" dirty="0">
                <a:latin typeface="Agency FB" pitchFamily="34" charset="0"/>
                <a:cs typeface="Calibri" panose="020F0502020204030204" pitchFamily="34" charset="0"/>
              </a:rPr>
              <a:t>enelitian dan pengembangan Pangan;</a:t>
            </a:r>
            <a:endParaRPr lang="id-ID" sz="2000" dirty="0">
              <a:latin typeface="Agency FB" pitchFamily="34" charset="0"/>
              <a:cs typeface="Calibri" panose="020F0502020204030204" pitchFamily="34" charset="0"/>
            </a:endParaRPr>
          </a:p>
          <a:p>
            <a:pPr marL="457200" indent="-457200">
              <a:buFont typeface="+mj-lt"/>
              <a:buAutoNum type="alphaLcPeriod" startAt="9"/>
            </a:pPr>
            <a:r>
              <a:rPr lang="id-ID" sz="2000" dirty="0" smtClean="0">
                <a:latin typeface="Agency FB" pitchFamily="34" charset="0"/>
                <a:cs typeface="Calibri" panose="020F0502020204030204" pitchFamily="34" charset="0"/>
              </a:rPr>
              <a:t>Kelembagaan </a:t>
            </a:r>
            <a:r>
              <a:rPr lang="id-ID" sz="2000" dirty="0">
                <a:latin typeface="Agency FB" pitchFamily="34" charset="0"/>
                <a:cs typeface="Calibri" panose="020F0502020204030204" pitchFamily="34" charset="0"/>
              </a:rPr>
              <a:t>Pangan;</a:t>
            </a:r>
          </a:p>
          <a:p>
            <a:pPr marL="457200" indent="-457200">
              <a:buFont typeface="+mj-lt"/>
              <a:buAutoNum type="alphaLcPeriod" startAt="9"/>
            </a:pPr>
            <a:r>
              <a:rPr lang="id-ID" sz="2000" dirty="0">
                <a:latin typeface="Agency FB" pitchFamily="34" charset="0"/>
                <a:cs typeface="Calibri" panose="020F0502020204030204" pitchFamily="34" charset="0"/>
              </a:rPr>
              <a:t>P</a:t>
            </a:r>
            <a:r>
              <a:rPr lang="fi-FI" sz="2000" dirty="0">
                <a:latin typeface="Agency FB" pitchFamily="34" charset="0"/>
                <a:cs typeface="Calibri" panose="020F0502020204030204" pitchFamily="34" charset="0"/>
              </a:rPr>
              <a:t>eran serta masyarakat; dan</a:t>
            </a:r>
            <a:endParaRPr lang="id-ID" sz="2000" dirty="0">
              <a:latin typeface="Agency FB" pitchFamily="34" charset="0"/>
              <a:cs typeface="Calibri" panose="020F0502020204030204" pitchFamily="34" charset="0"/>
            </a:endParaRPr>
          </a:p>
          <a:p>
            <a:pPr marL="457200" indent="-457200">
              <a:buFont typeface="+mj-lt"/>
              <a:buAutoNum type="alphaLcPeriod" startAt="9"/>
            </a:pPr>
            <a:r>
              <a:rPr lang="id-ID" sz="2000" dirty="0">
                <a:latin typeface="Agency FB" pitchFamily="34" charset="0"/>
                <a:cs typeface="Calibri" panose="020F0502020204030204" pitchFamily="34" charset="0"/>
              </a:rPr>
              <a:t>Penyidikan.</a:t>
            </a:r>
          </a:p>
        </p:txBody>
      </p:sp>
    </p:spTree>
    <p:extLst>
      <p:ext uri="{BB962C8B-B14F-4D97-AF65-F5344CB8AC3E}">
        <p14:creationId xmlns:p14="http://schemas.microsoft.com/office/powerpoint/2010/main" val="42326343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420413" y="771465"/>
            <a:ext cx="11619187" cy="5816977"/>
          </a:xfrm>
          <a:prstGeom prst="rect">
            <a:avLst/>
          </a:prstGeom>
        </p:spPr>
        <p:txBody>
          <a:bodyPr wrap="square">
            <a:spAutoFit/>
          </a:bodyPr>
          <a:lstStyle/>
          <a:p>
            <a:r>
              <a:rPr lang="id-ID" sz="2000" b="1" dirty="0" smtClean="0">
                <a:solidFill>
                  <a:srgbClr val="C00000"/>
                </a:solidFill>
                <a:latin typeface="Agency FB" pitchFamily="34" charset="0"/>
              </a:rPr>
              <a:t>Pasal </a:t>
            </a:r>
            <a:r>
              <a:rPr lang="id-ID" sz="2000" b="1" dirty="0">
                <a:solidFill>
                  <a:srgbClr val="C00000"/>
                </a:solidFill>
                <a:latin typeface="Agency FB" pitchFamily="34" charset="0"/>
              </a:rPr>
              <a:t>18 </a:t>
            </a:r>
            <a:endParaRPr lang="id-ID" sz="2000" b="1" dirty="0" smtClean="0">
              <a:solidFill>
                <a:srgbClr val="C00000"/>
              </a:solidFill>
              <a:latin typeface="Agency FB" pitchFamily="34" charset="0"/>
            </a:endParaRPr>
          </a:p>
          <a:p>
            <a:r>
              <a:rPr lang="id-ID" sz="2400" b="1" dirty="0" smtClean="0">
                <a:latin typeface="Agency FB" pitchFamily="34" charset="0"/>
              </a:rPr>
              <a:t>Pemerintah </a:t>
            </a:r>
            <a:r>
              <a:rPr lang="id-ID" sz="2400" b="1" dirty="0">
                <a:latin typeface="Agency FB" pitchFamily="34" charset="0"/>
              </a:rPr>
              <a:t>dan Pemerintah Daerah</a:t>
            </a:r>
            <a:r>
              <a:rPr lang="id-ID" sz="2000" b="1" dirty="0">
                <a:latin typeface="Agency FB" pitchFamily="34" charset="0"/>
              </a:rPr>
              <a:t> </a:t>
            </a:r>
            <a:r>
              <a:rPr lang="id-ID" sz="2000" dirty="0">
                <a:latin typeface="Agency FB" pitchFamily="34" charset="0"/>
              </a:rPr>
              <a:t>dalam memenuhi kebutuhan Pangan berkewajiban: </a:t>
            </a:r>
            <a:endParaRPr lang="id-ID" sz="2000" dirty="0" smtClean="0">
              <a:latin typeface="Agency FB" pitchFamily="34" charset="0"/>
            </a:endParaRPr>
          </a:p>
          <a:p>
            <a:pPr marL="342900" indent="-342900">
              <a:buFont typeface="+mj-lt"/>
              <a:buAutoNum type="arabicPeriod"/>
            </a:pPr>
            <a:r>
              <a:rPr lang="id-ID" sz="2000" dirty="0">
                <a:latin typeface="Agency FB" pitchFamily="34" charset="0"/>
              </a:rPr>
              <a:t>M</a:t>
            </a:r>
            <a:r>
              <a:rPr lang="id-ID" sz="2000" dirty="0" smtClean="0">
                <a:latin typeface="Agency FB" pitchFamily="34" charset="0"/>
              </a:rPr>
              <a:t>engatur</a:t>
            </a:r>
            <a:r>
              <a:rPr lang="id-ID" sz="2000" dirty="0">
                <a:latin typeface="Agency FB" pitchFamily="34" charset="0"/>
              </a:rPr>
              <a:t>, mengembangkan, dan mengalokasikan lahan pertanian dan sumber daya air</a:t>
            </a:r>
            <a:r>
              <a:rPr lang="id-ID" sz="2000" dirty="0" smtClean="0">
                <a:latin typeface="Agency FB" pitchFamily="34" charset="0"/>
              </a:rPr>
              <a:t>;</a:t>
            </a:r>
          </a:p>
          <a:p>
            <a:pPr marL="342900" indent="-342900">
              <a:buFont typeface="+mj-lt"/>
              <a:buAutoNum type="arabicPeriod"/>
            </a:pPr>
            <a:r>
              <a:rPr lang="id-ID" sz="2000" dirty="0">
                <a:latin typeface="Agency FB" pitchFamily="34" charset="0"/>
              </a:rPr>
              <a:t>M</a:t>
            </a:r>
            <a:r>
              <a:rPr lang="id-ID" sz="2000" dirty="0" smtClean="0">
                <a:latin typeface="Agency FB" pitchFamily="34" charset="0"/>
              </a:rPr>
              <a:t>emberikan </a:t>
            </a:r>
            <a:r>
              <a:rPr lang="id-ID" sz="2000" dirty="0">
                <a:latin typeface="Agency FB" pitchFamily="34" charset="0"/>
              </a:rPr>
              <a:t>penyuluhan dan pendampingan</a:t>
            </a:r>
            <a:r>
              <a:rPr lang="id-ID" sz="2000" dirty="0" smtClean="0">
                <a:latin typeface="Agency FB" pitchFamily="34" charset="0"/>
              </a:rPr>
              <a:t>;</a:t>
            </a:r>
          </a:p>
          <a:p>
            <a:pPr marL="342900" indent="-342900">
              <a:buFont typeface="+mj-lt"/>
              <a:buAutoNum type="arabicPeriod"/>
            </a:pPr>
            <a:r>
              <a:rPr lang="id-ID" sz="2000" dirty="0">
                <a:latin typeface="Agency FB" pitchFamily="34" charset="0"/>
              </a:rPr>
              <a:t>M</a:t>
            </a:r>
            <a:r>
              <a:rPr lang="id-ID" sz="2000" dirty="0" smtClean="0">
                <a:latin typeface="Agency FB" pitchFamily="34" charset="0"/>
              </a:rPr>
              <a:t>enghilangkan </a:t>
            </a:r>
            <a:r>
              <a:rPr lang="id-ID" sz="2000" dirty="0">
                <a:latin typeface="Agency FB" pitchFamily="34" charset="0"/>
              </a:rPr>
              <a:t>berbagai kebijakan yang berdampak pada penurunan daya saing; </a:t>
            </a:r>
            <a:r>
              <a:rPr lang="id-ID" sz="2000" dirty="0" smtClean="0">
                <a:latin typeface="Agency FB" pitchFamily="34" charset="0"/>
              </a:rPr>
              <a:t>dan</a:t>
            </a:r>
          </a:p>
          <a:p>
            <a:pPr marL="342900" indent="-342900">
              <a:buFont typeface="+mj-lt"/>
              <a:buAutoNum type="arabicPeriod"/>
            </a:pPr>
            <a:r>
              <a:rPr lang="id-ID" sz="2400" b="1" dirty="0">
                <a:latin typeface="Agency FB" pitchFamily="34" charset="0"/>
              </a:rPr>
              <a:t>M</a:t>
            </a:r>
            <a:r>
              <a:rPr lang="id-ID" sz="2400" b="1" dirty="0" smtClean="0">
                <a:latin typeface="Agency FB" pitchFamily="34" charset="0"/>
              </a:rPr>
              <a:t>elakukan </a:t>
            </a:r>
            <a:r>
              <a:rPr lang="id-ID" sz="2400" b="1" dirty="0">
                <a:latin typeface="Agency FB" pitchFamily="34" charset="0"/>
              </a:rPr>
              <a:t>pengalokasian anggaran</a:t>
            </a:r>
            <a:r>
              <a:rPr lang="id-ID" sz="2000" b="1" dirty="0" smtClean="0">
                <a:latin typeface="Agency FB" pitchFamily="34" charset="0"/>
              </a:rPr>
              <a:t>.</a:t>
            </a:r>
            <a:endParaRPr lang="id-ID" sz="2000" b="1" dirty="0">
              <a:latin typeface="Agency FB" pitchFamily="34" charset="0"/>
            </a:endParaRPr>
          </a:p>
          <a:p>
            <a:pPr>
              <a:spcBef>
                <a:spcPts val="1200"/>
              </a:spcBef>
            </a:pPr>
            <a:r>
              <a:rPr lang="id-ID" sz="2000" b="1" dirty="0">
                <a:solidFill>
                  <a:srgbClr val="C00000"/>
                </a:solidFill>
                <a:latin typeface="Agency FB" pitchFamily="34" charset="0"/>
              </a:rPr>
              <a:t>Pasal 46 </a:t>
            </a:r>
          </a:p>
          <a:p>
            <a:pPr marL="342900" indent="-342900">
              <a:buFont typeface="+mj-lt"/>
              <a:buAutoNum type="arabicPeriod"/>
            </a:pPr>
            <a:r>
              <a:rPr lang="id-ID" sz="2400" b="1" dirty="0">
                <a:latin typeface="Agency FB" pitchFamily="34" charset="0"/>
              </a:rPr>
              <a:t>Pemerintah dan Pemerintah Daerah </a:t>
            </a:r>
            <a:r>
              <a:rPr lang="id-ID" sz="2000" dirty="0">
                <a:latin typeface="Agency FB" pitchFamily="34" charset="0"/>
              </a:rPr>
              <a:t>bertanggung jawab dalam mewujudkan </a:t>
            </a:r>
            <a:r>
              <a:rPr lang="id-ID" sz="2400" b="1" dirty="0">
                <a:latin typeface="Agency FB" pitchFamily="34" charset="0"/>
              </a:rPr>
              <a:t>keterjangkauan Pangan </a:t>
            </a:r>
            <a:r>
              <a:rPr lang="id-ID" sz="2000" dirty="0">
                <a:latin typeface="Agency FB" pitchFamily="34" charset="0"/>
              </a:rPr>
              <a:t>bagi masyarakat, rumah tangga, dan perseorangan. </a:t>
            </a:r>
            <a:endParaRPr lang="id-ID" sz="2000" dirty="0" smtClean="0">
              <a:latin typeface="Agency FB" pitchFamily="34" charset="0"/>
            </a:endParaRPr>
          </a:p>
          <a:p>
            <a:pPr marL="342900" indent="-342900">
              <a:buFont typeface="+mj-lt"/>
              <a:buAutoNum type="arabicPeriod"/>
            </a:pPr>
            <a:r>
              <a:rPr lang="id-ID" sz="2000" dirty="0" smtClean="0">
                <a:latin typeface="Agency FB" pitchFamily="34" charset="0"/>
              </a:rPr>
              <a:t>Dalam </a:t>
            </a:r>
            <a:r>
              <a:rPr lang="id-ID" sz="2000" dirty="0">
                <a:latin typeface="Agency FB" pitchFamily="34" charset="0"/>
              </a:rPr>
              <a:t>mewujudkan keterjangkauan Pangan sebagaimana dimaksud pada ayat (1), Pemerintah dan Pemerintah Daerah melaksanakan kebijakan Pemerintah di bidang: a. distribusi; b. pemasaran; c. perdagangan; d. </a:t>
            </a:r>
            <a:r>
              <a:rPr lang="id-ID" sz="2400" b="1" dirty="0">
                <a:latin typeface="Agency FB" pitchFamily="34" charset="0"/>
              </a:rPr>
              <a:t>stabilisasi pasokan dan harga Pangan Pokok</a:t>
            </a:r>
            <a:r>
              <a:rPr lang="id-ID" sz="2000" b="1" dirty="0">
                <a:latin typeface="Agency FB" pitchFamily="34" charset="0"/>
              </a:rPr>
              <a:t>; </a:t>
            </a:r>
            <a:r>
              <a:rPr lang="id-ID" sz="2000" dirty="0">
                <a:latin typeface="Agency FB" pitchFamily="34" charset="0"/>
              </a:rPr>
              <a:t>dan e.</a:t>
            </a:r>
            <a:r>
              <a:rPr lang="id-ID" sz="2000" b="1" dirty="0">
                <a:latin typeface="Agency FB" pitchFamily="34" charset="0"/>
              </a:rPr>
              <a:t> </a:t>
            </a:r>
            <a:r>
              <a:rPr lang="id-ID" sz="2400" b="1" dirty="0">
                <a:latin typeface="Agency FB" pitchFamily="34" charset="0"/>
              </a:rPr>
              <a:t>Bantuan Pangan</a:t>
            </a:r>
            <a:r>
              <a:rPr lang="id-ID" sz="2000" dirty="0" smtClean="0">
                <a:latin typeface="Agency FB" pitchFamily="34" charset="0"/>
              </a:rPr>
              <a:t>.</a:t>
            </a:r>
          </a:p>
          <a:p>
            <a:pPr>
              <a:spcBef>
                <a:spcPts val="1200"/>
              </a:spcBef>
            </a:pPr>
            <a:r>
              <a:rPr lang="id-ID" sz="2000" b="1" dirty="0">
                <a:solidFill>
                  <a:srgbClr val="C00000"/>
                </a:solidFill>
                <a:latin typeface="Agency FB" pitchFamily="34" charset="0"/>
                <a:cs typeface="Calibri" panose="020F0502020204030204" pitchFamily="34" charset="0"/>
              </a:rPr>
              <a:t>Pasal 51</a:t>
            </a:r>
          </a:p>
          <a:p>
            <a:pPr marL="342900" indent="-342900">
              <a:buFont typeface="+mj-lt"/>
              <a:buAutoNum type="arabicPeriod"/>
            </a:pPr>
            <a:r>
              <a:rPr lang="id-ID" sz="2000" b="1" dirty="0">
                <a:latin typeface="Agency FB" pitchFamily="34" charset="0"/>
                <a:cs typeface="Calibri" panose="020F0502020204030204" pitchFamily="34" charset="0"/>
              </a:rPr>
              <a:t>P</a:t>
            </a:r>
            <a:r>
              <a:rPr lang="id-ID" sz="2400" b="1" dirty="0">
                <a:latin typeface="Agency FB" pitchFamily="34" charset="0"/>
                <a:cs typeface="Calibri" panose="020F0502020204030204" pitchFamily="34" charset="0"/>
              </a:rPr>
              <a:t>emerintah</a:t>
            </a:r>
            <a:r>
              <a:rPr lang="id-ID" sz="2000" dirty="0">
                <a:latin typeface="Agency FB" pitchFamily="34" charset="0"/>
                <a:cs typeface="Calibri" panose="020F0502020204030204" pitchFamily="34" charset="0"/>
              </a:rPr>
              <a:t> berkewajiban mengatur </a:t>
            </a:r>
            <a:r>
              <a:rPr lang="id-ID" sz="2400" b="1" dirty="0">
                <a:latin typeface="Agency FB" pitchFamily="34" charset="0"/>
                <a:cs typeface="Calibri" panose="020F0502020204030204" pitchFamily="34" charset="0"/>
              </a:rPr>
              <a:t>Perdagangan Pangan</a:t>
            </a:r>
            <a:r>
              <a:rPr lang="id-ID" sz="2000" dirty="0">
                <a:latin typeface="Agency FB" pitchFamily="34" charset="0"/>
                <a:cs typeface="Calibri" panose="020F0502020204030204" pitchFamily="34" charset="0"/>
              </a:rPr>
              <a:t>.</a:t>
            </a:r>
          </a:p>
          <a:p>
            <a:pPr marL="342900" indent="-342900">
              <a:buFont typeface="+mj-lt"/>
              <a:buAutoNum type="arabicPeriod"/>
            </a:pPr>
            <a:r>
              <a:rPr lang="id-ID" sz="2000" dirty="0">
                <a:latin typeface="Agency FB" pitchFamily="34" charset="0"/>
                <a:cs typeface="Calibri" panose="020F0502020204030204" pitchFamily="34" charset="0"/>
              </a:rPr>
              <a:t>Pengaturan Perdagangan Pangan sebagaimana dimaksud pada ayat (1) bertujuan untuk: a) </a:t>
            </a:r>
            <a:r>
              <a:rPr lang="sv-SE" sz="2400" b="1" dirty="0">
                <a:latin typeface="Agency FB" pitchFamily="34" charset="0"/>
                <a:cs typeface="Calibri" panose="020F0502020204030204" pitchFamily="34" charset="0"/>
              </a:rPr>
              <a:t>stabilisasi pasokan dan harga Pangan</a:t>
            </a:r>
            <a:r>
              <a:rPr lang="sv-SE" sz="2000" dirty="0">
                <a:latin typeface="Agency FB" pitchFamily="34" charset="0"/>
                <a:cs typeface="Calibri" panose="020F0502020204030204" pitchFamily="34" charset="0"/>
              </a:rPr>
              <a:t>, terutama Pangan Pokok;</a:t>
            </a:r>
            <a:r>
              <a:rPr lang="id-ID" sz="2000" dirty="0">
                <a:latin typeface="Agency FB" pitchFamily="34" charset="0"/>
                <a:cs typeface="Calibri" panose="020F0502020204030204" pitchFamily="34" charset="0"/>
              </a:rPr>
              <a:t> b) </a:t>
            </a:r>
            <a:r>
              <a:rPr lang="es-ES" sz="2000" dirty="0" err="1">
                <a:latin typeface="Agency FB" pitchFamily="34" charset="0"/>
                <a:cs typeface="Calibri" panose="020F0502020204030204" pitchFamily="34" charset="0"/>
              </a:rPr>
              <a:t>manajemen</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Cadangan</a:t>
            </a:r>
            <a:r>
              <a:rPr lang="es-ES" sz="2000" dirty="0">
                <a:latin typeface="Agency FB" pitchFamily="34" charset="0"/>
                <a:cs typeface="Calibri" panose="020F0502020204030204" pitchFamily="34" charset="0"/>
              </a:rPr>
              <a:t> Pangan; dan</a:t>
            </a:r>
            <a:r>
              <a:rPr lang="id-ID" sz="2000" dirty="0">
                <a:latin typeface="Agency FB" pitchFamily="34" charset="0"/>
                <a:cs typeface="Calibri" panose="020F0502020204030204" pitchFamily="34" charset="0"/>
              </a:rPr>
              <a:t> c) </a:t>
            </a:r>
            <a:r>
              <a:rPr lang="sv-SE" sz="2000" dirty="0">
                <a:latin typeface="Agency FB" pitchFamily="34" charset="0"/>
                <a:cs typeface="Calibri" panose="020F0502020204030204" pitchFamily="34" charset="0"/>
              </a:rPr>
              <a:t>penciptaan iklim usaha Pangan yang sehat</a:t>
            </a:r>
            <a:r>
              <a:rPr lang="sv-SE" sz="2000" dirty="0" smtClean="0">
                <a:latin typeface="Agency FB" pitchFamily="34" charset="0"/>
                <a:cs typeface="Calibri" panose="020F0502020204030204" pitchFamily="34" charset="0"/>
              </a:rPr>
              <a:t>.</a:t>
            </a:r>
            <a:endParaRPr lang="id-ID" sz="2000" b="1" dirty="0">
              <a:solidFill>
                <a:srgbClr val="C00000"/>
              </a:solidFill>
              <a:latin typeface="Agency FB" pitchFamily="34" charset="0"/>
              <a:cs typeface="Calibri" panose="020F0502020204030204" pitchFamily="34" charset="0"/>
            </a:endParaRPr>
          </a:p>
        </p:txBody>
      </p:sp>
      <p:sp>
        <p:nvSpPr>
          <p:cNvPr id="3" name="Slide Number Placeholder 2"/>
          <p:cNvSpPr>
            <a:spLocks noGrp="1"/>
          </p:cNvSpPr>
          <p:nvPr>
            <p:ph type="sldNum" sz="quarter" idx="12"/>
          </p:nvPr>
        </p:nvSpPr>
        <p:spPr/>
        <p:txBody>
          <a:bodyPr/>
          <a:lstStyle/>
          <a:p>
            <a:fld id="{FA84A37A-AFC2-4A01-80A1-FC20F2C0D5BB}" type="slidenum">
              <a:rPr lang="en-US" smtClean="0"/>
              <a:pPr/>
              <a:t>18</a:t>
            </a:fld>
            <a:endParaRPr lang="en-US"/>
          </a:p>
        </p:txBody>
      </p:sp>
      <p:sp>
        <p:nvSpPr>
          <p:cNvPr id="5" name="Rectangle 4"/>
          <p:cNvSpPr/>
          <p:nvPr/>
        </p:nvSpPr>
        <p:spPr>
          <a:xfrm>
            <a:off x="101600" y="-49125"/>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smtClean="0">
                <a:solidFill>
                  <a:srgbClr val="002060"/>
                </a:solidFill>
                <a:latin typeface="DilleniaUPC" pitchFamily="18" charset="-34"/>
                <a:cs typeface="DilleniaUPC" pitchFamily="18" charset="-34"/>
              </a:rPr>
              <a:t>2</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7230557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00287" y="609600"/>
            <a:ext cx="11286914" cy="6001643"/>
          </a:xfrm>
          <a:prstGeom prst="rect">
            <a:avLst/>
          </a:prstGeom>
        </p:spPr>
        <p:txBody>
          <a:bodyPr wrap="square">
            <a:spAutoFit/>
          </a:bodyPr>
          <a:lstStyle/>
          <a:p>
            <a:pPr>
              <a:spcBef>
                <a:spcPts val="1200"/>
              </a:spcBef>
            </a:pPr>
            <a:r>
              <a:rPr lang="id-ID" sz="2000" b="1" dirty="0" smtClean="0">
                <a:solidFill>
                  <a:srgbClr val="C00000"/>
                </a:solidFill>
                <a:latin typeface="Agency FB" pitchFamily="34" charset="0"/>
                <a:cs typeface="Calibri" panose="020F0502020204030204" pitchFamily="34" charset="0"/>
              </a:rPr>
              <a:t>Pasal </a:t>
            </a:r>
            <a:r>
              <a:rPr lang="id-ID" sz="2000" b="1" dirty="0">
                <a:solidFill>
                  <a:srgbClr val="C00000"/>
                </a:solidFill>
                <a:latin typeface="Agency FB" pitchFamily="34" charset="0"/>
                <a:cs typeface="Calibri" panose="020F0502020204030204" pitchFamily="34" charset="0"/>
              </a:rPr>
              <a:t>55</a:t>
            </a:r>
          </a:p>
          <a:p>
            <a:pPr marL="342900" indent="-342900">
              <a:buFont typeface="+mj-lt"/>
              <a:buAutoNum type="arabicPeriod"/>
            </a:pPr>
            <a:r>
              <a:rPr lang="id-ID" sz="2400" b="1" dirty="0">
                <a:latin typeface="Agency FB" pitchFamily="34" charset="0"/>
                <a:cs typeface="Calibri" panose="020F0502020204030204" pitchFamily="34" charset="0"/>
              </a:rPr>
              <a:t>Pemerintah</a:t>
            </a:r>
            <a:r>
              <a:rPr lang="id-ID" sz="2000" b="1" dirty="0">
                <a:latin typeface="Agency FB" pitchFamily="34" charset="0"/>
                <a:cs typeface="Calibri" panose="020F0502020204030204" pitchFamily="34" charset="0"/>
              </a:rPr>
              <a:t> </a:t>
            </a:r>
            <a:r>
              <a:rPr lang="id-ID" sz="2000" dirty="0">
                <a:latin typeface="Agency FB" pitchFamily="34" charset="0"/>
                <a:cs typeface="Calibri" panose="020F0502020204030204" pitchFamily="34" charset="0"/>
              </a:rPr>
              <a:t>berkewajiban melakukan </a:t>
            </a:r>
            <a:r>
              <a:rPr lang="id-ID" sz="2400" b="1" dirty="0">
                <a:latin typeface="Agency FB" pitchFamily="34" charset="0"/>
                <a:cs typeface="Calibri" panose="020F0502020204030204" pitchFamily="34" charset="0"/>
              </a:rPr>
              <a:t>stabilisasi pasokan dan harga Pangan Pokok </a:t>
            </a:r>
            <a:r>
              <a:rPr lang="id-ID" sz="2000" dirty="0">
                <a:latin typeface="Agency FB" pitchFamily="34" charset="0"/>
                <a:cs typeface="Calibri" panose="020F0502020204030204" pitchFamily="34" charset="0"/>
              </a:rPr>
              <a:t>di tingkat produsen dan konsumen.</a:t>
            </a:r>
          </a:p>
          <a:p>
            <a:pPr marL="342900" indent="-342900">
              <a:buFont typeface="+mj-lt"/>
              <a:buAutoNum type="arabicPeriod"/>
            </a:pPr>
            <a:r>
              <a:rPr lang="id-ID" sz="2000" dirty="0">
                <a:latin typeface="Agency FB" pitchFamily="34" charset="0"/>
                <a:cs typeface="Calibri" panose="020F0502020204030204" pitchFamily="34" charset="0"/>
              </a:rPr>
              <a:t>Stabilisasi pasokan dan harga Pangan Pokok sebagaimana dimaksud pada ayat (1) dilakukan untuk </a:t>
            </a:r>
            <a:r>
              <a:rPr lang="es-ES" sz="2000" dirty="0" err="1">
                <a:latin typeface="Agency FB" pitchFamily="34" charset="0"/>
                <a:cs typeface="Calibri" panose="020F0502020204030204" pitchFamily="34" charset="0"/>
              </a:rPr>
              <a:t>melindungi</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pendapatan</a:t>
            </a:r>
            <a:r>
              <a:rPr lang="es-ES" sz="2000" dirty="0">
                <a:latin typeface="Agency FB" pitchFamily="34" charset="0"/>
                <a:cs typeface="Calibri" panose="020F0502020204030204" pitchFamily="34" charset="0"/>
              </a:rPr>
              <a:t> dan </a:t>
            </a:r>
            <a:r>
              <a:rPr lang="es-ES" sz="2000" dirty="0" err="1">
                <a:latin typeface="Agency FB" pitchFamily="34" charset="0"/>
                <a:cs typeface="Calibri" panose="020F0502020204030204" pitchFamily="34" charset="0"/>
              </a:rPr>
              <a:t>daya</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beli</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Petani</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Nelayan</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Pembudi</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Daya</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Ikan</a:t>
            </a:r>
            <a:r>
              <a:rPr lang="es-ES" sz="2000" dirty="0">
                <a:latin typeface="Agency FB" pitchFamily="34" charset="0"/>
                <a:cs typeface="Calibri" panose="020F0502020204030204" pitchFamily="34" charset="0"/>
              </a:rPr>
              <a:t>, dan </a:t>
            </a:r>
            <a:r>
              <a:rPr lang="es-ES" sz="2000" dirty="0" err="1">
                <a:latin typeface="Agency FB" pitchFamily="34" charset="0"/>
                <a:cs typeface="Calibri" panose="020F0502020204030204" pitchFamily="34" charset="0"/>
              </a:rPr>
              <a:t>Pelaku</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Usaha</a:t>
            </a:r>
            <a:r>
              <a:rPr lang="es-ES" sz="2000" dirty="0">
                <a:latin typeface="Agency FB" pitchFamily="34" charset="0"/>
                <a:cs typeface="Calibri" panose="020F0502020204030204" pitchFamily="34" charset="0"/>
              </a:rPr>
              <a:t> Pangan</a:t>
            </a:r>
            <a:r>
              <a:rPr lang="id-ID" sz="2000" dirty="0">
                <a:latin typeface="Agency FB" pitchFamily="34" charset="0"/>
                <a:cs typeface="Calibri" panose="020F0502020204030204" pitchFamily="34" charset="0"/>
              </a:rPr>
              <a:t> mikro dan kecil, serta </a:t>
            </a:r>
            <a:r>
              <a:rPr lang="id-ID" sz="2400" b="1" dirty="0">
                <a:latin typeface="Agency FB" pitchFamily="34" charset="0"/>
                <a:cs typeface="Calibri" panose="020F0502020204030204" pitchFamily="34" charset="0"/>
              </a:rPr>
              <a:t>menjaga keterjangkauan </a:t>
            </a:r>
            <a:r>
              <a:rPr lang="id-ID" sz="2000" dirty="0">
                <a:latin typeface="Agency FB" pitchFamily="34" charset="0"/>
                <a:cs typeface="Calibri" panose="020F0502020204030204" pitchFamily="34" charset="0"/>
              </a:rPr>
              <a:t>konsumen terhadap Pangan Pokok</a:t>
            </a:r>
            <a:r>
              <a:rPr lang="id-ID" sz="2000" dirty="0" smtClean="0">
                <a:latin typeface="Agency FB" pitchFamily="34" charset="0"/>
                <a:cs typeface="Calibri" panose="020F0502020204030204" pitchFamily="34" charset="0"/>
              </a:rPr>
              <a:t>.</a:t>
            </a:r>
            <a:endParaRPr lang="en-US" sz="2000" dirty="0" smtClean="0">
              <a:latin typeface="Agency FB" pitchFamily="34" charset="0"/>
              <a:cs typeface="Calibri" panose="020F0502020204030204" pitchFamily="34" charset="0"/>
            </a:endParaRPr>
          </a:p>
          <a:p>
            <a:pPr>
              <a:spcBef>
                <a:spcPts val="1200"/>
              </a:spcBef>
            </a:pPr>
            <a:r>
              <a:rPr lang="id-ID" sz="2000" b="1" dirty="0" smtClean="0">
                <a:solidFill>
                  <a:srgbClr val="C00000"/>
                </a:solidFill>
                <a:latin typeface="Agency FB" pitchFamily="34" charset="0"/>
                <a:cs typeface="Calibri" panose="020F0502020204030204" pitchFamily="34" charset="0"/>
              </a:rPr>
              <a:t>Pasal 56</a:t>
            </a:r>
          </a:p>
          <a:p>
            <a:r>
              <a:rPr lang="id-ID" sz="2000" dirty="0">
                <a:latin typeface="Agency FB" pitchFamily="34" charset="0"/>
                <a:cs typeface="Calibri" panose="020F0502020204030204" pitchFamily="34" charset="0"/>
              </a:rPr>
              <a:t>Stabilisasi pasokan dan harga Pangan Pokok sebagaimana dimaksud dalam Pasal 55 dilakukan melalui:</a:t>
            </a:r>
          </a:p>
          <a:p>
            <a:pPr marL="342900" indent="-342900">
              <a:buFont typeface="+mj-lt"/>
              <a:buAutoNum type="alphaLcPeriod"/>
            </a:pPr>
            <a:r>
              <a:rPr lang="id-ID" sz="2000" dirty="0">
                <a:latin typeface="Agency FB" pitchFamily="34" charset="0"/>
                <a:cs typeface="Calibri" panose="020F0502020204030204" pitchFamily="34" charset="0"/>
              </a:rPr>
              <a:t>P</a:t>
            </a:r>
            <a:r>
              <a:rPr lang="id-ID" sz="2000" dirty="0" smtClean="0">
                <a:latin typeface="Agency FB" pitchFamily="34" charset="0"/>
                <a:cs typeface="Calibri" panose="020F0502020204030204" pitchFamily="34" charset="0"/>
              </a:rPr>
              <a:t>enetapan </a:t>
            </a:r>
            <a:r>
              <a:rPr lang="id-ID" sz="2000" dirty="0">
                <a:latin typeface="Agency FB" pitchFamily="34" charset="0"/>
                <a:cs typeface="Calibri" panose="020F0502020204030204" pitchFamily="34" charset="0"/>
              </a:rPr>
              <a:t>harga pada tingkat produsen sebagai pedoman pembelian </a:t>
            </a:r>
            <a:r>
              <a:rPr lang="id-ID" sz="2000" dirty="0" smtClean="0">
                <a:latin typeface="Agency FB" pitchFamily="34" charset="0"/>
                <a:cs typeface="Calibri" panose="020F0502020204030204" pitchFamily="34" charset="0"/>
              </a:rPr>
              <a:t>Pemerintah;</a:t>
            </a:r>
          </a:p>
          <a:p>
            <a:pPr marL="342900" indent="-342900">
              <a:buFont typeface="+mj-lt"/>
              <a:buAutoNum type="alphaLcPeriod"/>
            </a:pPr>
            <a:r>
              <a:rPr lang="id-ID" sz="2000" dirty="0" smtClean="0">
                <a:latin typeface="Agency FB" pitchFamily="34" charset="0"/>
                <a:cs typeface="Calibri" panose="020F0502020204030204" pitchFamily="34" charset="0"/>
              </a:rPr>
              <a:t>P</a:t>
            </a:r>
            <a:r>
              <a:rPr lang="sv-SE" sz="2000" dirty="0" smtClean="0">
                <a:latin typeface="Agency FB" pitchFamily="34" charset="0"/>
                <a:cs typeface="Calibri" panose="020F0502020204030204" pitchFamily="34" charset="0"/>
              </a:rPr>
              <a:t>enetapan </a:t>
            </a:r>
            <a:r>
              <a:rPr lang="sv-SE" sz="2000" dirty="0">
                <a:latin typeface="Agency FB" pitchFamily="34" charset="0"/>
                <a:cs typeface="Calibri" panose="020F0502020204030204" pitchFamily="34" charset="0"/>
              </a:rPr>
              <a:t>harga pada tingkat konsumen sebagai pedoman bagi penjualan </a:t>
            </a:r>
            <a:r>
              <a:rPr lang="sv-SE" sz="2000" dirty="0" smtClean="0">
                <a:latin typeface="Agency FB" pitchFamily="34" charset="0"/>
                <a:cs typeface="Calibri" panose="020F0502020204030204" pitchFamily="34" charset="0"/>
              </a:rPr>
              <a:t>Pemerintah;</a:t>
            </a:r>
            <a:endParaRPr lang="id-ID" sz="2000" dirty="0" smtClean="0">
              <a:latin typeface="Agency FB" pitchFamily="34" charset="0"/>
              <a:cs typeface="Calibri" panose="020F0502020204030204" pitchFamily="34" charset="0"/>
            </a:endParaRPr>
          </a:p>
          <a:p>
            <a:pPr marL="342900" indent="-342900">
              <a:buFont typeface="+mj-lt"/>
              <a:buAutoNum type="alphaLcPeriod"/>
            </a:pPr>
            <a:r>
              <a:rPr lang="id-ID" sz="2400" b="1" dirty="0">
                <a:latin typeface="Agency FB" pitchFamily="34" charset="0"/>
                <a:cs typeface="Calibri" panose="020F0502020204030204" pitchFamily="34" charset="0"/>
              </a:rPr>
              <a:t>P</a:t>
            </a:r>
            <a:r>
              <a:rPr lang="id-ID" sz="2400" b="1" dirty="0" smtClean="0">
                <a:latin typeface="Agency FB" pitchFamily="34" charset="0"/>
                <a:cs typeface="Calibri" panose="020F0502020204030204" pitchFamily="34" charset="0"/>
              </a:rPr>
              <a:t>engelolaan </a:t>
            </a:r>
            <a:r>
              <a:rPr lang="id-ID" sz="2400" b="1" dirty="0">
                <a:latin typeface="Agency FB" pitchFamily="34" charset="0"/>
                <a:cs typeface="Calibri" panose="020F0502020204030204" pitchFamily="34" charset="0"/>
              </a:rPr>
              <a:t>dan pemeliharaan Cadangan Pangan </a:t>
            </a:r>
            <a:r>
              <a:rPr lang="id-ID" sz="2400" b="1" dirty="0" smtClean="0">
                <a:latin typeface="Agency FB" pitchFamily="34" charset="0"/>
                <a:cs typeface="Calibri" panose="020F0502020204030204" pitchFamily="34" charset="0"/>
              </a:rPr>
              <a:t>Pemerintah;</a:t>
            </a:r>
          </a:p>
          <a:p>
            <a:pPr marL="342900" indent="-342900">
              <a:buFont typeface="+mj-lt"/>
              <a:buAutoNum type="alphaLcPeriod"/>
            </a:pPr>
            <a:r>
              <a:rPr lang="id-ID" sz="2400" b="1" dirty="0">
                <a:latin typeface="Agency FB" pitchFamily="34" charset="0"/>
                <a:cs typeface="Calibri" panose="020F0502020204030204" pitchFamily="34" charset="0"/>
              </a:rPr>
              <a:t>P</a:t>
            </a:r>
            <a:r>
              <a:rPr lang="sv-SE" sz="2400" b="1" dirty="0" smtClean="0">
                <a:latin typeface="Agency FB" pitchFamily="34" charset="0"/>
                <a:cs typeface="Calibri" panose="020F0502020204030204" pitchFamily="34" charset="0"/>
              </a:rPr>
              <a:t>engaturan </a:t>
            </a:r>
            <a:r>
              <a:rPr lang="sv-SE" sz="2400" b="1" dirty="0">
                <a:latin typeface="Agency FB" pitchFamily="34" charset="0"/>
                <a:cs typeface="Calibri" panose="020F0502020204030204" pitchFamily="34" charset="0"/>
              </a:rPr>
              <a:t>dan pengelolaan pasokan </a:t>
            </a:r>
            <a:r>
              <a:rPr lang="sv-SE" sz="2400" b="1" dirty="0" smtClean="0">
                <a:latin typeface="Agency FB" pitchFamily="34" charset="0"/>
                <a:cs typeface="Calibri" panose="020F0502020204030204" pitchFamily="34" charset="0"/>
              </a:rPr>
              <a:t>Pangan;</a:t>
            </a:r>
            <a:endParaRPr lang="id-ID" sz="2400" b="1" dirty="0" smtClean="0">
              <a:latin typeface="Agency FB" pitchFamily="34" charset="0"/>
              <a:cs typeface="Calibri" panose="020F0502020204030204" pitchFamily="34" charset="0"/>
            </a:endParaRPr>
          </a:p>
          <a:p>
            <a:pPr marL="342900" indent="-342900">
              <a:buFont typeface="+mj-lt"/>
              <a:buAutoNum type="alphaLcPeriod"/>
            </a:pPr>
            <a:r>
              <a:rPr lang="id-ID" sz="2000" dirty="0">
                <a:latin typeface="Agency FB" pitchFamily="34" charset="0"/>
                <a:cs typeface="Calibri" panose="020F0502020204030204" pitchFamily="34" charset="0"/>
              </a:rPr>
              <a:t>P</a:t>
            </a:r>
            <a:r>
              <a:rPr lang="id-ID" sz="2000" dirty="0" smtClean="0">
                <a:latin typeface="Agency FB" pitchFamily="34" charset="0"/>
                <a:cs typeface="Calibri" panose="020F0502020204030204" pitchFamily="34" charset="0"/>
              </a:rPr>
              <a:t>enetapan </a:t>
            </a:r>
            <a:r>
              <a:rPr lang="id-ID" sz="2000" dirty="0">
                <a:latin typeface="Agency FB" pitchFamily="34" charset="0"/>
                <a:cs typeface="Calibri" panose="020F0502020204030204" pitchFamily="34" charset="0"/>
              </a:rPr>
              <a:t>kebijakan pajak dan/atau tarif yang berpihak pada kepentingan </a:t>
            </a:r>
            <a:r>
              <a:rPr lang="id-ID" sz="2000" dirty="0" smtClean="0">
                <a:latin typeface="Agency FB" pitchFamily="34" charset="0"/>
                <a:cs typeface="Calibri" panose="020F0502020204030204" pitchFamily="34" charset="0"/>
              </a:rPr>
              <a:t>nasional;</a:t>
            </a:r>
          </a:p>
          <a:p>
            <a:pPr marL="342900" indent="-342900">
              <a:buFont typeface="+mj-lt"/>
              <a:buAutoNum type="alphaLcPeriod"/>
            </a:pPr>
            <a:r>
              <a:rPr lang="id-ID" sz="2000" dirty="0" err="1">
                <a:latin typeface="Agency FB" pitchFamily="34" charset="0"/>
                <a:cs typeface="Calibri" panose="020F0502020204030204" pitchFamily="34" charset="0"/>
              </a:rPr>
              <a:t>P</a:t>
            </a:r>
            <a:r>
              <a:rPr lang="es-ES" sz="2000" dirty="0" err="1" smtClean="0">
                <a:latin typeface="Agency FB" pitchFamily="34" charset="0"/>
                <a:cs typeface="Calibri" panose="020F0502020204030204" pitchFamily="34" charset="0"/>
              </a:rPr>
              <a:t>engaturan</a:t>
            </a:r>
            <a:r>
              <a:rPr lang="es-ES" sz="2000" dirty="0" smtClean="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kelancaran</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distribusi</a:t>
            </a:r>
            <a:r>
              <a:rPr lang="es-ES" sz="2000" dirty="0">
                <a:latin typeface="Agency FB" pitchFamily="34" charset="0"/>
                <a:cs typeface="Calibri" panose="020F0502020204030204" pitchFamily="34" charset="0"/>
              </a:rPr>
              <a:t> </a:t>
            </a:r>
            <a:r>
              <a:rPr lang="es-ES" sz="2000" dirty="0" err="1">
                <a:latin typeface="Agency FB" pitchFamily="34" charset="0"/>
                <a:cs typeface="Calibri" panose="020F0502020204030204" pitchFamily="34" charset="0"/>
              </a:rPr>
              <a:t>antarwilayah</a:t>
            </a:r>
            <a:r>
              <a:rPr lang="es-ES" sz="2000" dirty="0">
                <a:latin typeface="Agency FB" pitchFamily="34" charset="0"/>
                <a:cs typeface="Calibri" panose="020F0502020204030204" pitchFamily="34" charset="0"/>
              </a:rPr>
              <a:t>; </a:t>
            </a:r>
            <a:r>
              <a:rPr lang="es-ES" sz="2000" dirty="0" smtClean="0">
                <a:latin typeface="Agency FB" pitchFamily="34" charset="0"/>
                <a:cs typeface="Calibri" panose="020F0502020204030204" pitchFamily="34" charset="0"/>
              </a:rPr>
              <a:t>dan/</a:t>
            </a:r>
            <a:r>
              <a:rPr lang="es-ES" sz="2000" dirty="0" err="1" smtClean="0">
                <a:latin typeface="Agency FB" pitchFamily="34" charset="0"/>
                <a:cs typeface="Calibri" panose="020F0502020204030204" pitchFamily="34" charset="0"/>
              </a:rPr>
              <a:t>atau</a:t>
            </a:r>
            <a:endParaRPr lang="id-ID" sz="2000" dirty="0">
              <a:latin typeface="Agency FB" pitchFamily="34" charset="0"/>
              <a:cs typeface="Calibri" panose="020F0502020204030204" pitchFamily="34" charset="0"/>
            </a:endParaRPr>
          </a:p>
          <a:p>
            <a:pPr marL="342900" indent="-342900">
              <a:buFont typeface="+mj-lt"/>
              <a:buAutoNum type="alphaLcPeriod"/>
            </a:pPr>
            <a:r>
              <a:rPr lang="id-ID" sz="2000" dirty="0">
                <a:latin typeface="Agency FB" pitchFamily="34" charset="0"/>
                <a:cs typeface="Calibri" panose="020F0502020204030204" pitchFamily="34" charset="0"/>
              </a:rPr>
              <a:t>P</a:t>
            </a:r>
            <a:r>
              <a:rPr lang="id-ID" sz="2000" dirty="0" smtClean="0">
                <a:latin typeface="Agency FB" pitchFamily="34" charset="0"/>
                <a:cs typeface="Calibri" panose="020F0502020204030204" pitchFamily="34" charset="0"/>
              </a:rPr>
              <a:t>engaturan </a:t>
            </a:r>
            <a:r>
              <a:rPr lang="id-ID" sz="2000" dirty="0">
                <a:latin typeface="Agency FB" pitchFamily="34" charset="0"/>
                <a:cs typeface="Calibri" panose="020F0502020204030204" pitchFamily="34" charset="0"/>
              </a:rPr>
              <a:t>Ekspor Pangan dan Impor Pangan.</a:t>
            </a:r>
          </a:p>
          <a:p>
            <a:pPr>
              <a:spcBef>
                <a:spcPts val="1200"/>
              </a:spcBef>
            </a:pPr>
            <a:r>
              <a:rPr lang="id-ID" sz="2000" b="1" dirty="0" smtClean="0">
                <a:solidFill>
                  <a:srgbClr val="C00000"/>
                </a:solidFill>
                <a:latin typeface="Agency FB" pitchFamily="34" charset="0"/>
                <a:cs typeface="Calibri" panose="020F0502020204030204" pitchFamily="34" charset="0"/>
              </a:rPr>
              <a:t>Pasal 58</a:t>
            </a:r>
          </a:p>
          <a:p>
            <a:r>
              <a:rPr lang="sv-SE" sz="2400" b="1" dirty="0" smtClean="0">
                <a:latin typeface="Agency FB" pitchFamily="34" charset="0"/>
                <a:cs typeface="Calibri" panose="020F0502020204030204" pitchFamily="34" charset="0"/>
              </a:rPr>
              <a:t>Pemerintah dan Pemerintah Daerah </a:t>
            </a:r>
            <a:r>
              <a:rPr lang="sv-SE" sz="2000" dirty="0" smtClean="0">
                <a:latin typeface="Agency FB" pitchFamily="34" charset="0"/>
                <a:cs typeface="Calibri" panose="020F0502020204030204" pitchFamily="34" charset="0"/>
              </a:rPr>
              <a:t>bertanggung jawab dalam </a:t>
            </a:r>
            <a:r>
              <a:rPr lang="sv-SE" sz="2400" b="1" dirty="0" smtClean="0">
                <a:latin typeface="Agency FB" pitchFamily="34" charset="0"/>
                <a:cs typeface="Calibri" panose="020F0502020204030204" pitchFamily="34" charset="0"/>
              </a:rPr>
              <a:t>penyediaan dan penyaluran Pangan</a:t>
            </a:r>
            <a:r>
              <a:rPr lang="id-ID" sz="2400" b="1" dirty="0" smtClean="0">
                <a:latin typeface="Agency FB" pitchFamily="34" charset="0"/>
                <a:cs typeface="Calibri" panose="020F0502020204030204" pitchFamily="34" charset="0"/>
              </a:rPr>
              <a:t> Pokok</a:t>
            </a:r>
            <a:r>
              <a:rPr lang="id-ID" sz="2400" dirty="0" smtClean="0">
                <a:latin typeface="Agency FB" pitchFamily="34" charset="0"/>
                <a:cs typeface="Calibri" panose="020F0502020204030204" pitchFamily="34" charset="0"/>
              </a:rPr>
              <a:t> </a:t>
            </a:r>
            <a:r>
              <a:rPr lang="id-ID" sz="2000" dirty="0" smtClean="0">
                <a:latin typeface="Agency FB" pitchFamily="34" charset="0"/>
                <a:cs typeface="Calibri" panose="020F0502020204030204" pitchFamily="34" charset="0"/>
              </a:rPr>
              <a:t>dan/atau Pangan lainnya sesuai dengan kebutuhan, baik bagi </a:t>
            </a:r>
            <a:r>
              <a:rPr lang="id-ID" sz="2400" b="1" dirty="0" smtClean="0">
                <a:latin typeface="Agency FB" pitchFamily="34" charset="0"/>
                <a:cs typeface="Calibri" panose="020F0502020204030204" pitchFamily="34" charset="0"/>
              </a:rPr>
              <a:t>masyarakat miskin</a:t>
            </a:r>
            <a:r>
              <a:rPr lang="id-ID" sz="2000" dirty="0" smtClean="0">
                <a:latin typeface="Agency FB" pitchFamily="34" charset="0"/>
                <a:cs typeface="Calibri" panose="020F0502020204030204" pitchFamily="34" charset="0"/>
              </a:rPr>
              <a:t>, rawan Pangan </a:t>
            </a:r>
            <a:r>
              <a:rPr lang="nl-NL" sz="2000" dirty="0" smtClean="0">
                <a:latin typeface="Agency FB" pitchFamily="34" charset="0"/>
                <a:cs typeface="Calibri" panose="020F0502020204030204" pitchFamily="34" charset="0"/>
              </a:rPr>
              <a:t>dan Gizi, maupun dalam keadaan darurat.</a:t>
            </a:r>
            <a:endParaRPr lang="id-ID" sz="2000" dirty="0" smtClean="0">
              <a:latin typeface="Agency FB" pitchFamily="34" charset="0"/>
              <a:cs typeface="Calibri" panose="020F0502020204030204" pitchFamily="34" charset="0"/>
            </a:endParaRPr>
          </a:p>
        </p:txBody>
      </p:sp>
      <p:sp>
        <p:nvSpPr>
          <p:cNvPr id="3" name="Slide Number Placeholder 2"/>
          <p:cNvSpPr>
            <a:spLocks noGrp="1"/>
          </p:cNvSpPr>
          <p:nvPr>
            <p:ph type="sldNum" sz="quarter" idx="12"/>
          </p:nvPr>
        </p:nvSpPr>
        <p:spPr/>
        <p:txBody>
          <a:bodyPr/>
          <a:lstStyle/>
          <a:p>
            <a:fld id="{FA84A37A-AFC2-4A01-80A1-FC20F2C0D5BB}" type="slidenum">
              <a:rPr lang="en-US" smtClean="0"/>
              <a:pPr/>
              <a:t>19</a:t>
            </a:fld>
            <a:endParaRPr lang="en-US"/>
          </a:p>
        </p:txBody>
      </p:sp>
      <p:sp>
        <p:nvSpPr>
          <p:cNvPr id="5" name="Rectangle 4"/>
          <p:cNvSpPr/>
          <p:nvPr/>
        </p:nvSpPr>
        <p:spPr>
          <a:xfrm>
            <a:off x="101600" y="-49125"/>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smtClean="0">
                <a:solidFill>
                  <a:srgbClr val="002060"/>
                </a:solidFill>
                <a:latin typeface="DilleniaUPC" pitchFamily="18" charset="-34"/>
                <a:cs typeface="DilleniaUPC" pitchFamily="18" charset="-34"/>
              </a:rPr>
              <a:t>3</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42474854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Rectangle 9"/>
          <p:cNvSpPr/>
          <p:nvPr/>
        </p:nvSpPr>
        <p:spPr>
          <a:xfrm>
            <a:off x="302173" y="175300"/>
            <a:ext cx="536027" cy="110799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357792" y="5449614"/>
            <a:ext cx="11309913" cy="552450"/>
          </a:xfrm>
          <a:prstGeom prst="rect">
            <a:avLst/>
          </a:prstGeom>
        </p:spPr>
        <p:txBody>
          <a:bodyPr vert="horz" lIns="91438" tIns="45719" rIns="91438" bIns="45719" rtlCol="0" anchor="ctr">
            <a:noAutofit/>
          </a:bodyPr>
          <a:lstStyle/>
          <a:p>
            <a:pPr>
              <a:spcBef>
                <a:spcPts val="600"/>
              </a:spcBef>
              <a:spcAft>
                <a:spcPts val="600"/>
              </a:spcAft>
              <a:defRPr/>
            </a:pPr>
            <a:r>
              <a:rPr lang="en-US" sz="4000" b="1" dirty="0">
                <a:solidFill>
                  <a:srgbClr val="002060"/>
                </a:solidFill>
                <a:latin typeface="DilleniaUPC" pitchFamily="18" charset="-34"/>
                <a:cs typeface="DilleniaUPC" pitchFamily="18" charset="-34"/>
              </a:rPr>
              <a:t>DASAR HUKUM</a:t>
            </a:r>
          </a:p>
        </p:txBody>
      </p:sp>
      <p:pic>
        <p:nvPicPr>
          <p:cNvPr id="3" name="Picture 6" descr="http://kfk.kompas.com/image/preview/aW1hZ2VzL3Nma19waG90b3Mvc2ZrX3Bob3Rvc18xMzAwNTQzMzUyX0daeHA1dE1JLmpwZw%3D%3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8800" y="439738"/>
            <a:ext cx="5736247" cy="3827462"/>
          </a:xfrm>
          <a:prstGeom prst="roundRect">
            <a:avLst>
              <a:gd name="adj" fmla="val 12730"/>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Rectangle 1"/>
          <p:cNvSpPr/>
          <p:nvPr/>
        </p:nvSpPr>
        <p:spPr>
          <a:xfrm>
            <a:off x="317413" y="129580"/>
            <a:ext cx="4634602" cy="1107996"/>
          </a:xfrm>
          <a:prstGeom prst="rect">
            <a:avLst/>
          </a:prstGeom>
        </p:spPr>
        <p:txBody>
          <a:bodyPr wrap="none">
            <a:spAutoFit/>
          </a:bodyPr>
          <a:lstStyle/>
          <a:p>
            <a:pPr>
              <a:spcBef>
                <a:spcPts val="600"/>
              </a:spcBef>
              <a:spcAft>
                <a:spcPts val="600"/>
              </a:spcAft>
              <a:defRPr/>
            </a:pPr>
            <a:r>
              <a:rPr lang="id-ID" sz="6600" b="1" dirty="0" smtClean="0">
                <a:solidFill>
                  <a:srgbClr val="002060"/>
                </a:solidFill>
                <a:latin typeface="DilleniaUPC" pitchFamily="18" charset="-34"/>
                <a:cs typeface="DilleniaUPC" pitchFamily="18" charset="-34"/>
              </a:rPr>
              <a:t>S</a:t>
            </a:r>
            <a:r>
              <a:rPr lang="id-ID" sz="6000" b="1" dirty="0" smtClean="0">
                <a:solidFill>
                  <a:srgbClr val="002060"/>
                </a:solidFill>
                <a:latin typeface="DilleniaUPC" pitchFamily="18" charset="-34"/>
                <a:cs typeface="DilleniaUPC" pitchFamily="18" charset="-34"/>
              </a:rPr>
              <a:t>TRUKTUR MATERI</a:t>
            </a:r>
            <a:endParaRPr lang="en-US" sz="6000" b="1" dirty="0">
              <a:solidFill>
                <a:srgbClr val="002060"/>
              </a:solidFill>
              <a:latin typeface="DilleniaUPC" pitchFamily="18" charset="-34"/>
              <a:cs typeface="DilleniaUPC" pitchFamily="18" charset="-34"/>
            </a:endParaRPr>
          </a:p>
        </p:txBody>
      </p:sp>
      <p:sp>
        <p:nvSpPr>
          <p:cNvPr id="5" name="Title 1"/>
          <p:cNvSpPr txBox="1">
            <a:spLocks/>
          </p:cNvSpPr>
          <p:nvPr/>
        </p:nvSpPr>
        <p:spPr>
          <a:xfrm>
            <a:off x="376453" y="4952987"/>
            <a:ext cx="11281483" cy="381000"/>
          </a:xfrm>
          <a:prstGeom prst="rect">
            <a:avLst/>
          </a:prstGeom>
        </p:spPr>
        <p:txBody>
          <a:bodyPr vert="horz" lIns="91438" tIns="45719" rIns="91438" bIns="45719" rtlCol="0" anchor="ctr">
            <a:noAutofit/>
          </a:bodyPr>
          <a:lstStyle/>
          <a:p>
            <a:pPr>
              <a:spcBef>
                <a:spcPts val="600"/>
              </a:spcBef>
              <a:spcAft>
                <a:spcPts val="600"/>
              </a:spcAft>
              <a:defRPr/>
            </a:pPr>
            <a:r>
              <a:rPr lang="en-US" sz="4000" b="1" dirty="0">
                <a:solidFill>
                  <a:srgbClr val="002060"/>
                </a:solidFill>
                <a:latin typeface="DilleniaUPC" pitchFamily="18" charset="-34"/>
                <a:cs typeface="DilleniaUPC" pitchFamily="18" charset="-34"/>
              </a:rPr>
              <a:t>PIHPS NASIONAL : SAAT INI &amp; YANG AKAN DATANG</a:t>
            </a:r>
            <a:endParaRPr lang="id-ID" sz="4000" b="1" dirty="0">
              <a:solidFill>
                <a:srgbClr val="002060"/>
              </a:solidFill>
              <a:latin typeface="DilleniaUPC" pitchFamily="18" charset="-34"/>
              <a:cs typeface="DilleniaUPC" pitchFamily="18" charset="-34"/>
            </a:endParaRPr>
          </a:p>
        </p:txBody>
      </p:sp>
      <p:sp>
        <p:nvSpPr>
          <p:cNvPr id="6" name="Title 1"/>
          <p:cNvSpPr txBox="1">
            <a:spLocks/>
          </p:cNvSpPr>
          <p:nvPr/>
        </p:nvSpPr>
        <p:spPr>
          <a:xfrm>
            <a:off x="361213" y="6059214"/>
            <a:ext cx="11309913" cy="493986"/>
          </a:xfrm>
          <a:prstGeom prst="rect">
            <a:avLst/>
          </a:prstGeom>
        </p:spPr>
        <p:txBody>
          <a:bodyPr vert="horz" lIns="91438" tIns="45719" rIns="91438" bIns="45719" rtlCol="0" anchor="ctr">
            <a:noAutofit/>
          </a:bodyPr>
          <a:lstStyle/>
          <a:p>
            <a:pPr>
              <a:spcBef>
                <a:spcPts val="600"/>
              </a:spcBef>
              <a:spcAft>
                <a:spcPts val="600"/>
              </a:spcAft>
              <a:defRPr/>
            </a:pPr>
            <a:r>
              <a:rPr lang="en-US" sz="4000" b="1" dirty="0">
                <a:solidFill>
                  <a:srgbClr val="002060"/>
                </a:solidFill>
                <a:latin typeface="DilleniaUPC" pitchFamily="18" charset="-34"/>
                <a:cs typeface="DilleniaUPC" pitchFamily="18" charset="-34"/>
              </a:rPr>
              <a:t>KEGIATAN POKJANAS TPID TAHUN 2016</a:t>
            </a:r>
          </a:p>
        </p:txBody>
      </p:sp>
      <p:sp>
        <p:nvSpPr>
          <p:cNvPr id="8" name="Slide Number Placeholder 7"/>
          <p:cNvSpPr>
            <a:spLocks noGrp="1"/>
          </p:cNvSpPr>
          <p:nvPr>
            <p:ph type="sldNum" sz="quarter" idx="12"/>
          </p:nvPr>
        </p:nvSpPr>
        <p:spPr>
          <a:xfrm>
            <a:off x="9067800" y="6328075"/>
            <a:ext cx="2844800" cy="365125"/>
          </a:xfrm>
        </p:spPr>
        <p:txBody>
          <a:bodyPr/>
          <a:lstStyle/>
          <a:p>
            <a:fld id="{7D08530B-D843-4B68-A89E-667FFE5D1D6F}" type="slidenum">
              <a:rPr lang="en-US" sz="1400" smtClean="0"/>
              <a:t>2</a:t>
            </a:fld>
            <a:endParaRPr lang="en-US" sz="1400"/>
          </a:p>
        </p:txBody>
      </p:sp>
      <p:sp>
        <p:nvSpPr>
          <p:cNvPr id="11" name="AutoShape 2"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4"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79723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20413" y="1371600"/>
            <a:ext cx="11466787" cy="4493538"/>
          </a:xfrm>
          <a:prstGeom prst="rect">
            <a:avLst/>
          </a:prstGeom>
        </p:spPr>
        <p:txBody>
          <a:bodyPr wrap="square">
            <a:spAutoFit/>
          </a:bodyPr>
          <a:lstStyle/>
          <a:p>
            <a:pPr marL="60325" algn="just">
              <a:spcBef>
                <a:spcPts val="0"/>
              </a:spcBef>
              <a:defRPr/>
            </a:pPr>
            <a:r>
              <a:rPr lang="id-ID" sz="2000" b="1" dirty="0">
                <a:solidFill>
                  <a:srgbClr val="C00000"/>
                </a:solidFill>
                <a:latin typeface="Agency FB" pitchFamily="34" charset="0"/>
                <a:cs typeface="Calibri" panose="020F0502020204030204" pitchFamily="34" charset="0"/>
              </a:rPr>
              <a:t>Pasal 25 ayat </a:t>
            </a:r>
            <a:r>
              <a:rPr lang="id-ID" sz="2000" b="1" dirty="0" smtClean="0">
                <a:solidFill>
                  <a:srgbClr val="C00000"/>
                </a:solidFill>
                <a:latin typeface="Agency FB" pitchFamily="34" charset="0"/>
                <a:cs typeface="Calibri" panose="020F0502020204030204" pitchFamily="34" charset="0"/>
              </a:rPr>
              <a:t>1</a:t>
            </a:r>
            <a:r>
              <a:rPr lang="id-ID" sz="2000" dirty="0" smtClean="0">
                <a:latin typeface="Agency FB" pitchFamily="34" charset="0"/>
                <a:cs typeface="Calibri" panose="020F0502020204030204" pitchFamily="34" charset="0"/>
              </a:rPr>
              <a:t>: </a:t>
            </a:r>
            <a:endParaRPr lang="en-US" sz="2000" dirty="0">
              <a:latin typeface="Agency FB" pitchFamily="34" charset="0"/>
              <a:cs typeface="Calibri" panose="020F0502020204030204" pitchFamily="34" charset="0"/>
            </a:endParaRPr>
          </a:p>
          <a:p>
            <a:pPr marL="60325" algn="just">
              <a:spcBef>
                <a:spcPts val="0"/>
              </a:spcBef>
              <a:defRPr/>
            </a:pPr>
            <a:r>
              <a:rPr lang="id-ID" sz="2400" b="1" dirty="0" smtClean="0">
                <a:latin typeface="Agency FB" pitchFamily="34" charset="0"/>
                <a:cs typeface="Calibri" panose="020F0502020204030204" pitchFamily="34" charset="0"/>
              </a:rPr>
              <a:t>Pemerintah </a:t>
            </a:r>
            <a:r>
              <a:rPr lang="id-ID" sz="2400" b="1" dirty="0">
                <a:latin typeface="Agency FB" pitchFamily="34" charset="0"/>
                <a:cs typeface="Calibri" panose="020F0502020204030204" pitchFamily="34" charset="0"/>
              </a:rPr>
              <a:t>dan Pemerintah Daerah </a:t>
            </a:r>
            <a:r>
              <a:rPr lang="id-ID" sz="2000" dirty="0">
                <a:latin typeface="Agency FB" pitchFamily="34" charset="0"/>
                <a:cs typeface="Calibri" panose="020F0502020204030204" pitchFamily="34" charset="0"/>
              </a:rPr>
              <a:t>mengendalikan </a:t>
            </a:r>
            <a:r>
              <a:rPr lang="id-ID" sz="2400" b="1" dirty="0">
                <a:latin typeface="Agency FB" pitchFamily="34" charset="0"/>
                <a:cs typeface="Calibri" panose="020F0502020204030204" pitchFamily="34" charset="0"/>
              </a:rPr>
              <a:t>ketersediaan barang kebutuhan pokok dan barang penting </a:t>
            </a:r>
            <a:r>
              <a:rPr lang="id-ID" sz="2000" dirty="0">
                <a:latin typeface="Agency FB" pitchFamily="34" charset="0"/>
                <a:cs typeface="Calibri" panose="020F0502020204030204" pitchFamily="34" charset="0"/>
              </a:rPr>
              <a:t>di seluruh NKRI dalam jumlah yang memadai, mutu yang baik dan harga yang </a:t>
            </a:r>
            <a:r>
              <a:rPr lang="id-ID" sz="2000" dirty="0" smtClean="0">
                <a:latin typeface="Agency FB" pitchFamily="34" charset="0"/>
                <a:cs typeface="Calibri" panose="020F0502020204030204" pitchFamily="34" charset="0"/>
              </a:rPr>
              <a:t>terjangkau</a:t>
            </a:r>
            <a:endParaRPr lang="en-US" sz="2000" dirty="0" smtClean="0">
              <a:latin typeface="Agency FB" pitchFamily="34" charset="0"/>
              <a:cs typeface="Calibri" panose="020F0502020204030204" pitchFamily="34" charset="0"/>
            </a:endParaRPr>
          </a:p>
          <a:p>
            <a:pPr marL="60325" algn="just">
              <a:spcBef>
                <a:spcPts val="1200"/>
              </a:spcBef>
              <a:defRPr/>
            </a:pPr>
            <a:r>
              <a:rPr lang="id-ID" sz="2000" b="1" dirty="0" smtClean="0">
                <a:solidFill>
                  <a:srgbClr val="C00000"/>
                </a:solidFill>
                <a:latin typeface="Agency FB" pitchFamily="34" charset="0"/>
                <a:cs typeface="Calibri" panose="020F0502020204030204" pitchFamily="34" charset="0"/>
              </a:rPr>
              <a:t>Pasal </a:t>
            </a:r>
            <a:r>
              <a:rPr lang="id-ID" sz="2000" b="1" dirty="0">
                <a:solidFill>
                  <a:srgbClr val="C00000"/>
                </a:solidFill>
                <a:latin typeface="Agency FB" pitchFamily="34" charset="0"/>
                <a:cs typeface="Calibri" panose="020F0502020204030204" pitchFamily="34" charset="0"/>
              </a:rPr>
              <a:t>26 </a:t>
            </a:r>
            <a:r>
              <a:rPr lang="id-ID" sz="2000" b="1" dirty="0" smtClean="0">
                <a:solidFill>
                  <a:srgbClr val="C00000"/>
                </a:solidFill>
                <a:latin typeface="Agency FB" pitchFamily="34" charset="0"/>
                <a:cs typeface="Calibri" panose="020F0502020204030204" pitchFamily="34" charset="0"/>
              </a:rPr>
              <a:t>ayat 1</a:t>
            </a:r>
            <a:endParaRPr lang="en-US" sz="2000" dirty="0">
              <a:latin typeface="Agency FB" pitchFamily="34" charset="0"/>
              <a:cs typeface="Calibri" panose="020F0502020204030204" pitchFamily="34" charset="0"/>
            </a:endParaRPr>
          </a:p>
          <a:p>
            <a:pPr marL="60325" algn="just">
              <a:spcBef>
                <a:spcPts val="0"/>
              </a:spcBef>
              <a:defRPr/>
            </a:pPr>
            <a:r>
              <a:rPr lang="id-ID" sz="2000" dirty="0" smtClean="0">
                <a:latin typeface="Agency FB" pitchFamily="34" charset="0"/>
                <a:cs typeface="Calibri" panose="020F0502020204030204" pitchFamily="34" charset="0"/>
              </a:rPr>
              <a:t>Dalam </a:t>
            </a:r>
            <a:r>
              <a:rPr lang="id-ID" sz="2000" dirty="0">
                <a:latin typeface="Agency FB" pitchFamily="34" charset="0"/>
                <a:cs typeface="Calibri" panose="020F0502020204030204" pitchFamily="34" charset="0"/>
              </a:rPr>
              <a:t>kondisi tertentu yang dapat menganggu kegiatan perdagangan nasional, </a:t>
            </a:r>
            <a:r>
              <a:rPr lang="id-ID" sz="2400" b="1" dirty="0">
                <a:latin typeface="Agency FB" pitchFamily="34" charset="0"/>
                <a:cs typeface="Calibri" panose="020F0502020204030204" pitchFamily="34" charset="0"/>
              </a:rPr>
              <a:t>Pemerintah</a:t>
            </a:r>
            <a:r>
              <a:rPr lang="id-ID" sz="2400" dirty="0">
                <a:latin typeface="Agency FB" pitchFamily="34" charset="0"/>
                <a:cs typeface="Calibri" panose="020F0502020204030204" pitchFamily="34" charset="0"/>
              </a:rPr>
              <a:t> </a:t>
            </a:r>
            <a:r>
              <a:rPr lang="id-ID" sz="2000" dirty="0">
                <a:latin typeface="Agency FB" pitchFamily="34" charset="0"/>
                <a:cs typeface="Calibri" panose="020F0502020204030204" pitchFamily="34" charset="0"/>
              </a:rPr>
              <a:t>berkewajiban </a:t>
            </a:r>
            <a:r>
              <a:rPr lang="id-ID" sz="2400" b="1" dirty="0">
                <a:latin typeface="Agency FB" pitchFamily="34" charset="0"/>
                <a:cs typeface="Calibri" panose="020F0502020204030204" pitchFamily="34" charset="0"/>
              </a:rPr>
              <a:t>menjamin pasokan dan stabilisasi harga</a:t>
            </a:r>
            <a:r>
              <a:rPr lang="id-ID" sz="2000" b="1" dirty="0">
                <a:latin typeface="Agency FB" pitchFamily="34" charset="0"/>
                <a:cs typeface="Calibri" panose="020F0502020204030204" pitchFamily="34" charset="0"/>
              </a:rPr>
              <a:t> </a:t>
            </a:r>
            <a:r>
              <a:rPr lang="id-ID" sz="2000" dirty="0">
                <a:latin typeface="Agency FB" pitchFamily="34" charset="0"/>
                <a:cs typeface="Calibri" panose="020F0502020204030204" pitchFamily="34" charset="0"/>
              </a:rPr>
              <a:t>barang kebutuhan pokok dan barang </a:t>
            </a:r>
            <a:r>
              <a:rPr lang="id-ID" sz="2000" dirty="0" smtClean="0">
                <a:latin typeface="Agency FB" pitchFamily="34" charset="0"/>
                <a:cs typeface="Calibri" panose="020F0502020204030204" pitchFamily="34" charset="0"/>
              </a:rPr>
              <a:t>penting.</a:t>
            </a:r>
            <a:endParaRPr lang="en-US" sz="2000" dirty="0" smtClean="0">
              <a:latin typeface="Agency FB" pitchFamily="34" charset="0"/>
              <a:cs typeface="Calibri" panose="020F0502020204030204" pitchFamily="34" charset="0"/>
            </a:endParaRPr>
          </a:p>
          <a:p>
            <a:pPr marL="60325" algn="just">
              <a:spcBef>
                <a:spcPts val="1200"/>
              </a:spcBef>
              <a:defRPr/>
            </a:pPr>
            <a:r>
              <a:rPr lang="id-ID" sz="2000" b="1" dirty="0" smtClean="0">
                <a:solidFill>
                  <a:srgbClr val="C00000"/>
                </a:solidFill>
                <a:latin typeface="Agency FB" pitchFamily="34" charset="0"/>
                <a:cs typeface="Calibri" panose="020F0502020204030204" pitchFamily="34" charset="0"/>
              </a:rPr>
              <a:t>Pasal </a:t>
            </a:r>
            <a:r>
              <a:rPr lang="id-ID" sz="2000" b="1" dirty="0">
                <a:solidFill>
                  <a:srgbClr val="C00000"/>
                </a:solidFill>
                <a:latin typeface="Agency FB" pitchFamily="34" charset="0"/>
                <a:cs typeface="Calibri" panose="020F0502020204030204" pitchFamily="34" charset="0"/>
              </a:rPr>
              <a:t>26 ayat </a:t>
            </a:r>
            <a:r>
              <a:rPr lang="id-ID" sz="2000" b="1" dirty="0" smtClean="0">
                <a:solidFill>
                  <a:srgbClr val="C00000"/>
                </a:solidFill>
                <a:latin typeface="Agency FB" pitchFamily="34" charset="0"/>
                <a:cs typeface="Calibri" panose="020F0502020204030204" pitchFamily="34" charset="0"/>
              </a:rPr>
              <a:t>2</a:t>
            </a:r>
            <a:endParaRPr lang="en-US" sz="2000" dirty="0">
              <a:latin typeface="Agency FB" pitchFamily="34" charset="0"/>
              <a:cs typeface="Calibri" panose="020F0502020204030204" pitchFamily="34" charset="0"/>
            </a:endParaRPr>
          </a:p>
          <a:p>
            <a:pPr marL="60325" algn="just">
              <a:spcBef>
                <a:spcPts val="0"/>
              </a:spcBef>
              <a:defRPr/>
            </a:pPr>
            <a:r>
              <a:rPr lang="id-ID" sz="2000" dirty="0" smtClean="0">
                <a:latin typeface="Agency FB" pitchFamily="34" charset="0"/>
                <a:cs typeface="Calibri" panose="020F0502020204030204" pitchFamily="34" charset="0"/>
              </a:rPr>
              <a:t>Jaminan </a:t>
            </a:r>
            <a:r>
              <a:rPr lang="id-ID" sz="2000" dirty="0">
                <a:latin typeface="Agency FB" pitchFamily="34" charset="0"/>
                <a:cs typeface="Calibri" panose="020F0502020204030204" pitchFamily="34" charset="0"/>
              </a:rPr>
              <a:t>pasokan dan stabilisasi harga barang kebutuhan pokok dan barang penting dilakukan untuk menjaga </a:t>
            </a:r>
            <a:r>
              <a:rPr lang="id-ID" sz="2000" b="1" dirty="0">
                <a:latin typeface="Agency FB" pitchFamily="34" charset="0"/>
                <a:cs typeface="Calibri" panose="020F0502020204030204" pitchFamily="34" charset="0"/>
              </a:rPr>
              <a:t>keterjangkauan harga</a:t>
            </a:r>
            <a:r>
              <a:rPr lang="id-ID" sz="2000" dirty="0">
                <a:latin typeface="Agency FB" pitchFamily="34" charset="0"/>
                <a:cs typeface="Calibri" panose="020F0502020204030204" pitchFamily="34" charset="0"/>
              </a:rPr>
              <a:t> di tingkat konsumen dan melindungi pendapatan </a:t>
            </a:r>
            <a:r>
              <a:rPr lang="id-ID" sz="2000" dirty="0" smtClean="0">
                <a:latin typeface="Agency FB" pitchFamily="34" charset="0"/>
                <a:cs typeface="Calibri" panose="020F0502020204030204" pitchFamily="34" charset="0"/>
              </a:rPr>
              <a:t>produsen.</a:t>
            </a:r>
            <a:endParaRPr lang="en-US" sz="2000" dirty="0" smtClean="0">
              <a:latin typeface="Agency FB" pitchFamily="34" charset="0"/>
              <a:cs typeface="Calibri" panose="020F0502020204030204" pitchFamily="34" charset="0"/>
            </a:endParaRPr>
          </a:p>
          <a:p>
            <a:pPr marL="60325" algn="just">
              <a:spcBef>
                <a:spcPts val="1200"/>
              </a:spcBef>
              <a:defRPr/>
            </a:pPr>
            <a:r>
              <a:rPr lang="id-ID" sz="2000" b="1" dirty="0" smtClean="0">
                <a:solidFill>
                  <a:srgbClr val="C00000"/>
                </a:solidFill>
                <a:latin typeface="Agency FB" pitchFamily="34" charset="0"/>
                <a:cs typeface="Calibri" panose="020F0502020204030204" pitchFamily="34" charset="0"/>
              </a:rPr>
              <a:t>Pasal </a:t>
            </a:r>
            <a:r>
              <a:rPr lang="id-ID" sz="2000" b="1" dirty="0">
                <a:solidFill>
                  <a:srgbClr val="C00000"/>
                </a:solidFill>
                <a:latin typeface="Agency FB" pitchFamily="34" charset="0"/>
                <a:cs typeface="Calibri" panose="020F0502020204030204" pitchFamily="34" charset="0"/>
              </a:rPr>
              <a:t>26 ayat </a:t>
            </a:r>
            <a:r>
              <a:rPr lang="id-ID" sz="2000" b="1" dirty="0" smtClean="0">
                <a:solidFill>
                  <a:srgbClr val="C00000"/>
                </a:solidFill>
                <a:latin typeface="Agency FB" pitchFamily="34" charset="0"/>
                <a:cs typeface="Calibri" panose="020F0502020204030204" pitchFamily="34" charset="0"/>
              </a:rPr>
              <a:t>3</a:t>
            </a:r>
            <a:endParaRPr lang="en-US" sz="2000" dirty="0">
              <a:latin typeface="Agency FB" pitchFamily="34" charset="0"/>
              <a:cs typeface="Calibri" panose="020F0502020204030204" pitchFamily="34" charset="0"/>
            </a:endParaRPr>
          </a:p>
          <a:p>
            <a:pPr marL="60325" algn="just">
              <a:spcBef>
                <a:spcPts val="0"/>
              </a:spcBef>
              <a:defRPr/>
            </a:pPr>
            <a:r>
              <a:rPr lang="id-ID" sz="2000" dirty="0" smtClean="0">
                <a:latin typeface="Agency FB" pitchFamily="34" charset="0"/>
                <a:cs typeface="Calibri" panose="020F0502020204030204" pitchFamily="34" charset="0"/>
              </a:rPr>
              <a:t>Dalam </a:t>
            </a:r>
            <a:r>
              <a:rPr lang="id-ID" sz="2000" dirty="0">
                <a:latin typeface="Agency FB" pitchFamily="34" charset="0"/>
                <a:cs typeface="Calibri" panose="020F0502020204030204" pitchFamily="34" charset="0"/>
              </a:rPr>
              <a:t>menjamin pasokan dan </a:t>
            </a:r>
            <a:r>
              <a:rPr lang="id-ID" sz="2400" b="1" dirty="0">
                <a:latin typeface="Agency FB" pitchFamily="34" charset="0"/>
                <a:cs typeface="Calibri" panose="020F0502020204030204" pitchFamily="34" charset="0"/>
              </a:rPr>
              <a:t>Stabilisasi Harga Barang Kebutuhan Pokok dan Barang Pentin</a:t>
            </a:r>
            <a:r>
              <a:rPr lang="id-ID" sz="2000" b="1" dirty="0">
                <a:latin typeface="Agency FB" pitchFamily="34" charset="0"/>
                <a:cs typeface="Calibri" panose="020F0502020204030204" pitchFamily="34" charset="0"/>
              </a:rPr>
              <a:t>g,</a:t>
            </a:r>
            <a:r>
              <a:rPr lang="id-ID" sz="2000" i="1" dirty="0">
                <a:solidFill>
                  <a:srgbClr val="000099"/>
                </a:solidFill>
                <a:effectLst>
                  <a:outerShdw blurRad="38100" dist="38100" dir="2700000" algn="tl">
                    <a:srgbClr val="000000">
                      <a:alpha val="43137"/>
                    </a:srgbClr>
                  </a:outerShdw>
                </a:effectLst>
                <a:latin typeface="Agency FB" pitchFamily="34" charset="0"/>
                <a:cs typeface="Calibri" panose="020F0502020204030204" pitchFamily="34" charset="0"/>
              </a:rPr>
              <a:t> </a:t>
            </a:r>
            <a:r>
              <a:rPr lang="id-ID" sz="2000" dirty="0">
                <a:latin typeface="Agency FB" pitchFamily="34" charset="0"/>
                <a:cs typeface="Calibri" panose="020F0502020204030204" pitchFamily="34" charset="0"/>
              </a:rPr>
              <a:t>Menteri menetapkan kebijakan harga, pengelolaan stok dan logistik, serta pengelolaan Ekspor dan </a:t>
            </a:r>
            <a:r>
              <a:rPr lang="id-ID" sz="2000" dirty="0" smtClean="0">
                <a:latin typeface="Agency FB" pitchFamily="34" charset="0"/>
                <a:cs typeface="Calibri" panose="020F0502020204030204" pitchFamily="34" charset="0"/>
              </a:rPr>
              <a:t>Impor.</a:t>
            </a:r>
            <a:endParaRPr lang="en-US" sz="2000" dirty="0" smtClean="0">
              <a:latin typeface="Agency FB"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fld id="{FA84A37A-AFC2-4A01-80A1-FC20F2C0D5BB}" type="slidenum">
              <a:rPr lang="en-US" smtClean="0"/>
              <a:pPr/>
              <a:t>20</a:t>
            </a:fld>
            <a:endParaRPr lang="en-US"/>
          </a:p>
        </p:txBody>
      </p:sp>
      <p:sp>
        <p:nvSpPr>
          <p:cNvPr id="6" name="Rectangle 5"/>
          <p:cNvSpPr/>
          <p:nvPr/>
        </p:nvSpPr>
        <p:spPr>
          <a:xfrm>
            <a:off x="420413" y="1012349"/>
            <a:ext cx="6108700" cy="35925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3600" b="1" dirty="0">
                <a:solidFill>
                  <a:srgbClr val="002060"/>
                </a:solidFill>
                <a:latin typeface="DilleniaUPC" pitchFamily="18" charset="-34"/>
                <a:cs typeface="DilleniaUPC" pitchFamily="18" charset="-34"/>
              </a:rPr>
              <a:t>UU No. 7 Tahun 2014 </a:t>
            </a:r>
            <a:r>
              <a:rPr lang="id-ID" sz="3600" b="1" dirty="0" smtClean="0">
                <a:solidFill>
                  <a:srgbClr val="002060"/>
                </a:solidFill>
                <a:latin typeface="DilleniaUPC" pitchFamily="18" charset="-34"/>
                <a:cs typeface="DilleniaUPC" pitchFamily="18" charset="-34"/>
              </a:rPr>
              <a:t>ttg</a:t>
            </a:r>
            <a:r>
              <a:rPr lang="en-US" sz="3600" b="1" dirty="0" smtClean="0">
                <a:solidFill>
                  <a:srgbClr val="002060"/>
                </a:solidFill>
                <a:latin typeface="DilleniaUPC" pitchFamily="18" charset="-34"/>
                <a:cs typeface="DilleniaUPC" pitchFamily="18" charset="-34"/>
              </a:rPr>
              <a:t> </a:t>
            </a:r>
            <a:r>
              <a:rPr lang="id-ID" sz="3600" b="1" dirty="0" smtClean="0">
                <a:solidFill>
                  <a:srgbClr val="002060"/>
                </a:solidFill>
                <a:latin typeface="DilleniaUPC" pitchFamily="18" charset="-34"/>
                <a:cs typeface="DilleniaUPC" pitchFamily="18" charset="-34"/>
              </a:rPr>
              <a:t>Perdagangan</a:t>
            </a:r>
            <a:endParaRPr lang="id-ID" sz="3600" b="1" dirty="0">
              <a:solidFill>
                <a:srgbClr val="002060"/>
              </a:solidFill>
              <a:latin typeface="DilleniaUPC" pitchFamily="18" charset="-34"/>
              <a:cs typeface="DilleniaUPC" pitchFamily="18" charset="-34"/>
            </a:endParaRPr>
          </a:p>
        </p:txBody>
      </p:sp>
      <p:sp>
        <p:nvSpPr>
          <p:cNvPr id="8" name="Rectangle 7"/>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01600" y="-49125"/>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smtClean="0">
                <a:solidFill>
                  <a:srgbClr val="002060"/>
                </a:solidFill>
                <a:latin typeface="DilleniaUPC" pitchFamily="18" charset="-34"/>
                <a:cs typeface="DilleniaUPC" pitchFamily="18" charset="-34"/>
              </a:rPr>
              <a:t>4</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8511278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D08530B-D843-4B68-A89E-667FFE5D1D6F}" type="slidenum">
              <a:rPr lang="en-US" smtClean="0"/>
              <a:t>21</a:t>
            </a:fld>
            <a:endParaRPr lang="en-US"/>
          </a:p>
        </p:txBody>
      </p:sp>
      <p:sp>
        <p:nvSpPr>
          <p:cNvPr id="5" name="Rectangle 4"/>
          <p:cNvSpPr/>
          <p:nvPr/>
        </p:nvSpPr>
        <p:spPr>
          <a:xfrm>
            <a:off x="420413" y="897084"/>
            <a:ext cx="6885853" cy="4364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3600" b="1" dirty="0">
                <a:solidFill>
                  <a:srgbClr val="002060"/>
                </a:solidFill>
                <a:latin typeface="DilleniaUPC" pitchFamily="18" charset="-34"/>
                <a:cs typeface="DilleniaUPC" pitchFamily="18" charset="-34"/>
              </a:rPr>
              <a:t>UU No. 7 Tahun 2014 </a:t>
            </a:r>
            <a:r>
              <a:rPr lang="id-ID" sz="3600" b="1" dirty="0" smtClean="0">
                <a:solidFill>
                  <a:srgbClr val="002060"/>
                </a:solidFill>
                <a:latin typeface="DilleniaUPC" pitchFamily="18" charset="-34"/>
                <a:cs typeface="DilleniaUPC" pitchFamily="18" charset="-34"/>
              </a:rPr>
              <a:t>ttg</a:t>
            </a:r>
            <a:r>
              <a:rPr lang="en-US" sz="3600" b="1" dirty="0" smtClean="0">
                <a:solidFill>
                  <a:srgbClr val="002060"/>
                </a:solidFill>
                <a:latin typeface="DilleniaUPC" pitchFamily="18" charset="-34"/>
                <a:cs typeface="DilleniaUPC" pitchFamily="18" charset="-34"/>
              </a:rPr>
              <a:t> </a:t>
            </a:r>
            <a:r>
              <a:rPr lang="id-ID" sz="3600" b="1" dirty="0" smtClean="0">
                <a:solidFill>
                  <a:srgbClr val="002060"/>
                </a:solidFill>
                <a:latin typeface="DilleniaUPC" pitchFamily="18" charset="-34"/>
                <a:cs typeface="DilleniaUPC" pitchFamily="18" charset="-34"/>
              </a:rPr>
              <a:t>Perdagangan</a:t>
            </a:r>
            <a:r>
              <a:rPr lang="en-US" sz="3600" b="1" dirty="0" smtClean="0">
                <a:solidFill>
                  <a:srgbClr val="002060"/>
                </a:solidFill>
                <a:latin typeface="DilleniaUPC" pitchFamily="18" charset="-34"/>
                <a:cs typeface="DilleniaUPC" pitchFamily="18" charset="-34"/>
              </a:rPr>
              <a:t> (</a:t>
            </a:r>
            <a:r>
              <a:rPr lang="en-US" sz="3600" b="1" dirty="0" err="1" smtClean="0">
                <a:solidFill>
                  <a:srgbClr val="002060"/>
                </a:solidFill>
                <a:latin typeface="DilleniaUPC" pitchFamily="18" charset="-34"/>
                <a:cs typeface="DilleniaUPC" pitchFamily="18" charset="-34"/>
              </a:rPr>
              <a:t>Lanjutan</a:t>
            </a:r>
            <a:r>
              <a:rPr lang="en-US" sz="3600" b="1" dirty="0" smtClean="0">
                <a:solidFill>
                  <a:srgbClr val="002060"/>
                </a:solidFill>
                <a:latin typeface="DilleniaUPC" pitchFamily="18" charset="-34"/>
                <a:cs typeface="DilleniaUPC" pitchFamily="18" charset="-34"/>
              </a:rPr>
              <a:t>..)</a:t>
            </a:r>
            <a:endParaRPr lang="id-ID" sz="3600" b="1" dirty="0">
              <a:solidFill>
                <a:srgbClr val="002060"/>
              </a:solidFill>
              <a:latin typeface="DilleniaUPC" pitchFamily="18" charset="-34"/>
              <a:cs typeface="DilleniaUPC" pitchFamily="18" charset="-34"/>
            </a:endParaRPr>
          </a:p>
        </p:txBody>
      </p:sp>
      <p:sp>
        <p:nvSpPr>
          <p:cNvPr id="6" name="Rectangle 5"/>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01600" y="-49125"/>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smtClean="0">
                <a:solidFill>
                  <a:srgbClr val="002060"/>
                </a:solidFill>
                <a:latin typeface="DilleniaUPC" pitchFamily="18" charset="-34"/>
                <a:cs typeface="DilleniaUPC" pitchFamily="18" charset="-34"/>
              </a:rPr>
              <a:t>4</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
        <p:nvSpPr>
          <p:cNvPr id="8" name="Rectangle 7"/>
          <p:cNvSpPr/>
          <p:nvPr/>
        </p:nvSpPr>
        <p:spPr>
          <a:xfrm>
            <a:off x="335280" y="1333500"/>
            <a:ext cx="11628120" cy="5601533"/>
          </a:xfrm>
          <a:prstGeom prst="rect">
            <a:avLst/>
          </a:prstGeom>
        </p:spPr>
        <p:txBody>
          <a:bodyPr wrap="square">
            <a:spAutoFit/>
          </a:bodyPr>
          <a:lstStyle/>
          <a:p>
            <a:pPr marL="60325" algn="just">
              <a:spcBef>
                <a:spcPts val="1200"/>
              </a:spcBef>
              <a:defRPr/>
            </a:pPr>
            <a:r>
              <a:rPr lang="id-ID" sz="2000" b="1" dirty="0">
                <a:solidFill>
                  <a:srgbClr val="C00000"/>
                </a:solidFill>
                <a:latin typeface="Agency FB" pitchFamily="34" charset="0"/>
                <a:cs typeface="Calibri" panose="020F0502020204030204" pitchFamily="34" charset="0"/>
              </a:rPr>
              <a:t>Pasal </a:t>
            </a:r>
            <a:r>
              <a:rPr lang="id-ID" sz="2000" b="1" dirty="0" smtClean="0">
                <a:solidFill>
                  <a:srgbClr val="C00000"/>
                </a:solidFill>
                <a:latin typeface="Agency FB" pitchFamily="34" charset="0"/>
                <a:cs typeface="Calibri" panose="020F0502020204030204" pitchFamily="34" charset="0"/>
              </a:rPr>
              <a:t>27</a:t>
            </a:r>
            <a:endParaRPr lang="en-US" sz="2000" b="1" dirty="0" smtClean="0">
              <a:solidFill>
                <a:srgbClr val="C00000"/>
              </a:solidFill>
              <a:latin typeface="Agency FB" pitchFamily="34" charset="0"/>
              <a:cs typeface="Calibri" panose="020F0502020204030204" pitchFamily="34" charset="0"/>
            </a:endParaRPr>
          </a:p>
          <a:p>
            <a:pPr marL="60325" algn="just">
              <a:defRPr/>
            </a:pPr>
            <a:r>
              <a:rPr lang="id-ID" sz="2000" dirty="0" smtClean="0">
                <a:latin typeface="Agency FB" pitchFamily="34" charset="0"/>
                <a:cs typeface="Calibri" panose="020F0502020204030204" pitchFamily="34" charset="0"/>
              </a:rPr>
              <a:t>Dalam rangka pengendalian ketersediaan, stabilisasi harga, dan distribusi barang kebutuhan pokok dan barang penting, </a:t>
            </a:r>
            <a:r>
              <a:rPr lang="id-ID" sz="2000" b="1" dirty="0" smtClean="0">
                <a:latin typeface="Agency FB" pitchFamily="34" charset="0"/>
                <a:cs typeface="Calibri" panose="020F0502020204030204" pitchFamily="34" charset="0"/>
              </a:rPr>
              <a:t>Pemerintah</a:t>
            </a:r>
            <a:r>
              <a:rPr lang="id-ID" sz="2000" dirty="0" smtClean="0">
                <a:latin typeface="Agency FB" pitchFamily="34" charset="0"/>
                <a:cs typeface="Calibri" panose="020F0502020204030204" pitchFamily="34" charset="0"/>
              </a:rPr>
              <a:t> dapat </a:t>
            </a:r>
            <a:r>
              <a:rPr lang="id-ID" sz="2000" b="1" dirty="0" smtClean="0">
                <a:latin typeface="Agency FB" pitchFamily="34" charset="0"/>
                <a:cs typeface="Calibri" panose="020F0502020204030204" pitchFamily="34" charset="0"/>
              </a:rPr>
              <a:t>menunjuk Badan Usaha Milik Negara</a:t>
            </a:r>
            <a:r>
              <a:rPr lang="id-ID" sz="2000" dirty="0" smtClean="0">
                <a:latin typeface="Agency FB" pitchFamily="34" charset="0"/>
                <a:cs typeface="Calibri" panose="020F0502020204030204" pitchFamily="34" charset="0"/>
              </a:rPr>
              <a:t>.</a:t>
            </a:r>
            <a:endParaRPr lang="en-US" sz="2000" dirty="0" smtClean="0">
              <a:latin typeface="Agency FB" pitchFamily="34" charset="0"/>
              <a:cs typeface="Calibri" panose="020F0502020204030204" pitchFamily="34" charset="0"/>
            </a:endParaRPr>
          </a:p>
          <a:p>
            <a:pPr marL="60325" algn="just">
              <a:spcBef>
                <a:spcPts val="1200"/>
              </a:spcBef>
              <a:defRPr/>
            </a:pPr>
            <a:r>
              <a:rPr lang="id-ID" sz="2000" b="1" dirty="0" smtClean="0">
                <a:solidFill>
                  <a:srgbClr val="C00000"/>
                </a:solidFill>
                <a:latin typeface="Agency FB" pitchFamily="34" charset="0"/>
                <a:cs typeface="Calibri" panose="020F0502020204030204" pitchFamily="34" charset="0"/>
              </a:rPr>
              <a:t>Pasal 31</a:t>
            </a:r>
            <a:endParaRPr lang="en-US" sz="2000" b="1" dirty="0" smtClean="0">
              <a:solidFill>
                <a:srgbClr val="C00000"/>
              </a:solidFill>
              <a:latin typeface="Agency FB" pitchFamily="34" charset="0"/>
              <a:cs typeface="Calibri" panose="020F0502020204030204" pitchFamily="34" charset="0"/>
            </a:endParaRPr>
          </a:p>
          <a:p>
            <a:pPr marL="60325" algn="just">
              <a:defRPr/>
            </a:pPr>
            <a:r>
              <a:rPr lang="id-ID" sz="2000" dirty="0" smtClean="0">
                <a:latin typeface="Agency FB" pitchFamily="34" charset="0"/>
                <a:cs typeface="Calibri" panose="020F0502020204030204" pitchFamily="34" charset="0"/>
              </a:rPr>
              <a:t>Dalam hal Pemerintah Daerah mengatur mengenai langkah pemenuhan ketersediaan, stabilisasi harga dan distribusi barang kebutuhan pokok dan/atau barang penting, Pemerintah Daerah harus mengacu pada kebijakan yang ditetapkan oleh Pemerintah.</a:t>
            </a:r>
            <a:endParaRPr lang="en-US" sz="2000" dirty="0">
              <a:latin typeface="Agency FB" pitchFamily="34" charset="0"/>
              <a:cs typeface="Calibri" panose="020F0502020204030204" pitchFamily="34" charset="0"/>
            </a:endParaRPr>
          </a:p>
          <a:p>
            <a:pPr marL="60325" algn="just">
              <a:spcBef>
                <a:spcPts val="1200"/>
              </a:spcBef>
              <a:defRPr/>
            </a:pPr>
            <a:r>
              <a:rPr lang="id-ID" sz="2000" b="1" dirty="0" smtClean="0">
                <a:solidFill>
                  <a:srgbClr val="C00000"/>
                </a:solidFill>
                <a:latin typeface="Agency FB" pitchFamily="34" charset="0"/>
                <a:cs typeface="Calibri" panose="020F0502020204030204" pitchFamily="34" charset="0"/>
              </a:rPr>
              <a:t>Pasal  88</a:t>
            </a:r>
            <a:endParaRPr lang="en-US" sz="2000" dirty="0">
              <a:latin typeface="Agency FB" pitchFamily="34" charset="0"/>
              <a:cs typeface="Calibri" panose="020F0502020204030204" pitchFamily="34" charset="0"/>
            </a:endParaRPr>
          </a:p>
          <a:p>
            <a:pPr marL="60325" algn="just">
              <a:defRPr/>
            </a:pPr>
            <a:r>
              <a:rPr lang="id-ID" sz="2000" dirty="0" smtClean="0">
                <a:latin typeface="Agency FB" pitchFamily="34" charset="0"/>
                <a:cs typeface="Calibri" panose="020F0502020204030204" pitchFamily="34" charset="0"/>
              </a:rPr>
              <a:t>Menteri</a:t>
            </a:r>
            <a:r>
              <a:rPr lang="id-ID" sz="2000" dirty="0">
                <a:latin typeface="Agency FB" pitchFamily="34" charset="0"/>
                <a:cs typeface="Calibri" panose="020F0502020204030204" pitchFamily="34" charset="0"/>
              </a:rPr>
              <a:t>, Gubernur, dan Bupati/Walikota berkewajiban menyelenggarakan </a:t>
            </a:r>
            <a:r>
              <a:rPr lang="id-ID" sz="2000" b="1" dirty="0">
                <a:latin typeface="Agency FB" pitchFamily="34" charset="0"/>
                <a:cs typeface="Calibri" panose="020F0502020204030204" pitchFamily="34" charset="0"/>
              </a:rPr>
              <a:t>Sistem Informasi Perdagangan yang terintegrasi </a:t>
            </a:r>
            <a:r>
              <a:rPr lang="id-ID" sz="2000" dirty="0">
                <a:latin typeface="Agency FB" pitchFamily="34" charset="0"/>
                <a:cs typeface="Calibri" panose="020F0502020204030204" pitchFamily="34" charset="0"/>
              </a:rPr>
              <a:t>dengan sistem informasi yang dikembangkan oleh kementerian atau lembaga Pemerintah </a:t>
            </a:r>
            <a:r>
              <a:rPr lang="id-ID" sz="2000" dirty="0" smtClean="0">
                <a:latin typeface="Agency FB" pitchFamily="34" charset="0"/>
                <a:cs typeface="Calibri" panose="020F0502020204030204" pitchFamily="34" charset="0"/>
              </a:rPr>
              <a:t>nonkementerian</a:t>
            </a:r>
            <a:endParaRPr lang="en-US" sz="2000" dirty="0" smtClean="0">
              <a:latin typeface="Agency FB" pitchFamily="34" charset="0"/>
              <a:cs typeface="Calibri" panose="020F0502020204030204" pitchFamily="34" charset="0"/>
            </a:endParaRPr>
          </a:p>
          <a:p>
            <a:pPr marL="60325" algn="just">
              <a:spcBef>
                <a:spcPts val="1200"/>
              </a:spcBef>
              <a:defRPr/>
            </a:pPr>
            <a:r>
              <a:rPr lang="id-ID" sz="2000" b="1" dirty="0" smtClean="0">
                <a:solidFill>
                  <a:srgbClr val="C00000"/>
                </a:solidFill>
                <a:latin typeface="Agency FB" pitchFamily="34" charset="0"/>
                <a:cs typeface="Calibri" panose="020F0502020204030204" pitchFamily="34" charset="0"/>
              </a:rPr>
              <a:t>Pasal 93 </a:t>
            </a:r>
            <a:endParaRPr lang="en-US" sz="2000" b="1" dirty="0" smtClean="0">
              <a:solidFill>
                <a:srgbClr val="C00000"/>
              </a:solidFill>
              <a:latin typeface="Agency FB" pitchFamily="34" charset="0"/>
              <a:cs typeface="Calibri" panose="020F0502020204030204" pitchFamily="34" charset="0"/>
            </a:endParaRPr>
          </a:p>
          <a:p>
            <a:pPr marL="60325" algn="just">
              <a:defRPr/>
            </a:pPr>
            <a:r>
              <a:rPr lang="id-ID" sz="2400" b="1" dirty="0" smtClean="0">
                <a:solidFill>
                  <a:srgbClr val="000000"/>
                </a:solidFill>
                <a:latin typeface="Agency FB" pitchFamily="34" charset="0"/>
                <a:cs typeface="Calibri" panose="020F0502020204030204" pitchFamily="34" charset="0"/>
              </a:rPr>
              <a:t>Tugas Pemerintah di Bidang Perdagangan</a:t>
            </a:r>
            <a:r>
              <a:rPr lang="id-ID" sz="2000" dirty="0" smtClean="0">
                <a:solidFill>
                  <a:srgbClr val="000000"/>
                </a:solidFill>
                <a:latin typeface="Agency FB" pitchFamily="34" charset="0"/>
                <a:cs typeface="Calibri" panose="020F0502020204030204" pitchFamily="34" charset="0"/>
              </a:rPr>
              <a:t>: (e) </a:t>
            </a:r>
            <a:r>
              <a:rPr lang="id-ID" sz="2000" dirty="0">
                <a:latin typeface="Agency FB" pitchFamily="34" charset="0"/>
                <a:cs typeface="Calibri" panose="020F0502020204030204" pitchFamily="34" charset="0"/>
              </a:rPr>
              <a:t>m</a:t>
            </a:r>
            <a:r>
              <a:rPr lang="id-ID" sz="2000" dirty="0" smtClean="0">
                <a:latin typeface="Agency FB" pitchFamily="34" charset="0"/>
                <a:cs typeface="Calibri" panose="020F0502020204030204" pitchFamily="34" charset="0"/>
              </a:rPr>
              <a:t>engendalikan ketersediaan, stabilisasi harga, dan distribusi barang kebutuhan pokok dan/ atau penting.</a:t>
            </a:r>
            <a:endParaRPr lang="en-US" sz="2000" dirty="0" smtClean="0">
              <a:latin typeface="Agency FB" pitchFamily="34" charset="0"/>
              <a:cs typeface="Calibri" panose="020F0502020204030204" pitchFamily="34" charset="0"/>
            </a:endParaRPr>
          </a:p>
          <a:p>
            <a:pPr marL="60325" algn="just">
              <a:spcBef>
                <a:spcPts val="1200"/>
              </a:spcBef>
              <a:defRPr/>
            </a:pPr>
            <a:r>
              <a:rPr lang="id-ID" sz="2000" b="1" dirty="0" smtClean="0">
                <a:solidFill>
                  <a:srgbClr val="C00000"/>
                </a:solidFill>
                <a:latin typeface="Agency FB" pitchFamily="34" charset="0"/>
                <a:cs typeface="Calibri" panose="020F0502020204030204" pitchFamily="34" charset="0"/>
              </a:rPr>
              <a:t>Pasal 95</a:t>
            </a:r>
            <a:endParaRPr lang="en-US" sz="2000" b="1" dirty="0" smtClean="0">
              <a:solidFill>
                <a:srgbClr val="C00000"/>
              </a:solidFill>
              <a:latin typeface="Agency FB" pitchFamily="34" charset="0"/>
              <a:cs typeface="Calibri" panose="020F0502020204030204" pitchFamily="34" charset="0"/>
            </a:endParaRPr>
          </a:p>
          <a:p>
            <a:pPr marL="60325" algn="just">
              <a:defRPr/>
            </a:pPr>
            <a:r>
              <a:rPr lang="id-ID" sz="2400" b="1" dirty="0" smtClean="0">
                <a:solidFill>
                  <a:srgbClr val="000000"/>
                </a:solidFill>
                <a:latin typeface="Agency FB" pitchFamily="34" charset="0"/>
                <a:cs typeface="Calibri" panose="020F0502020204030204" pitchFamily="34" charset="0"/>
              </a:rPr>
              <a:t>Pemerintah Daerah bertugas</a:t>
            </a:r>
            <a:r>
              <a:rPr lang="id-ID" sz="2000" b="1" dirty="0" smtClean="0">
                <a:solidFill>
                  <a:srgbClr val="000000"/>
                </a:solidFill>
                <a:latin typeface="Agency FB" pitchFamily="34" charset="0"/>
                <a:cs typeface="Calibri" panose="020F0502020204030204" pitchFamily="34" charset="0"/>
              </a:rPr>
              <a:t>: </a:t>
            </a:r>
            <a:r>
              <a:rPr lang="id-ID" sz="2000" dirty="0" smtClean="0">
                <a:solidFill>
                  <a:srgbClr val="000000"/>
                </a:solidFill>
                <a:latin typeface="Agency FB" pitchFamily="34" charset="0"/>
                <a:cs typeface="Calibri" panose="020F0502020204030204" pitchFamily="34" charset="0"/>
              </a:rPr>
              <a:t>(c) </a:t>
            </a:r>
            <a:r>
              <a:rPr lang="id-ID" sz="2000" dirty="0" smtClean="0">
                <a:latin typeface="Agency FB" pitchFamily="34" charset="0"/>
                <a:cs typeface="Calibri" panose="020F0502020204030204" pitchFamily="34" charset="0"/>
              </a:rPr>
              <a:t>mengendalikan ketersediaan, stabilisasi harga dan distribusi barang kebutuhan pokok dan/ atau penting.</a:t>
            </a:r>
            <a:endParaRPr lang="id-ID" sz="2000" dirty="0">
              <a:latin typeface="Agency FB" pitchFamily="34" charset="0"/>
              <a:cs typeface="Calibri" panose="020F0502020204030204" pitchFamily="34" charset="0"/>
            </a:endParaRPr>
          </a:p>
        </p:txBody>
      </p:sp>
    </p:spTree>
    <p:extLst>
      <p:ext uri="{BB962C8B-B14F-4D97-AF65-F5344CB8AC3E}">
        <p14:creationId xmlns:p14="http://schemas.microsoft.com/office/powerpoint/2010/main" val="22241809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13360" y="1524000"/>
            <a:ext cx="12083845" cy="4401205"/>
          </a:xfrm>
          <a:prstGeom prst="rect">
            <a:avLst/>
          </a:prstGeom>
        </p:spPr>
        <p:txBody>
          <a:bodyPr wrap="square">
            <a:spAutoFit/>
          </a:bodyPr>
          <a:lstStyle/>
          <a:p>
            <a:pPr indent="236538" algn="just">
              <a:tabLst>
                <a:tab pos="627063" algn="l"/>
              </a:tabLst>
              <a:defRPr/>
            </a:pPr>
            <a:r>
              <a:rPr lang="id-ID" sz="2000" b="1" dirty="0" smtClean="0">
                <a:solidFill>
                  <a:srgbClr val="C00000"/>
                </a:solidFill>
                <a:latin typeface="Agency FB" pitchFamily="34" charset="0"/>
                <a:cs typeface="Calibri" panose="020F0502020204030204" pitchFamily="34" charset="0"/>
              </a:rPr>
              <a:t>Pasal 6 (ayat 2.c)</a:t>
            </a:r>
          </a:p>
          <a:p>
            <a:pPr marL="228600" indent="7938" algn="just"/>
            <a:r>
              <a:rPr lang="id-ID" sz="2000" dirty="0" smtClean="0">
                <a:latin typeface="Agency FB" pitchFamily="34" charset="0"/>
              </a:rPr>
              <a:t>Kekuasaan pengelolaan keuangan negara </a:t>
            </a:r>
            <a:r>
              <a:rPr lang="id-ID" sz="2000" dirty="0">
                <a:latin typeface="Agency FB" pitchFamily="34" charset="0"/>
              </a:rPr>
              <a:t>d</a:t>
            </a:r>
            <a:r>
              <a:rPr lang="id-ID" sz="2000" dirty="0" smtClean="0">
                <a:latin typeface="Agency FB" pitchFamily="34" charset="0"/>
              </a:rPr>
              <a:t>iserahkan </a:t>
            </a:r>
            <a:r>
              <a:rPr lang="id-ID" sz="2000" dirty="0">
                <a:latin typeface="Agency FB" pitchFamily="34" charset="0"/>
              </a:rPr>
              <a:t>kepada </a:t>
            </a:r>
            <a:r>
              <a:rPr lang="id-ID" sz="2000" dirty="0" smtClean="0">
                <a:latin typeface="Agency FB" pitchFamily="34" charset="0"/>
              </a:rPr>
              <a:t>gubernur/bupati/walikota selaku </a:t>
            </a:r>
            <a:r>
              <a:rPr lang="id-ID" sz="2000" b="1" dirty="0">
                <a:latin typeface="Agency FB" pitchFamily="34" charset="0"/>
              </a:rPr>
              <a:t>kepala pemerintahan daerah </a:t>
            </a:r>
            <a:r>
              <a:rPr lang="id-ID" sz="2000" b="1" dirty="0" smtClean="0">
                <a:latin typeface="Agency FB" pitchFamily="34" charset="0"/>
              </a:rPr>
              <a:t>untuk mengelola keuangan daerah</a:t>
            </a:r>
            <a:r>
              <a:rPr lang="id-ID" sz="2000" dirty="0" smtClean="0">
                <a:latin typeface="Agency FB" pitchFamily="34" charset="0"/>
              </a:rPr>
              <a:t> </a:t>
            </a:r>
            <a:r>
              <a:rPr lang="id-ID" sz="2000" dirty="0">
                <a:latin typeface="Agency FB" pitchFamily="34" charset="0"/>
              </a:rPr>
              <a:t>dan mewakili pemerintah daerah dalam </a:t>
            </a:r>
            <a:r>
              <a:rPr lang="id-ID" sz="2000" dirty="0" smtClean="0">
                <a:latin typeface="Agency FB" pitchFamily="34" charset="0"/>
              </a:rPr>
              <a:t>kepemilikan kekayaan </a:t>
            </a:r>
            <a:r>
              <a:rPr lang="id-ID" sz="2000" dirty="0">
                <a:latin typeface="Agency FB" pitchFamily="34" charset="0"/>
              </a:rPr>
              <a:t>daerah yang dipisahkan.</a:t>
            </a:r>
            <a:endParaRPr lang="id-ID" sz="2000" dirty="0" smtClean="0">
              <a:latin typeface="Agency FB" pitchFamily="34" charset="0"/>
              <a:cs typeface="Calibri" panose="020F0502020204030204" pitchFamily="34" charset="0"/>
            </a:endParaRPr>
          </a:p>
          <a:p>
            <a:pPr marL="239713" indent="-3175" algn="just">
              <a:tabLst>
                <a:tab pos="627063" algn="l"/>
              </a:tabLst>
              <a:defRPr/>
            </a:pPr>
            <a:endParaRPr lang="id-ID" sz="2000" b="1" dirty="0" smtClean="0">
              <a:solidFill>
                <a:srgbClr val="C00000"/>
              </a:solidFill>
              <a:latin typeface="Agency FB" pitchFamily="34" charset="0"/>
              <a:cs typeface="Calibri" panose="020F0502020204030204" pitchFamily="34" charset="0"/>
            </a:endParaRPr>
          </a:p>
          <a:p>
            <a:pPr marL="239713" indent="-3175" algn="just">
              <a:tabLst>
                <a:tab pos="627063" algn="l"/>
              </a:tabLst>
              <a:defRPr/>
            </a:pPr>
            <a:r>
              <a:rPr lang="id-ID" sz="2000" b="1" dirty="0" smtClean="0">
                <a:solidFill>
                  <a:srgbClr val="C00000"/>
                </a:solidFill>
                <a:latin typeface="Agency FB" pitchFamily="34" charset="0"/>
                <a:cs typeface="Calibri" panose="020F0502020204030204" pitchFamily="34" charset="0"/>
              </a:rPr>
              <a:t>Pasal 10 </a:t>
            </a:r>
          </a:p>
          <a:p>
            <a:pPr marL="239713" indent="-3175" algn="just"/>
            <a:r>
              <a:rPr lang="id-ID" sz="2000" dirty="0" smtClean="0">
                <a:latin typeface="Agency FB" pitchFamily="34" charset="0"/>
              </a:rPr>
              <a:t>(1) Kekuasaan </a:t>
            </a:r>
            <a:r>
              <a:rPr lang="id-ID" sz="2000" dirty="0">
                <a:latin typeface="Agency FB" pitchFamily="34" charset="0"/>
              </a:rPr>
              <a:t>pengelolaan keuangan daerah sebagaimana tersebut dalam Pasal 6 ayat (</a:t>
            </a:r>
            <a:r>
              <a:rPr lang="id-ID" sz="2000" dirty="0" smtClean="0">
                <a:latin typeface="Agency FB" pitchFamily="34" charset="0"/>
              </a:rPr>
              <a:t>2) huruf </a:t>
            </a:r>
            <a:r>
              <a:rPr lang="id-ID" sz="2000" dirty="0">
                <a:latin typeface="Agency FB" pitchFamily="34" charset="0"/>
              </a:rPr>
              <a:t>c :</a:t>
            </a:r>
          </a:p>
          <a:p>
            <a:pPr marL="461963" indent="53975" algn="just">
              <a:buFont typeface="+mj-lt"/>
              <a:buAutoNum type="alphaLcPeriod"/>
            </a:pPr>
            <a:r>
              <a:rPr lang="id-ID" sz="2000" dirty="0">
                <a:latin typeface="Agency FB" pitchFamily="34" charset="0"/>
              </a:rPr>
              <a:t> D</a:t>
            </a:r>
            <a:r>
              <a:rPr lang="id-ID" sz="2000" dirty="0" smtClean="0">
                <a:latin typeface="Agency FB" pitchFamily="34" charset="0"/>
              </a:rPr>
              <a:t>ilaksanakan </a:t>
            </a:r>
            <a:r>
              <a:rPr lang="id-ID" sz="2000" dirty="0">
                <a:latin typeface="Agency FB" pitchFamily="34" charset="0"/>
              </a:rPr>
              <a:t>oleh kepala satuan kerja pengelola keuangan daerah selaku </a:t>
            </a:r>
            <a:r>
              <a:rPr lang="id-ID" sz="2000" dirty="0" smtClean="0">
                <a:latin typeface="Agency FB" pitchFamily="34" charset="0"/>
              </a:rPr>
              <a:t>pejabat </a:t>
            </a:r>
            <a:r>
              <a:rPr lang="id-ID" sz="2000" b="1" dirty="0" smtClean="0">
                <a:latin typeface="Agency FB" pitchFamily="34" charset="0"/>
              </a:rPr>
              <a:t>pengelola APBD</a:t>
            </a:r>
            <a:r>
              <a:rPr lang="id-ID" sz="2000" dirty="0" smtClean="0">
                <a:latin typeface="Agency FB" pitchFamily="34" charset="0"/>
              </a:rPr>
              <a:t>;</a:t>
            </a:r>
          </a:p>
          <a:p>
            <a:pPr marL="625475" indent="-163513" algn="just">
              <a:buFont typeface="+mj-lt"/>
              <a:buAutoNum type="alphaLcPeriod"/>
            </a:pPr>
            <a:r>
              <a:rPr lang="id-ID" sz="2000" dirty="0">
                <a:latin typeface="Agency FB" pitchFamily="34" charset="0"/>
              </a:rPr>
              <a:t> D</a:t>
            </a:r>
            <a:r>
              <a:rPr lang="id-ID" sz="2000" dirty="0" smtClean="0">
                <a:latin typeface="Agency FB" pitchFamily="34" charset="0"/>
              </a:rPr>
              <a:t>ilaksanakan </a:t>
            </a:r>
            <a:r>
              <a:rPr lang="id-ID" sz="2000" dirty="0">
                <a:latin typeface="Agency FB" pitchFamily="34" charset="0"/>
              </a:rPr>
              <a:t>oleh kepala satuan kerja perangkat daerah selaku pejabat </a:t>
            </a:r>
            <a:r>
              <a:rPr lang="id-ID" sz="2000" dirty="0" smtClean="0">
                <a:latin typeface="Agency FB" pitchFamily="34" charset="0"/>
              </a:rPr>
              <a:t>pengguna anggaran/barang </a:t>
            </a:r>
            <a:r>
              <a:rPr lang="id-ID" sz="2000" dirty="0">
                <a:latin typeface="Agency FB" pitchFamily="34" charset="0"/>
              </a:rPr>
              <a:t> </a:t>
            </a:r>
            <a:r>
              <a:rPr lang="id-ID" sz="2000" dirty="0" smtClean="0">
                <a:latin typeface="Agency FB" pitchFamily="34" charset="0"/>
              </a:rPr>
              <a:t>  daerah.</a:t>
            </a:r>
          </a:p>
          <a:p>
            <a:pPr marL="515938" indent="-279400" algn="just"/>
            <a:r>
              <a:rPr lang="id-ID" sz="2000" dirty="0" smtClean="0">
                <a:latin typeface="Agency FB" pitchFamily="34" charset="0"/>
              </a:rPr>
              <a:t>(2) Dalam </a:t>
            </a:r>
            <a:r>
              <a:rPr lang="id-ID" sz="2000" dirty="0">
                <a:latin typeface="Agency FB" pitchFamily="34" charset="0"/>
              </a:rPr>
              <a:t>rangka pengelolaan Keuangan Daerah, Pejabat Pengelola Keuangan </a:t>
            </a:r>
            <a:r>
              <a:rPr lang="id-ID" sz="2000" dirty="0" smtClean="0">
                <a:latin typeface="Agency FB" pitchFamily="34" charset="0"/>
              </a:rPr>
              <a:t>Daerah mempunyai </a:t>
            </a:r>
            <a:r>
              <a:rPr lang="id-ID" sz="2000" dirty="0">
                <a:latin typeface="Agency FB" pitchFamily="34" charset="0"/>
              </a:rPr>
              <a:t>tugas sebagai berikut :</a:t>
            </a:r>
          </a:p>
          <a:p>
            <a:pPr marL="239713" indent="276225" algn="just"/>
            <a:r>
              <a:rPr lang="fi-FI" sz="2000" dirty="0">
                <a:latin typeface="Agency FB" pitchFamily="34" charset="0"/>
              </a:rPr>
              <a:t>a. </a:t>
            </a:r>
            <a:r>
              <a:rPr lang="id-ID" sz="2000" dirty="0" smtClean="0">
                <a:latin typeface="Agency FB" pitchFamily="34" charset="0"/>
              </a:rPr>
              <a:t>M</a:t>
            </a:r>
            <a:r>
              <a:rPr lang="fi-FI" sz="2000" dirty="0" smtClean="0">
                <a:latin typeface="Agency FB" pitchFamily="34" charset="0"/>
              </a:rPr>
              <a:t>enyusun </a:t>
            </a:r>
            <a:r>
              <a:rPr lang="fi-FI" sz="2000" dirty="0">
                <a:latin typeface="Agency FB" pitchFamily="34" charset="0"/>
              </a:rPr>
              <a:t>dan melaksanakan kebijakan </a:t>
            </a:r>
            <a:r>
              <a:rPr lang="fi-FI" sz="2000" b="1" dirty="0">
                <a:latin typeface="Agency FB" pitchFamily="34" charset="0"/>
              </a:rPr>
              <a:t>pengelolaan APBD</a:t>
            </a:r>
            <a:r>
              <a:rPr lang="fi-FI" sz="2000" dirty="0">
                <a:latin typeface="Agency FB" pitchFamily="34" charset="0"/>
              </a:rPr>
              <a:t>;</a:t>
            </a:r>
          </a:p>
          <a:p>
            <a:pPr marL="239713" indent="276225" algn="just"/>
            <a:r>
              <a:rPr lang="id-ID" sz="2000" dirty="0">
                <a:latin typeface="Agency FB" pitchFamily="34" charset="0"/>
              </a:rPr>
              <a:t>b. </a:t>
            </a:r>
            <a:r>
              <a:rPr lang="id-ID" sz="2000" dirty="0" smtClean="0">
                <a:latin typeface="Agency FB" pitchFamily="34" charset="0"/>
              </a:rPr>
              <a:t>Menyusun </a:t>
            </a:r>
            <a:r>
              <a:rPr lang="id-ID" sz="2000" dirty="0">
                <a:latin typeface="Agency FB" pitchFamily="34" charset="0"/>
              </a:rPr>
              <a:t>rancangan APBD dan rancangan Perubahan APBD;</a:t>
            </a:r>
          </a:p>
          <a:p>
            <a:pPr marL="239713" indent="276225" algn="just"/>
            <a:r>
              <a:rPr lang="id-ID" sz="2000" dirty="0">
                <a:latin typeface="Agency FB" pitchFamily="34" charset="0"/>
              </a:rPr>
              <a:t>c. </a:t>
            </a:r>
            <a:r>
              <a:rPr lang="id-ID" sz="2000" dirty="0" smtClean="0">
                <a:latin typeface="Agency FB" pitchFamily="34" charset="0"/>
              </a:rPr>
              <a:t>Melaksanakan </a:t>
            </a:r>
            <a:r>
              <a:rPr lang="id-ID" sz="2000" dirty="0">
                <a:latin typeface="Agency FB" pitchFamily="34" charset="0"/>
              </a:rPr>
              <a:t>pemungutan pendapatan daerah yang telah ditetapkan </a:t>
            </a:r>
            <a:r>
              <a:rPr lang="id-ID" sz="2000" dirty="0" smtClean="0">
                <a:latin typeface="Agency FB" pitchFamily="34" charset="0"/>
              </a:rPr>
              <a:t>dengan Peraturan </a:t>
            </a:r>
            <a:r>
              <a:rPr lang="id-ID" sz="2000" dirty="0">
                <a:latin typeface="Agency FB" pitchFamily="34" charset="0"/>
              </a:rPr>
              <a:t>Daerah;</a:t>
            </a:r>
          </a:p>
          <a:p>
            <a:pPr marL="239713" indent="276225" algn="just"/>
            <a:r>
              <a:rPr lang="id-ID" sz="2000" dirty="0">
                <a:latin typeface="Agency FB" pitchFamily="34" charset="0"/>
              </a:rPr>
              <a:t>d. </a:t>
            </a:r>
            <a:r>
              <a:rPr lang="id-ID" sz="2000" dirty="0" smtClean="0">
                <a:latin typeface="Agency FB" pitchFamily="34" charset="0"/>
              </a:rPr>
              <a:t>Melaksanakan </a:t>
            </a:r>
            <a:r>
              <a:rPr lang="id-ID" sz="2000" dirty="0">
                <a:latin typeface="Agency FB" pitchFamily="34" charset="0"/>
              </a:rPr>
              <a:t>fungsi bendahara umum daerah;</a:t>
            </a:r>
          </a:p>
          <a:p>
            <a:pPr marL="239713" indent="276225" algn="just"/>
            <a:r>
              <a:rPr lang="id-ID" sz="2000" dirty="0">
                <a:latin typeface="Agency FB" pitchFamily="34" charset="0"/>
              </a:rPr>
              <a:t>e. </a:t>
            </a:r>
            <a:r>
              <a:rPr lang="id-ID" sz="2000" dirty="0" smtClean="0">
                <a:latin typeface="Agency FB" pitchFamily="34" charset="0"/>
              </a:rPr>
              <a:t>Menyusun </a:t>
            </a:r>
            <a:r>
              <a:rPr lang="id-ID" sz="2000" dirty="0">
                <a:latin typeface="Agency FB" pitchFamily="34" charset="0"/>
              </a:rPr>
              <a:t>laporan keuangan yang merupakan per-tanggungjawaban </a:t>
            </a:r>
            <a:r>
              <a:rPr lang="id-ID" sz="2000" dirty="0" smtClean="0">
                <a:latin typeface="Agency FB" pitchFamily="34" charset="0"/>
              </a:rPr>
              <a:t>pelaksanaan APBD.</a:t>
            </a:r>
            <a:endParaRPr lang="id-ID" sz="2000" dirty="0" smtClean="0">
              <a:latin typeface="Agency FB"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fld id="{FA84A37A-AFC2-4A01-80A1-FC20F2C0D5BB}" type="slidenum">
              <a:rPr lang="en-US" smtClean="0"/>
              <a:pPr/>
              <a:t>22</a:t>
            </a:fld>
            <a:endParaRPr lang="en-US"/>
          </a:p>
        </p:txBody>
      </p:sp>
      <p:sp>
        <p:nvSpPr>
          <p:cNvPr id="6" name="Rectangle 5"/>
          <p:cNvSpPr/>
          <p:nvPr/>
        </p:nvSpPr>
        <p:spPr>
          <a:xfrm>
            <a:off x="251546" y="922484"/>
            <a:ext cx="6885853" cy="4364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3600" b="1" dirty="0">
                <a:solidFill>
                  <a:srgbClr val="002060"/>
                </a:solidFill>
                <a:latin typeface="DilleniaUPC" pitchFamily="18" charset="-34"/>
                <a:cs typeface="DilleniaUPC" pitchFamily="18" charset="-34"/>
              </a:rPr>
              <a:t>UU No. 17 Tahun 2003  ttg Keuangan Negara</a:t>
            </a:r>
          </a:p>
        </p:txBody>
      </p:sp>
      <p:sp>
        <p:nvSpPr>
          <p:cNvPr id="7" name="Rectangle 6"/>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01600" y="-49125"/>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smtClean="0">
                <a:solidFill>
                  <a:srgbClr val="002060"/>
                </a:solidFill>
                <a:latin typeface="DilleniaUPC" pitchFamily="18" charset="-34"/>
                <a:cs typeface="DilleniaUPC" pitchFamily="18" charset="-34"/>
              </a:rPr>
              <a:t>5</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18995279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0413" y="1301322"/>
            <a:ext cx="11619188" cy="3339376"/>
          </a:xfrm>
          <a:prstGeom prst="rect">
            <a:avLst/>
          </a:prstGeom>
        </p:spPr>
        <p:txBody>
          <a:bodyPr wrap="square">
            <a:spAutoFit/>
          </a:bodyPr>
          <a:lstStyle/>
          <a:p>
            <a:pPr algn="just"/>
            <a:r>
              <a:rPr lang="id-ID" sz="2000" b="1" dirty="0" smtClean="0">
                <a:solidFill>
                  <a:srgbClr val="C00000"/>
                </a:solidFill>
                <a:latin typeface="Agency FB" pitchFamily="34" charset="0"/>
                <a:cs typeface="Calibri" panose="020F0502020204030204" pitchFamily="34" charset="0"/>
              </a:rPr>
              <a:t>Pasal 5</a:t>
            </a:r>
          </a:p>
          <a:p>
            <a:pPr algn="just"/>
            <a:r>
              <a:rPr lang="id-ID" sz="2000" b="1" dirty="0" smtClean="0">
                <a:latin typeface="Agency FB" pitchFamily="34" charset="0"/>
                <a:cs typeface="Calibri" panose="020F0502020204030204" pitchFamily="34" charset="0"/>
              </a:rPr>
              <a:t>Gubernur/bupati/walikota</a:t>
            </a:r>
            <a:r>
              <a:rPr lang="id-ID" sz="2000" dirty="0" smtClean="0">
                <a:latin typeface="Agency FB" pitchFamily="34" charset="0"/>
                <a:cs typeface="Calibri" panose="020F0502020204030204" pitchFamily="34" charset="0"/>
              </a:rPr>
              <a:t> </a:t>
            </a:r>
            <a:r>
              <a:rPr lang="id-ID" sz="2000" dirty="0">
                <a:latin typeface="Agency FB" pitchFamily="34" charset="0"/>
                <a:cs typeface="Calibri" panose="020F0502020204030204" pitchFamily="34" charset="0"/>
              </a:rPr>
              <a:t>selaku Kepala Pemerintahan Daerah:</a:t>
            </a:r>
          </a:p>
          <a:p>
            <a:pPr marL="342900" indent="-342900" algn="just">
              <a:buFont typeface="+mj-lt"/>
              <a:buAutoNum type="alphaLcPeriod"/>
            </a:pPr>
            <a:r>
              <a:rPr lang="id-ID" sz="2000" b="1" dirty="0">
                <a:latin typeface="Agency FB" pitchFamily="34" charset="0"/>
                <a:cs typeface="Calibri" panose="020F0502020204030204" pitchFamily="34" charset="0"/>
              </a:rPr>
              <a:t>M</a:t>
            </a:r>
            <a:r>
              <a:rPr lang="fi-FI" sz="2000" b="1" dirty="0" smtClean="0">
                <a:latin typeface="Agency FB" pitchFamily="34" charset="0"/>
                <a:cs typeface="Calibri" panose="020F0502020204030204" pitchFamily="34" charset="0"/>
              </a:rPr>
              <a:t>enetapkan </a:t>
            </a:r>
            <a:r>
              <a:rPr lang="fi-FI" sz="2000" b="1" dirty="0">
                <a:latin typeface="Agency FB" pitchFamily="34" charset="0"/>
                <a:cs typeface="Calibri" panose="020F0502020204030204" pitchFamily="34" charset="0"/>
              </a:rPr>
              <a:t>kebijakan </a:t>
            </a:r>
            <a:r>
              <a:rPr lang="fi-FI" sz="2000" dirty="0">
                <a:latin typeface="Agency FB" pitchFamily="34" charset="0"/>
                <a:cs typeface="Calibri" panose="020F0502020204030204" pitchFamily="34" charset="0"/>
              </a:rPr>
              <a:t>tentang pelaksanaan </a:t>
            </a:r>
            <a:r>
              <a:rPr lang="fi-FI" sz="2000" b="1" dirty="0" smtClean="0">
                <a:latin typeface="Agency FB" pitchFamily="34" charset="0"/>
                <a:cs typeface="Calibri" panose="020F0502020204030204" pitchFamily="34" charset="0"/>
              </a:rPr>
              <a:t>APBD</a:t>
            </a:r>
            <a:r>
              <a:rPr lang="fi-FI" sz="2000" dirty="0" smtClean="0">
                <a:latin typeface="Agency FB" pitchFamily="34" charset="0"/>
                <a:cs typeface="Calibri" panose="020F0502020204030204" pitchFamily="34" charset="0"/>
              </a:rPr>
              <a:t>;</a:t>
            </a:r>
            <a:endParaRPr lang="id-ID" sz="2000" dirty="0" smtClean="0">
              <a:latin typeface="Agency FB" pitchFamily="34" charset="0"/>
              <a:cs typeface="Calibri" panose="020F0502020204030204" pitchFamily="34" charset="0"/>
            </a:endParaRPr>
          </a:p>
          <a:p>
            <a:pPr marL="342900" indent="-342900" algn="just">
              <a:buFont typeface="+mj-lt"/>
              <a:buAutoNum type="alphaLcPeriod"/>
            </a:pPr>
            <a:r>
              <a:rPr lang="id-ID" sz="2000" b="1" dirty="0">
                <a:latin typeface="Agency FB" pitchFamily="34" charset="0"/>
                <a:cs typeface="Calibri" panose="020F0502020204030204" pitchFamily="34" charset="0"/>
              </a:rPr>
              <a:t>M</a:t>
            </a:r>
            <a:r>
              <a:rPr lang="id-ID" sz="2000" b="1" dirty="0" smtClean="0">
                <a:latin typeface="Agency FB" pitchFamily="34" charset="0"/>
                <a:cs typeface="Calibri" panose="020F0502020204030204" pitchFamily="34" charset="0"/>
              </a:rPr>
              <a:t>enetapkan </a:t>
            </a:r>
            <a:r>
              <a:rPr lang="id-ID" sz="2000" b="1" dirty="0">
                <a:latin typeface="Agency FB" pitchFamily="34" charset="0"/>
                <a:cs typeface="Calibri" panose="020F0502020204030204" pitchFamily="34" charset="0"/>
              </a:rPr>
              <a:t>Kuasa Pengguna Anggaran</a:t>
            </a:r>
            <a:r>
              <a:rPr lang="id-ID" sz="2000" dirty="0">
                <a:latin typeface="Agency FB" pitchFamily="34" charset="0"/>
                <a:cs typeface="Calibri" panose="020F0502020204030204" pitchFamily="34" charset="0"/>
              </a:rPr>
              <a:t> dan Bendahara Penerimaan dan/atau </a:t>
            </a:r>
            <a:r>
              <a:rPr lang="id-ID" sz="2000" dirty="0" smtClean="0">
                <a:latin typeface="Agency FB" pitchFamily="34" charset="0"/>
                <a:cs typeface="Calibri" panose="020F0502020204030204" pitchFamily="34" charset="0"/>
              </a:rPr>
              <a:t>Bendahara Pengeluaran;</a:t>
            </a:r>
          </a:p>
          <a:p>
            <a:pPr algn="just"/>
            <a:endParaRPr lang="id-ID" sz="1100" dirty="0">
              <a:latin typeface="Agency FB" pitchFamily="34" charset="0"/>
              <a:cs typeface="Calibri" panose="020F0502020204030204" pitchFamily="34" charset="0"/>
            </a:endParaRPr>
          </a:p>
          <a:p>
            <a:pPr algn="just"/>
            <a:r>
              <a:rPr lang="id-ID" sz="2000" b="1" dirty="0" smtClean="0">
                <a:solidFill>
                  <a:srgbClr val="C00000"/>
                </a:solidFill>
                <a:latin typeface="Agency FB" pitchFamily="34" charset="0"/>
                <a:cs typeface="Calibri" panose="020F0502020204030204" pitchFamily="34" charset="0"/>
              </a:rPr>
              <a:t>Pasal 6</a:t>
            </a:r>
          </a:p>
          <a:p>
            <a:pPr marL="342900" indent="-342900" algn="just">
              <a:buFont typeface="+mj-lt"/>
              <a:buAutoNum type="arabicPeriod"/>
            </a:pPr>
            <a:r>
              <a:rPr lang="id-ID" sz="2000" b="1" dirty="0">
                <a:latin typeface="Agency FB" pitchFamily="34" charset="0"/>
                <a:cs typeface="Calibri" panose="020F0502020204030204" pitchFamily="34" charset="0"/>
              </a:rPr>
              <a:t>Kepala satuan kerja perangkat daerah</a:t>
            </a:r>
            <a:r>
              <a:rPr lang="id-ID" sz="2000" dirty="0">
                <a:latin typeface="Agency FB" pitchFamily="34" charset="0"/>
                <a:cs typeface="Calibri" panose="020F0502020204030204" pitchFamily="34" charset="0"/>
              </a:rPr>
              <a:t> adalah </a:t>
            </a:r>
            <a:r>
              <a:rPr lang="id-ID" sz="2000" b="1" dirty="0">
                <a:latin typeface="Agency FB" pitchFamily="34" charset="0"/>
                <a:cs typeface="Calibri" panose="020F0502020204030204" pitchFamily="34" charset="0"/>
              </a:rPr>
              <a:t>Pengguna Anggaran/Pengguna Barang </a:t>
            </a:r>
            <a:r>
              <a:rPr lang="id-ID" sz="2000" dirty="0" smtClean="0">
                <a:latin typeface="Agency FB" pitchFamily="34" charset="0"/>
                <a:cs typeface="Calibri" panose="020F0502020204030204" pitchFamily="34" charset="0"/>
              </a:rPr>
              <a:t>bagi satuan kerja perangkat </a:t>
            </a:r>
            <a:r>
              <a:rPr lang="id-ID" sz="2000" dirty="0">
                <a:latin typeface="Agency FB" pitchFamily="34" charset="0"/>
                <a:cs typeface="Calibri" panose="020F0502020204030204" pitchFamily="34" charset="0"/>
              </a:rPr>
              <a:t>daerah yang </a:t>
            </a:r>
            <a:r>
              <a:rPr lang="id-ID" sz="2000" dirty="0" smtClean="0">
                <a:latin typeface="Agency FB" pitchFamily="34" charset="0"/>
                <a:cs typeface="Calibri" panose="020F0502020204030204" pitchFamily="34" charset="0"/>
              </a:rPr>
              <a:t>dipimpinnya.</a:t>
            </a:r>
          </a:p>
          <a:p>
            <a:pPr marL="342900" indent="-342900" algn="just">
              <a:buFont typeface="+mj-lt"/>
              <a:buAutoNum type="arabicPeriod"/>
            </a:pPr>
            <a:r>
              <a:rPr lang="id-ID" sz="2000" dirty="0" smtClean="0">
                <a:latin typeface="Agency FB" pitchFamily="34" charset="0"/>
                <a:cs typeface="Calibri" panose="020F0502020204030204" pitchFamily="34" charset="0"/>
              </a:rPr>
              <a:t>Kepala </a:t>
            </a:r>
            <a:r>
              <a:rPr lang="id-ID" sz="2000" dirty="0">
                <a:latin typeface="Agency FB" pitchFamily="34" charset="0"/>
                <a:cs typeface="Calibri" panose="020F0502020204030204" pitchFamily="34" charset="0"/>
              </a:rPr>
              <a:t>satuan kerja perangkat daerah dalam melaksanakan tugasnya selaku </a:t>
            </a:r>
            <a:r>
              <a:rPr lang="id-ID" sz="2000" dirty="0" smtClean="0">
                <a:latin typeface="Agency FB" pitchFamily="34" charset="0"/>
                <a:cs typeface="Calibri" panose="020F0502020204030204" pitchFamily="34" charset="0"/>
              </a:rPr>
              <a:t>pejabat Pengguna </a:t>
            </a:r>
            <a:r>
              <a:rPr lang="id-ID" sz="2000" dirty="0">
                <a:latin typeface="Agency FB" pitchFamily="34" charset="0"/>
                <a:cs typeface="Calibri" panose="020F0502020204030204" pitchFamily="34" charset="0"/>
              </a:rPr>
              <a:t>Anggaran/Pengguna Barang satuan kerja perangkat daerah yang </a:t>
            </a:r>
            <a:r>
              <a:rPr lang="id-ID" sz="2000" dirty="0" smtClean="0">
                <a:latin typeface="Agency FB" pitchFamily="34" charset="0"/>
                <a:cs typeface="Calibri" panose="020F0502020204030204" pitchFamily="34" charset="0"/>
              </a:rPr>
              <a:t>dipimpinnya berwenang</a:t>
            </a:r>
            <a:r>
              <a:rPr lang="id-ID" sz="2000" dirty="0">
                <a:latin typeface="Agency FB" pitchFamily="34" charset="0"/>
                <a:cs typeface="Calibri" panose="020F0502020204030204" pitchFamily="34" charset="0"/>
              </a:rPr>
              <a:t>:</a:t>
            </a:r>
          </a:p>
          <a:p>
            <a:pPr marL="339725" algn="just"/>
            <a:r>
              <a:rPr lang="id-ID" sz="2000" dirty="0" smtClean="0">
                <a:latin typeface="Agency FB" pitchFamily="34" charset="0"/>
                <a:cs typeface="Calibri" panose="020F0502020204030204" pitchFamily="34" charset="0"/>
              </a:rPr>
              <a:t>b</a:t>
            </a:r>
            <a:r>
              <a:rPr lang="id-ID" sz="2000" dirty="0">
                <a:latin typeface="Agency FB" pitchFamily="34" charset="0"/>
                <a:cs typeface="Calibri" panose="020F0502020204030204" pitchFamily="34" charset="0"/>
              </a:rPr>
              <a:t>. </a:t>
            </a:r>
            <a:r>
              <a:rPr lang="id-ID" sz="2000" b="1" dirty="0" smtClean="0">
                <a:latin typeface="Agency FB" pitchFamily="34" charset="0"/>
                <a:cs typeface="Calibri" panose="020F0502020204030204" pitchFamily="34" charset="0"/>
              </a:rPr>
              <a:t>Melakukan </a:t>
            </a:r>
            <a:r>
              <a:rPr lang="id-ID" sz="2000" b="1" dirty="0">
                <a:latin typeface="Agency FB" pitchFamily="34" charset="0"/>
                <a:cs typeface="Calibri" panose="020F0502020204030204" pitchFamily="34" charset="0"/>
              </a:rPr>
              <a:t>tindakan yang mengakibatkan pengeluaran atas beban anggaran belanja</a:t>
            </a:r>
            <a:r>
              <a:rPr lang="id-ID" sz="2000" dirty="0" smtClean="0">
                <a:latin typeface="Agency FB" pitchFamily="34" charset="0"/>
                <a:cs typeface="Calibri" panose="020F0502020204030204" pitchFamily="34" charset="0"/>
              </a:rPr>
              <a:t>;</a:t>
            </a:r>
            <a:endParaRPr lang="id-ID" sz="2000" dirty="0">
              <a:latin typeface="Agency FB" pitchFamily="34" charset="0"/>
              <a:cs typeface="Calibri" panose="020F0502020204030204" pitchFamily="34" charset="0"/>
            </a:endParaRPr>
          </a:p>
        </p:txBody>
      </p:sp>
      <p:sp>
        <p:nvSpPr>
          <p:cNvPr id="3" name="Slide Number Placeholder 2"/>
          <p:cNvSpPr>
            <a:spLocks noGrp="1"/>
          </p:cNvSpPr>
          <p:nvPr>
            <p:ph type="sldNum" sz="quarter" idx="12"/>
          </p:nvPr>
        </p:nvSpPr>
        <p:spPr>
          <a:xfrm>
            <a:off x="8737600" y="6292856"/>
            <a:ext cx="2844800" cy="365125"/>
          </a:xfrm>
        </p:spPr>
        <p:txBody>
          <a:bodyPr/>
          <a:lstStyle/>
          <a:p>
            <a:fld id="{FA84A37A-AFC2-4A01-80A1-FC20F2C0D5BB}" type="slidenum">
              <a:rPr lang="en-US" smtClean="0"/>
              <a:pPr/>
              <a:t>23</a:t>
            </a:fld>
            <a:endParaRPr lang="en-US"/>
          </a:p>
        </p:txBody>
      </p:sp>
      <p:sp>
        <p:nvSpPr>
          <p:cNvPr id="8" name="Rectangle 7"/>
          <p:cNvSpPr/>
          <p:nvPr/>
        </p:nvSpPr>
        <p:spPr>
          <a:xfrm>
            <a:off x="-12071" y="4682190"/>
            <a:ext cx="11887200" cy="830997"/>
          </a:xfrm>
          <a:prstGeom prst="rect">
            <a:avLst/>
          </a:prstGeom>
        </p:spPr>
        <p:txBody>
          <a:bodyPr wrap="square">
            <a:spAutoFit/>
          </a:bodyPr>
          <a:lstStyle/>
          <a:p>
            <a:endParaRPr lang="id-ID" sz="1600" b="1" dirty="0" smtClean="0">
              <a:solidFill>
                <a:srgbClr val="C00000"/>
              </a:solidFill>
              <a:latin typeface="Calibri" panose="020F0502020204030204" pitchFamily="34" charset="0"/>
              <a:cs typeface="Calibri" panose="020F0502020204030204" pitchFamily="34" charset="0"/>
            </a:endParaRPr>
          </a:p>
          <a:p>
            <a:endParaRPr lang="id-ID" sz="1600" dirty="0" smtClean="0">
              <a:latin typeface="Calibri" panose="020F0502020204030204" pitchFamily="34" charset="0"/>
              <a:cs typeface="Calibri" panose="020F0502020204030204" pitchFamily="34" charset="0"/>
            </a:endParaRPr>
          </a:p>
          <a:p>
            <a:pPr marL="273050" algn="just">
              <a:spcBef>
                <a:spcPts val="0"/>
              </a:spcBef>
              <a:spcAft>
                <a:spcPts val="400"/>
              </a:spcAft>
              <a:tabLst>
                <a:tab pos="627063" algn="l"/>
              </a:tabLst>
              <a:defRPr/>
            </a:pPr>
            <a:endParaRPr lang="id-ID" sz="1600" dirty="0" smtClean="0">
              <a:latin typeface="Calibri" panose="020F0502020204030204" pitchFamily="34" charset="0"/>
              <a:cs typeface="Calibri" panose="020F0502020204030204" pitchFamily="34" charset="0"/>
            </a:endParaRPr>
          </a:p>
        </p:txBody>
      </p:sp>
      <p:sp>
        <p:nvSpPr>
          <p:cNvPr id="10" name="Rectangle 9"/>
          <p:cNvSpPr/>
          <p:nvPr/>
        </p:nvSpPr>
        <p:spPr>
          <a:xfrm>
            <a:off x="439352" y="5041900"/>
            <a:ext cx="11600249" cy="2400657"/>
          </a:xfrm>
          <a:prstGeom prst="rect">
            <a:avLst/>
          </a:prstGeom>
        </p:spPr>
        <p:txBody>
          <a:bodyPr wrap="square">
            <a:spAutoFit/>
          </a:bodyPr>
          <a:lstStyle/>
          <a:p>
            <a:r>
              <a:rPr lang="id-ID" sz="2000" b="1" dirty="0">
                <a:solidFill>
                  <a:srgbClr val="C00000"/>
                </a:solidFill>
                <a:latin typeface="Agency FB" pitchFamily="34" charset="0"/>
                <a:cs typeface="Calibri" panose="020F0502020204030204" pitchFamily="34" charset="0"/>
              </a:rPr>
              <a:t>Pasal 11 (ayat 1) </a:t>
            </a:r>
            <a:endParaRPr lang="en-US" sz="2000" dirty="0" smtClean="0">
              <a:latin typeface="Agency FB" pitchFamily="34" charset="0"/>
            </a:endParaRPr>
          </a:p>
          <a:p>
            <a:r>
              <a:rPr lang="en-US" sz="2000" dirty="0" err="1" smtClean="0">
                <a:latin typeface="Agency FB" pitchFamily="34" charset="0"/>
              </a:rPr>
              <a:t>Urusan</a:t>
            </a:r>
            <a:r>
              <a:rPr lang="en-US" sz="2000" dirty="0" smtClean="0">
                <a:latin typeface="Agency FB" pitchFamily="34" charset="0"/>
              </a:rPr>
              <a:t> </a:t>
            </a:r>
            <a:r>
              <a:rPr lang="id-ID" sz="2000" dirty="0">
                <a:latin typeface="Agency FB" pitchFamily="34" charset="0"/>
              </a:rPr>
              <a:t>P</a:t>
            </a:r>
            <a:r>
              <a:rPr lang="en-US" sz="2000" dirty="0" err="1" smtClean="0">
                <a:latin typeface="Agency FB" pitchFamily="34" charset="0"/>
              </a:rPr>
              <a:t>emerintahan</a:t>
            </a:r>
            <a:r>
              <a:rPr lang="en-US" sz="2000" dirty="0" smtClean="0">
                <a:latin typeface="Agency FB" pitchFamily="34" charset="0"/>
              </a:rPr>
              <a:t> </a:t>
            </a:r>
            <a:r>
              <a:rPr lang="en-US" sz="2000" dirty="0" err="1" smtClean="0">
                <a:latin typeface="Agency FB" pitchFamily="34" charset="0"/>
              </a:rPr>
              <a:t>konkuren</a:t>
            </a:r>
            <a:r>
              <a:rPr lang="id-ID" sz="2000" dirty="0">
                <a:latin typeface="Agency FB" pitchFamily="34" charset="0"/>
              </a:rPr>
              <a:t> </a:t>
            </a:r>
            <a:r>
              <a:rPr lang="en-US" sz="2000" dirty="0" err="1" smtClean="0">
                <a:latin typeface="Agency FB" pitchFamily="34" charset="0"/>
              </a:rPr>
              <a:t>sebagaimana</a:t>
            </a:r>
            <a:r>
              <a:rPr lang="en-US" sz="2000" dirty="0" smtClean="0">
                <a:latin typeface="Agency FB" pitchFamily="34" charset="0"/>
              </a:rPr>
              <a:t> </a:t>
            </a:r>
            <a:r>
              <a:rPr lang="en-US" sz="2000" dirty="0" err="1" smtClean="0">
                <a:latin typeface="Agency FB" pitchFamily="34" charset="0"/>
              </a:rPr>
              <a:t>dimaksud</a:t>
            </a:r>
            <a:r>
              <a:rPr lang="en-US" sz="2000" dirty="0" smtClean="0">
                <a:latin typeface="Agency FB" pitchFamily="34" charset="0"/>
              </a:rPr>
              <a:t> </a:t>
            </a:r>
            <a:r>
              <a:rPr lang="en-US" sz="2000" dirty="0" err="1" smtClean="0">
                <a:latin typeface="Agency FB" pitchFamily="34" charset="0"/>
              </a:rPr>
              <a:t>dalam</a:t>
            </a:r>
            <a:r>
              <a:rPr lang="en-US" sz="2000" dirty="0" smtClean="0">
                <a:latin typeface="Agency FB" pitchFamily="34" charset="0"/>
              </a:rPr>
              <a:t> </a:t>
            </a:r>
            <a:r>
              <a:rPr lang="en-US" sz="2000" dirty="0" err="1">
                <a:latin typeface="Agency FB" pitchFamily="34" charset="0"/>
              </a:rPr>
              <a:t>Pasal</a:t>
            </a:r>
            <a:r>
              <a:rPr lang="en-US" sz="2000" dirty="0">
                <a:latin typeface="Agency FB" pitchFamily="34" charset="0"/>
              </a:rPr>
              <a:t> </a:t>
            </a:r>
            <a:r>
              <a:rPr lang="en-US" sz="2000" dirty="0" smtClean="0">
                <a:latin typeface="Agency FB" pitchFamily="34" charset="0"/>
              </a:rPr>
              <a:t>9</a:t>
            </a:r>
            <a:r>
              <a:rPr lang="id-ID" sz="2000" dirty="0" smtClean="0">
                <a:latin typeface="Agency FB" pitchFamily="34" charset="0"/>
              </a:rPr>
              <a:t> </a:t>
            </a:r>
            <a:r>
              <a:rPr lang="en-US" sz="2000" dirty="0" err="1" smtClean="0">
                <a:latin typeface="Agency FB" pitchFamily="34" charset="0"/>
              </a:rPr>
              <a:t>ayat</a:t>
            </a:r>
            <a:r>
              <a:rPr lang="en-US" sz="2000" dirty="0" smtClean="0">
                <a:latin typeface="Agency FB" pitchFamily="34" charset="0"/>
              </a:rPr>
              <a:t> </a:t>
            </a:r>
            <a:r>
              <a:rPr lang="en-US" sz="2000" dirty="0">
                <a:latin typeface="Agency FB" pitchFamily="34" charset="0"/>
              </a:rPr>
              <a:t>(</a:t>
            </a:r>
            <a:r>
              <a:rPr lang="en-US" sz="2000" dirty="0" smtClean="0">
                <a:latin typeface="Agency FB" pitchFamily="34" charset="0"/>
              </a:rPr>
              <a:t>3)</a:t>
            </a:r>
            <a:r>
              <a:rPr lang="id-ID" sz="2000" dirty="0" smtClean="0">
                <a:latin typeface="Agency FB" pitchFamily="34" charset="0"/>
              </a:rPr>
              <a:t> </a:t>
            </a:r>
            <a:r>
              <a:rPr lang="en-US" sz="2000" dirty="0" smtClean="0">
                <a:latin typeface="Agency FB" pitchFamily="34" charset="0"/>
              </a:rPr>
              <a:t>yang </a:t>
            </a:r>
            <a:r>
              <a:rPr lang="en-US" sz="2000" dirty="0" err="1">
                <a:latin typeface="Agency FB" pitchFamily="34" charset="0"/>
              </a:rPr>
              <a:t>menjadi</a:t>
            </a:r>
            <a:r>
              <a:rPr lang="en-US" sz="2000" dirty="0">
                <a:latin typeface="Agency FB" pitchFamily="34" charset="0"/>
              </a:rPr>
              <a:t> </a:t>
            </a:r>
            <a:r>
              <a:rPr lang="en-US" sz="2000" dirty="0" err="1">
                <a:latin typeface="Agency FB" pitchFamily="34" charset="0"/>
              </a:rPr>
              <a:t>kewenangan</a:t>
            </a:r>
            <a:r>
              <a:rPr lang="en-US" sz="2000" dirty="0">
                <a:latin typeface="Agency FB" pitchFamily="34" charset="0"/>
              </a:rPr>
              <a:t> Daerah </a:t>
            </a:r>
            <a:r>
              <a:rPr lang="en-US" sz="2000" dirty="0" err="1" smtClean="0">
                <a:latin typeface="Agency FB" pitchFamily="34" charset="0"/>
              </a:rPr>
              <a:t>terdiri</a:t>
            </a:r>
            <a:r>
              <a:rPr lang="en-US" sz="2000" dirty="0" smtClean="0">
                <a:latin typeface="Agency FB" pitchFamily="34" charset="0"/>
              </a:rPr>
              <a:t> </a:t>
            </a:r>
            <a:r>
              <a:rPr lang="en-US" sz="2000" dirty="0" err="1">
                <a:latin typeface="Agency FB" pitchFamily="34" charset="0"/>
              </a:rPr>
              <a:t>atas</a:t>
            </a:r>
            <a:r>
              <a:rPr lang="en-US" sz="2000" dirty="0">
                <a:latin typeface="Agency FB" pitchFamily="34" charset="0"/>
              </a:rPr>
              <a:t> </a:t>
            </a:r>
            <a:r>
              <a:rPr lang="en-US" sz="2000" dirty="0" err="1">
                <a:latin typeface="Agency FB" pitchFamily="34" charset="0"/>
              </a:rPr>
              <a:t>Urusan</a:t>
            </a:r>
            <a:r>
              <a:rPr lang="en-US" sz="2000" dirty="0">
                <a:latin typeface="Agency FB" pitchFamily="34" charset="0"/>
              </a:rPr>
              <a:t> </a:t>
            </a:r>
            <a:r>
              <a:rPr lang="en-US" sz="2000" dirty="0" err="1">
                <a:latin typeface="Agency FB" pitchFamily="34" charset="0"/>
              </a:rPr>
              <a:t>Pemerintahan</a:t>
            </a:r>
            <a:r>
              <a:rPr lang="en-US" sz="2000" dirty="0">
                <a:latin typeface="Agency FB" pitchFamily="34" charset="0"/>
              </a:rPr>
              <a:t> </a:t>
            </a:r>
            <a:r>
              <a:rPr lang="en-US" sz="2000" dirty="0" err="1">
                <a:latin typeface="Agency FB" pitchFamily="34" charset="0"/>
              </a:rPr>
              <a:t>Wajib</a:t>
            </a:r>
            <a:r>
              <a:rPr lang="en-US" sz="2000" dirty="0">
                <a:latin typeface="Agency FB" pitchFamily="34" charset="0"/>
              </a:rPr>
              <a:t> </a:t>
            </a:r>
            <a:r>
              <a:rPr lang="en-US" sz="2000" dirty="0" err="1">
                <a:latin typeface="Agency FB" pitchFamily="34" charset="0"/>
              </a:rPr>
              <a:t>dan</a:t>
            </a:r>
            <a:r>
              <a:rPr lang="en-US" sz="2000" dirty="0">
                <a:latin typeface="Agency FB" pitchFamily="34" charset="0"/>
              </a:rPr>
              <a:t> </a:t>
            </a:r>
            <a:r>
              <a:rPr lang="en-US" sz="2000" dirty="0" err="1">
                <a:latin typeface="Agency FB" pitchFamily="34" charset="0"/>
              </a:rPr>
              <a:t>Urusan</a:t>
            </a:r>
            <a:r>
              <a:rPr lang="en-US" sz="2000" dirty="0">
                <a:latin typeface="Agency FB" pitchFamily="34" charset="0"/>
              </a:rPr>
              <a:t> </a:t>
            </a:r>
            <a:r>
              <a:rPr lang="en-US" sz="2000" dirty="0" err="1" smtClean="0">
                <a:latin typeface="Agency FB" pitchFamily="34" charset="0"/>
              </a:rPr>
              <a:t>Pemerintahan</a:t>
            </a:r>
            <a:r>
              <a:rPr lang="en-US" sz="2000" dirty="0" smtClean="0">
                <a:latin typeface="Agency FB" pitchFamily="34" charset="0"/>
              </a:rPr>
              <a:t> </a:t>
            </a:r>
            <a:r>
              <a:rPr lang="en-US" sz="2000" dirty="0" err="1">
                <a:latin typeface="Agency FB" pitchFamily="34" charset="0"/>
              </a:rPr>
              <a:t>Pilihan</a:t>
            </a:r>
            <a:r>
              <a:rPr lang="en-US" sz="2000" dirty="0" smtClean="0">
                <a:latin typeface="Agency FB" pitchFamily="34" charset="0"/>
              </a:rPr>
              <a:t>.</a:t>
            </a:r>
          </a:p>
          <a:p>
            <a:pPr>
              <a:spcBef>
                <a:spcPts val="600"/>
              </a:spcBef>
            </a:pPr>
            <a:r>
              <a:rPr lang="id-ID" sz="2000" b="1" dirty="0">
                <a:solidFill>
                  <a:srgbClr val="C00000"/>
                </a:solidFill>
                <a:latin typeface="Agency FB" pitchFamily="34" charset="0"/>
                <a:cs typeface="Calibri" panose="020F0502020204030204" pitchFamily="34" charset="0"/>
              </a:rPr>
              <a:t>Pasal 12 (ayat 2)</a:t>
            </a:r>
          </a:p>
          <a:p>
            <a:r>
              <a:rPr lang="en-US" sz="2000" dirty="0" err="1">
                <a:latin typeface="Agency FB" pitchFamily="34" charset="0"/>
              </a:rPr>
              <a:t>Urusan</a:t>
            </a:r>
            <a:r>
              <a:rPr lang="en-US" sz="2000" dirty="0">
                <a:latin typeface="Agency FB" pitchFamily="34" charset="0"/>
              </a:rPr>
              <a:t> </a:t>
            </a:r>
            <a:r>
              <a:rPr lang="en-US" sz="2000" dirty="0" err="1">
                <a:latin typeface="Agency FB" pitchFamily="34" charset="0"/>
              </a:rPr>
              <a:t>Pemerintahan</a:t>
            </a:r>
            <a:r>
              <a:rPr lang="en-US" sz="2000" dirty="0">
                <a:latin typeface="Agency FB" pitchFamily="34" charset="0"/>
              </a:rPr>
              <a:t> </a:t>
            </a:r>
            <a:r>
              <a:rPr lang="en-US" sz="2000" dirty="0" err="1">
                <a:latin typeface="Agency FB" pitchFamily="34" charset="0"/>
              </a:rPr>
              <a:t>Wajib</a:t>
            </a:r>
            <a:r>
              <a:rPr lang="en-US" sz="2000" dirty="0">
                <a:latin typeface="Agency FB" pitchFamily="34" charset="0"/>
              </a:rPr>
              <a:t> yang </a:t>
            </a:r>
            <a:r>
              <a:rPr lang="en-US" sz="2000" dirty="0" err="1">
                <a:latin typeface="Agency FB" pitchFamily="34" charset="0"/>
              </a:rPr>
              <a:t>tidak</a:t>
            </a:r>
            <a:r>
              <a:rPr lang="en-US" sz="2000" dirty="0">
                <a:latin typeface="Agency FB" pitchFamily="34" charset="0"/>
              </a:rPr>
              <a:t> </a:t>
            </a:r>
            <a:r>
              <a:rPr lang="en-US" sz="2000" dirty="0" err="1">
                <a:latin typeface="Agency FB" pitchFamily="34" charset="0"/>
              </a:rPr>
              <a:t>berkaitan</a:t>
            </a:r>
            <a:r>
              <a:rPr lang="en-US" sz="2000" dirty="0">
                <a:latin typeface="Agency FB" pitchFamily="34" charset="0"/>
              </a:rPr>
              <a:t> </a:t>
            </a:r>
            <a:r>
              <a:rPr lang="en-US" sz="2000" dirty="0" err="1">
                <a:latin typeface="Agency FB" pitchFamily="34" charset="0"/>
              </a:rPr>
              <a:t>dengan</a:t>
            </a:r>
            <a:r>
              <a:rPr lang="en-US" sz="2000" dirty="0">
                <a:latin typeface="Agency FB" pitchFamily="34" charset="0"/>
              </a:rPr>
              <a:t> </a:t>
            </a:r>
            <a:r>
              <a:rPr lang="en-US" sz="2000" dirty="0" err="1">
                <a:latin typeface="Agency FB" pitchFamily="34" charset="0"/>
              </a:rPr>
              <a:t>Pelayanan</a:t>
            </a:r>
            <a:r>
              <a:rPr lang="en-US" sz="2000" dirty="0">
                <a:latin typeface="Agency FB" pitchFamily="34" charset="0"/>
              </a:rPr>
              <a:t> </a:t>
            </a:r>
            <a:r>
              <a:rPr lang="en-US" sz="2000" dirty="0" err="1">
                <a:latin typeface="Agency FB" pitchFamily="34" charset="0"/>
              </a:rPr>
              <a:t>Dasar</a:t>
            </a:r>
            <a:r>
              <a:rPr lang="en-US" sz="2000" dirty="0">
                <a:latin typeface="Agency FB" pitchFamily="34" charset="0"/>
              </a:rPr>
              <a:t> </a:t>
            </a:r>
            <a:r>
              <a:rPr lang="en-US" sz="2000" dirty="0" err="1">
                <a:latin typeface="Agency FB" pitchFamily="34" charset="0"/>
              </a:rPr>
              <a:t>sebagaimana</a:t>
            </a:r>
            <a:r>
              <a:rPr lang="en-US" sz="2000" dirty="0">
                <a:latin typeface="Agency FB" pitchFamily="34" charset="0"/>
              </a:rPr>
              <a:t> </a:t>
            </a:r>
            <a:r>
              <a:rPr lang="en-US" sz="2000" dirty="0" err="1">
                <a:latin typeface="Agency FB" pitchFamily="34" charset="0"/>
              </a:rPr>
              <a:t>dimaksud</a:t>
            </a:r>
            <a:r>
              <a:rPr lang="en-US" sz="2000" dirty="0">
                <a:latin typeface="Agency FB" pitchFamily="34" charset="0"/>
              </a:rPr>
              <a:t> </a:t>
            </a:r>
            <a:r>
              <a:rPr lang="en-US" sz="2000" dirty="0" err="1">
                <a:latin typeface="Agency FB" pitchFamily="34" charset="0"/>
              </a:rPr>
              <a:t>dalam</a:t>
            </a:r>
            <a:r>
              <a:rPr lang="en-US" sz="2000" dirty="0">
                <a:latin typeface="Agency FB" pitchFamily="34" charset="0"/>
              </a:rPr>
              <a:t> </a:t>
            </a:r>
            <a:r>
              <a:rPr lang="en-US" sz="2000" dirty="0" err="1">
                <a:latin typeface="Agency FB" pitchFamily="34" charset="0"/>
              </a:rPr>
              <a:t>Pasal</a:t>
            </a:r>
            <a:r>
              <a:rPr lang="en-US" sz="2000" dirty="0">
                <a:latin typeface="Agency FB" pitchFamily="34" charset="0"/>
              </a:rPr>
              <a:t> 11 </a:t>
            </a:r>
            <a:r>
              <a:rPr lang="en-US" sz="2000" dirty="0" err="1">
                <a:latin typeface="Agency FB" pitchFamily="34" charset="0"/>
              </a:rPr>
              <a:t>ayat</a:t>
            </a:r>
            <a:r>
              <a:rPr lang="en-US" sz="2000" dirty="0">
                <a:latin typeface="Agency FB" pitchFamily="34" charset="0"/>
              </a:rPr>
              <a:t> (2) </a:t>
            </a:r>
            <a:r>
              <a:rPr lang="en-US" sz="2000" dirty="0" err="1">
                <a:latin typeface="Agency FB" pitchFamily="34" charset="0"/>
              </a:rPr>
              <a:t>meliputi</a:t>
            </a:r>
            <a:r>
              <a:rPr lang="en-US" sz="2000" dirty="0">
                <a:latin typeface="Agency FB" pitchFamily="34" charset="0"/>
              </a:rPr>
              <a:t>: c. </a:t>
            </a:r>
            <a:r>
              <a:rPr lang="en-US" sz="2000" b="1" dirty="0" err="1">
                <a:latin typeface="Agency FB" pitchFamily="34" charset="0"/>
              </a:rPr>
              <a:t>pangan</a:t>
            </a:r>
            <a:r>
              <a:rPr lang="en-US" sz="2000" dirty="0">
                <a:latin typeface="Agency FB" pitchFamily="34" charset="0"/>
              </a:rPr>
              <a:t>;</a:t>
            </a:r>
            <a:endParaRPr lang="id-ID" sz="2000" dirty="0" smtClean="0">
              <a:latin typeface="Agency FB" pitchFamily="34" charset="0"/>
            </a:endParaRPr>
          </a:p>
          <a:p>
            <a:pPr>
              <a:spcBef>
                <a:spcPts val="600"/>
              </a:spcBef>
            </a:pPr>
            <a:endParaRPr lang="id-ID" sz="2000" dirty="0">
              <a:latin typeface="Agency FB" pitchFamily="34" charset="0"/>
            </a:endParaRPr>
          </a:p>
          <a:p>
            <a:endParaRPr lang="en-US" sz="2000" dirty="0">
              <a:latin typeface="Agency FB" pitchFamily="34" charset="0"/>
            </a:endParaRPr>
          </a:p>
        </p:txBody>
      </p:sp>
      <p:sp>
        <p:nvSpPr>
          <p:cNvPr id="11" name="Rectangle 10"/>
          <p:cNvSpPr/>
          <p:nvPr/>
        </p:nvSpPr>
        <p:spPr>
          <a:xfrm>
            <a:off x="518771" y="782784"/>
            <a:ext cx="6885853" cy="4364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smtClean="0">
              <a:solidFill>
                <a:srgbClr val="002060"/>
              </a:solidFill>
              <a:latin typeface="DilleniaUPC" pitchFamily="18" charset="-34"/>
              <a:cs typeface="DilleniaUPC" pitchFamily="18" charset="-34"/>
            </a:endParaRPr>
          </a:p>
          <a:p>
            <a:r>
              <a:rPr lang="id-ID" sz="3600" b="1" dirty="0" smtClean="0">
                <a:solidFill>
                  <a:srgbClr val="002060"/>
                </a:solidFill>
                <a:latin typeface="DilleniaUPC" pitchFamily="18" charset="-34"/>
                <a:cs typeface="DilleniaUPC" pitchFamily="18" charset="-34"/>
              </a:rPr>
              <a:t>UU No. </a:t>
            </a:r>
            <a:r>
              <a:rPr lang="id-ID" sz="3600" b="1" dirty="0">
                <a:solidFill>
                  <a:srgbClr val="002060"/>
                </a:solidFill>
                <a:latin typeface="DilleniaUPC" pitchFamily="18" charset="-34"/>
                <a:cs typeface="DilleniaUPC" pitchFamily="18" charset="-34"/>
              </a:rPr>
              <a:t>1 Tahun 2004  ttg Perbendaharaan Negara</a:t>
            </a:r>
          </a:p>
          <a:p>
            <a:endParaRPr lang="id-ID" sz="3600" b="1" dirty="0">
              <a:solidFill>
                <a:srgbClr val="002060"/>
              </a:solidFill>
              <a:latin typeface="DilleniaUPC" pitchFamily="18" charset="-34"/>
              <a:cs typeface="DilleniaUPC" pitchFamily="18" charset="-34"/>
            </a:endParaRPr>
          </a:p>
        </p:txBody>
      </p:sp>
      <p:sp>
        <p:nvSpPr>
          <p:cNvPr id="12" name="Rectangle 11"/>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46093" y="-22086"/>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smtClean="0">
                <a:solidFill>
                  <a:srgbClr val="002060"/>
                </a:solidFill>
                <a:latin typeface="DilleniaUPC" pitchFamily="18" charset="-34"/>
                <a:cs typeface="DilleniaUPC" pitchFamily="18" charset="-34"/>
              </a:rPr>
              <a:t>6</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
        <p:nvSpPr>
          <p:cNvPr id="14" name="Rectangle 13"/>
          <p:cNvSpPr/>
          <p:nvPr/>
        </p:nvSpPr>
        <p:spPr>
          <a:xfrm>
            <a:off x="488291" y="4681684"/>
            <a:ext cx="6885853" cy="4364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smtClean="0">
              <a:solidFill>
                <a:srgbClr val="002060"/>
              </a:solidFill>
              <a:latin typeface="DilleniaUPC" pitchFamily="18" charset="-34"/>
              <a:cs typeface="DilleniaUPC" pitchFamily="18" charset="-34"/>
            </a:endParaRPr>
          </a:p>
          <a:p>
            <a:endParaRPr lang="en-US" sz="3600" b="1" dirty="0" smtClean="0">
              <a:solidFill>
                <a:srgbClr val="002060"/>
              </a:solidFill>
              <a:latin typeface="DilleniaUPC" pitchFamily="18" charset="-34"/>
              <a:cs typeface="DilleniaUPC" pitchFamily="18" charset="-34"/>
            </a:endParaRPr>
          </a:p>
          <a:p>
            <a:r>
              <a:rPr lang="id-ID" sz="3600" b="1" dirty="0" smtClean="0">
                <a:solidFill>
                  <a:srgbClr val="002060"/>
                </a:solidFill>
                <a:latin typeface="DilleniaUPC" pitchFamily="18" charset="-34"/>
                <a:cs typeface="DilleniaUPC" pitchFamily="18" charset="-34"/>
              </a:rPr>
              <a:t>UU No. </a:t>
            </a:r>
            <a:r>
              <a:rPr lang="id-ID" sz="3600" b="1" dirty="0">
                <a:solidFill>
                  <a:srgbClr val="002060"/>
                </a:solidFill>
                <a:latin typeface="DilleniaUPC" pitchFamily="18" charset="-34"/>
                <a:cs typeface="DilleniaUPC" pitchFamily="18" charset="-34"/>
              </a:rPr>
              <a:t>23 Tahun 2014  ttg Pemerintahan Daerah</a:t>
            </a:r>
          </a:p>
          <a:p>
            <a:endParaRPr lang="id-ID" sz="3600" b="1" dirty="0">
              <a:solidFill>
                <a:srgbClr val="002060"/>
              </a:solidFill>
              <a:latin typeface="DilleniaUPC" pitchFamily="18" charset="-34"/>
              <a:cs typeface="DilleniaUPC" pitchFamily="18" charset="-34"/>
            </a:endParaRPr>
          </a:p>
          <a:p>
            <a:endParaRPr lang="id-ID" sz="36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7932167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FA84A37A-AFC2-4A01-80A1-FC20F2C0D5BB}" type="slidenum">
              <a:rPr lang="en-US" smtClean="0"/>
              <a:pPr/>
              <a:t>24</a:t>
            </a:fld>
            <a:endParaRPr lang="en-US"/>
          </a:p>
        </p:txBody>
      </p:sp>
      <p:sp>
        <p:nvSpPr>
          <p:cNvPr id="5" name="Rectangle 4"/>
          <p:cNvSpPr/>
          <p:nvPr/>
        </p:nvSpPr>
        <p:spPr>
          <a:xfrm>
            <a:off x="106681" y="1157183"/>
            <a:ext cx="11856720" cy="5339923"/>
          </a:xfrm>
          <a:prstGeom prst="rect">
            <a:avLst/>
          </a:prstGeom>
        </p:spPr>
        <p:txBody>
          <a:bodyPr wrap="square">
            <a:spAutoFit/>
          </a:bodyPr>
          <a:lstStyle/>
          <a:p>
            <a:pPr marL="114300" indent="-114300" algn="just"/>
            <a:r>
              <a:rPr lang="en-US" sz="1850" b="1" dirty="0" smtClean="0">
                <a:solidFill>
                  <a:srgbClr val="C00000"/>
                </a:solidFill>
                <a:latin typeface="Agency FB" pitchFamily="34" charset="0"/>
                <a:cs typeface="Calibri" panose="020F0502020204030204" pitchFamily="34" charset="0"/>
              </a:rPr>
              <a:t>1. </a:t>
            </a:r>
            <a:r>
              <a:rPr lang="id-ID" sz="1850" b="1" dirty="0" smtClean="0">
                <a:solidFill>
                  <a:srgbClr val="C00000"/>
                </a:solidFill>
                <a:latin typeface="Agency FB" pitchFamily="34" charset="0"/>
                <a:cs typeface="Calibri" panose="020F0502020204030204" pitchFamily="34" charset="0"/>
              </a:rPr>
              <a:t>Pasal </a:t>
            </a:r>
            <a:r>
              <a:rPr lang="id-ID" sz="1850" b="1" dirty="0">
                <a:solidFill>
                  <a:srgbClr val="C00000"/>
                </a:solidFill>
                <a:latin typeface="Agency FB" pitchFamily="34" charset="0"/>
                <a:cs typeface="Calibri" panose="020F0502020204030204" pitchFamily="34" charset="0"/>
              </a:rPr>
              <a:t>5 (ayat </a:t>
            </a:r>
            <a:r>
              <a:rPr lang="id-ID" sz="1850" b="1" dirty="0" smtClean="0">
                <a:solidFill>
                  <a:srgbClr val="C00000"/>
                </a:solidFill>
                <a:latin typeface="Agency FB" pitchFamily="34" charset="0"/>
                <a:cs typeface="Calibri" panose="020F0502020204030204" pitchFamily="34" charset="0"/>
              </a:rPr>
              <a:t>3): </a:t>
            </a:r>
            <a:r>
              <a:rPr lang="en-US" sz="1850" dirty="0" err="1">
                <a:latin typeface="Agency FB" pitchFamily="34" charset="0"/>
              </a:rPr>
              <a:t>Penetapan</a:t>
            </a:r>
            <a:r>
              <a:rPr lang="en-US" sz="1850" dirty="0">
                <a:latin typeface="Agency FB" pitchFamily="34" charset="0"/>
              </a:rPr>
              <a:t> </a:t>
            </a:r>
            <a:r>
              <a:rPr lang="en-US" sz="1850" dirty="0" err="1">
                <a:latin typeface="Agency FB" pitchFamily="34" charset="0"/>
              </a:rPr>
              <a:t>jumlah</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dirty="0" err="1">
                <a:latin typeface="Agency FB" pitchFamily="34" charset="0"/>
              </a:rPr>
              <a:t>Pokok</a:t>
            </a:r>
            <a:r>
              <a:rPr lang="en-US" sz="1850" dirty="0">
                <a:latin typeface="Agency FB" pitchFamily="34" charset="0"/>
              </a:rPr>
              <a:t> </a:t>
            </a:r>
            <a:r>
              <a:rPr lang="en-US" sz="1850" dirty="0" err="1">
                <a:latin typeface="Agency FB" pitchFamily="34" charset="0"/>
              </a:rPr>
              <a:t>Tertentu</a:t>
            </a:r>
            <a:r>
              <a:rPr lang="en-US" sz="1850" dirty="0">
                <a:latin typeface="Agency FB" pitchFamily="34" charset="0"/>
              </a:rPr>
              <a:t> </a:t>
            </a:r>
            <a:r>
              <a:rPr lang="en-US" sz="1850" dirty="0" err="1">
                <a:latin typeface="Agency FB" pitchFamily="34" charset="0"/>
              </a:rPr>
              <a:t>sebagai</a:t>
            </a:r>
            <a:r>
              <a:rPr lang="en-US" sz="1850" dirty="0">
                <a:latin typeface="Agency FB" pitchFamily="34" charset="0"/>
              </a:rPr>
              <a:t> </a:t>
            </a: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dirty="0" err="1">
                <a:latin typeface="Agency FB" pitchFamily="34" charset="0"/>
              </a:rPr>
              <a:t>Pemerintah</a:t>
            </a:r>
            <a:r>
              <a:rPr lang="en-US" sz="1850" dirty="0">
                <a:latin typeface="Agency FB" pitchFamily="34" charset="0"/>
              </a:rPr>
              <a:t> </a:t>
            </a:r>
            <a:r>
              <a:rPr lang="en-US" sz="1850" dirty="0" err="1">
                <a:latin typeface="Agency FB" pitchFamily="34" charset="0"/>
              </a:rPr>
              <a:t>sebagaimana</a:t>
            </a:r>
            <a:r>
              <a:rPr lang="en-US" sz="1850" dirty="0">
                <a:latin typeface="Agency FB" pitchFamily="34" charset="0"/>
              </a:rPr>
              <a:t> </a:t>
            </a:r>
            <a:r>
              <a:rPr lang="en-US" sz="1850" dirty="0" err="1">
                <a:latin typeface="Agency FB" pitchFamily="34" charset="0"/>
              </a:rPr>
              <a:t>dimaksud</a:t>
            </a:r>
            <a:r>
              <a:rPr lang="en-US" sz="1850" dirty="0">
                <a:latin typeface="Agency FB" pitchFamily="34" charset="0"/>
              </a:rPr>
              <a:t> </a:t>
            </a:r>
            <a:r>
              <a:rPr lang="en-US" sz="1850" dirty="0" err="1">
                <a:latin typeface="Agency FB" pitchFamily="34" charset="0"/>
              </a:rPr>
              <a:t>pada</a:t>
            </a:r>
            <a:r>
              <a:rPr lang="en-US" sz="1850" dirty="0">
                <a:latin typeface="Agency FB" pitchFamily="34" charset="0"/>
              </a:rPr>
              <a:t> </a:t>
            </a:r>
            <a:r>
              <a:rPr lang="en-US" sz="1850" dirty="0" err="1">
                <a:latin typeface="Agency FB" pitchFamily="34" charset="0"/>
              </a:rPr>
              <a:t>ayat</a:t>
            </a:r>
            <a:r>
              <a:rPr lang="en-US" sz="1850" dirty="0">
                <a:latin typeface="Agency FB" pitchFamily="34" charset="0"/>
              </a:rPr>
              <a:t> (2) </a:t>
            </a:r>
            <a:r>
              <a:rPr lang="en-US" sz="1850" dirty="0" err="1">
                <a:latin typeface="Agency FB" pitchFamily="34" charset="0"/>
              </a:rPr>
              <a:t>dilakukan</a:t>
            </a:r>
            <a:r>
              <a:rPr lang="en-US" sz="1850" dirty="0">
                <a:latin typeface="Agency FB" pitchFamily="34" charset="0"/>
              </a:rPr>
              <a:t> </a:t>
            </a:r>
            <a:r>
              <a:rPr lang="en-US" sz="1850" dirty="0" err="1">
                <a:latin typeface="Agency FB" pitchFamily="34" charset="0"/>
              </a:rPr>
              <a:t>dengan</a:t>
            </a:r>
            <a:r>
              <a:rPr lang="en-US" sz="1850" dirty="0">
                <a:latin typeface="Agency FB" pitchFamily="34" charset="0"/>
              </a:rPr>
              <a:t> </a:t>
            </a:r>
            <a:r>
              <a:rPr lang="en-US" sz="1850" dirty="0" err="1">
                <a:latin typeface="Agency FB" pitchFamily="34" charset="0"/>
              </a:rPr>
              <a:t>mempertimbangkan</a:t>
            </a:r>
            <a:r>
              <a:rPr lang="en-US" sz="1850" dirty="0">
                <a:latin typeface="Agency FB" pitchFamily="34" charset="0"/>
              </a:rPr>
              <a:t>:</a:t>
            </a:r>
            <a:r>
              <a:rPr lang="id-ID" sz="1850" dirty="0">
                <a:latin typeface="Agency FB" pitchFamily="34" charset="0"/>
              </a:rPr>
              <a:t> </a:t>
            </a:r>
            <a:r>
              <a:rPr lang="id-ID" sz="1850" b="1" dirty="0">
                <a:latin typeface="Agency FB" pitchFamily="34" charset="0"/>
              </a:rPr>
              <a:t>(c) </a:t>
            </a:r>
            <a:r>
              <a:rPr lang="id-ID" sz="1850" b="1" dirty="0" smtClean="0">
                <a:latin typeface="Agency FB" pitchFamily="34" charset="0"/>
                <a:cs typeface="Calibri" panose="020F0502020204030204" pitchFamily="34" charset="0"/>
              </a:rPr>
              <a:t>P</a:t>
            </a:r>
            <a:r>
              <a:rPr lang="en-US" sz="1850" b="1" dirty="0" err="1">
                <a:latin typeface="Agency FB" pitchFamily="34" charset="0"/>
              </a:rPr>
              <a:t>engendalian</a:t>
            </a:r>
            <a:r>
              <a:rPr lang="en-US" sz="1850" b="1" dirty="0">
                <a:latin typeface="Agency FB" pitchFamily="34" charset="0"/>
              </a:rPr>
              <a:t> </a:t>
            </a:r>
            <a:r>
              <a:rPr lang="en-US" sz="1850" b="1" dirty="0" err="1">
                <a:latin typeface="Agency FB" pitchFamily="34" charset="0"/>
              </a:rPr>
              <a:t>dan</a:t>
            </a:r>
            <a:r>
              <a:rPr lang="en-US" sz="1850" b="1" dirty="0">
                <a:latin typeface="Agency FB" pitchFamily="34" charset="0"/>
              </a:rPr>
              <a:t> </a:t>
            </a:r>
            <a:r>
              <a:rPr lang="en-US" sz="1850" b="1" dirty="0" err="1">
                <a:latin typeface="Agency FB" pitchFamily="34" charset="0"/>
              </a:rPr>
              <a:t>stabilisasi</a:t>
            </a:r>
            <a:r>
              <a:rPr lang="en-US" sz="1850" b="1" dirty="0">
                <a:latin typeface="Agency FB" pitchFamily="34" charset="0"/>
              </a:rPr>
              <a:t> </a:t>
            </a:r>
            <a:r>
              <a:rPr lang="en-US" sz="1850" b="1" dirty="0" err="1">
                <a:latin typeface="Agency FB" pitchFamily="34" charset="0"/>
              </a:rPr>
              <a:t>harga</a:t>
            </a:r>
            <a:r>
              <a:rPr lang="en-US" sz="1850" b="1" dirty="0">
                <a:latin typeface="Agency FB" pitchFamily="34" charset="0"/>
              </a:rPr>
              <a:t> </a:t>
            </a:r>
            <a:r>
              <a:rPr lang="en-US" sz="1850" b="1" dirty="0" err="1">
                <a:latin typeface="Agency FB" pitchFamily="34" charset="0"/>
              </a:rPr>
              <a:t>dan</a:t>
            </a:r>
            <a:r>
              <a:rPr lang="en-US" sz="1850" b="1" dirty="0">
                <a:latin typeface="Agency FB" pitchFamily="34" charset="0"/>
              </a:rPr>
              <a:t> </a:t>
            </a:r>
            <a:r>
              <a:rPr lang="en-US" sz="1850" b="1" dirty="0" err="1">
                <a:latin typeface="Agency FB" pitchFamily="34" charset="0"/>
              </a:rPr>
              <a:t>pasokan</a:t>
            </a:r>
            <a:r>
              <a:rPr lang="en-US" sz="1850" b="1" dirty="0">
                <a:latin typeface="Agency FB" pitchFamily="34" charset="0"/>
              </a:rPr>
              <a:t> </a:t>
            </a:r>
            <a:r>
              <a:rPr lang="id-ID" sz="1850" b="1" dirty="0">
                <a:latin typeface="Agency FB" pitchFamily="34" charset="0"/>
              </a:rPr>
              <a:t>p</a:t>
            </a:r>
            <a:r>
              <a:rPr lang="en-US" sz="1850" b="1" dirty="0" err="1">
                <a:latin typeface="Agency FB" pitchFamily="34" charset="0"/>
              </a:rPr>
              <a:t>angan</a:t>
            </a:r>
            <a:r>
              <a:rPr lang="en-US" sz="1850" b="1" dirty="0">
                <a:latin typeface="Agency FB" pitchFamily="34" charset="0"/>
              </a:rPr>
              <a:t> </a:t>
            </a:r>
            <a:r>
              <a:rPr lang="id-ID" sz="1850" dirty="0">
                <a:latin typeface="Agency FB" pitchFamily="34" charset="0"/>
              </a:rPr>
              <a:t>p</a:t>
            </a:r>
            <a:r>
              <a:rPr lang="en-US" sz="1850" dirty="0" err="1">
                <a:latin typeface="Agency FB" pitchFamily="34" charset="0"/>
              </a:rPr>
              <a:t>okok</a:t>
            </a:r>
            <a:r>
              <a:rPr lang="en-US" sz="1850" dirty="0">
                <a:latin typeface="Agency FB" pitchFamily="34" charset="0"/>
              </a:rPr>
              <a:t> </a:t>
            </a:r>
            <a:r>
              <a:rPr lang="id-ID" sz="1850" dirty="0">
                <a:latin typeface="Agency FB" pitchFamily="34" charset="0"/>
              </a:rPr>
              <a:t>t</a:t>
            </a:r>
            <a:r>
              <a:rPr lang="en-US" sz="1850" dirty="0" err="1">
                <a:latin typeface="Agency FB" pitchFamily="34" charset="0"/>
              </a:rPr>
              <a:t>ertentu</a:t>
            </a:r>
            <a:r>
              <a:rPr lang="en-US" sz="1850" dirty="0">
                <a:latin typeface="Agency FB" pitchFamily="34" charset="0"/>
              </a:rPr>
              <a:t> </a:t>
            </a:r>
            <a:r>
              <a:rPr lang="en-US" sz="1850" dirty="0" err="1">
                <a:latin typeface="Agency FB" pitchFamily="34" charset="0"/>
              </a:rPr>
              <a:t>pada</a:t>
            </a:r>
            <a:r>
              <a:rPr lang="en-US" sz="1850" dirty="0">
                <a:latin typeface="Agency FB" pitchFamily="34" charset="0"/>
              </a:rPr>
              <a:t> </a:t>
            </a:r>
            <a:r>
              <a:rPr lang="en-US" sz="1850" dirty="0" err="1">
                <a:latin typeface="Agency FB" pitchFamily="34" charset="0"/>
              </a:rPr>
              <a:t>tingkat</a:t>
            </a:r>
            <a:r>
              <a:rPr lang="en-US" sz="1850" dirty="0">
                <a:latin typeface="Agency FB" pitchFamily="34" charset="0"/>
              </a:rPr>
              <a:t> </a:t>
            </a:r>
            <a:r>
              <a:rPr lang="en-US" sz="1850" dirty="0" err="1">
                <a:latin typeface="Agency FB" pitchFamily="34" charset="0"/>
              </a:rPr>
              <a:t>produsen</a:t>
            </a:r>
            <a:r>
              <a:rPr lang="en-US" sz="1850" dirty="0">
                <a:latin typeface="Agency FB" pitchFamily="34" charset="0"/>
              </a:rPr>
              <a:t> </a:t>
            </a:r>
            <a:r>
              <a:rPr lang="en-US" sz="1850" dirty="0" err="1">
                <a:latin typeface="Agency FB" pitchFamily="34" charset="0"/>
              </a:rPr>
              <a:t>dan</a:t>
            </a:r>
            <a:r>
              <a:rPr lang="en-US" sz="1850" dirty="0">
                <a:latin typeface="Agency FB" pitchFamily="34" charset="0"/>
              </a:rPr>
              <a:t> </a:t>
            </a:r>
            <a:r>
              <a:rPr lang="en-US" sz="1850" dirty="0" err="1">
                <a:latin typeface="Agency FB" pitchFamily="34" charset="0"/>
              </a:rPr>
              <a:t>konsumen</a:t>
            </a:r>
            <a:r>
              <a:rPr lang="id-ID" sz="1850" dirty="0">
                <a:latin typeface="Agency FB" pitchFamily="34" charset="0"/>
              </a:rPr>
              <a:t>.</a:t>
            </a:r>
          </a:p>
          <a:p>
            <a:pPr algn="just">
              <a:spcBef>
                <a:spcPts val="1200"/>
              </a:spcBef>
            </a:pPr>
            <a:r>
              <a:rPr lang="en-US" sz="1850" b="1" dirty="0" smtClean="0">
                <a:solidFill>
                  <a:srgbClr val="C00000"/>
                </a:solidFill>
                <a:latin typeface="Agency FB" pitchFamily="34" charset="0"/>
                <a:cs typeface="Calibri" panose="020F0502020204030204" pitchFamily="34" charset="0"/>
              </a:rPr>
              <a:t>2. </a:t>
            </a:r>
            <a:r>
              <a:rPr lang="id-ID" sz="1850" b="1" dirty="0" smtClean="0">
                <a:solidFill>
                  <a:srgbClr val="C00000"/>
                </a:solidFill>
                <a:latin typeface="Agency FB" pitchFamily="34" charset="0"/>
                <a:cs typeface="Calibri" panose="020F0502020204030204" pitchFamily="34" charset="0"/>
              </a:rPr>
              <a:t>Pasal </a:t>
            </a:r>
            <a:r>
              <a:rPr lang="id-ID" sz="1850" b="1" dirty="0">
                <a:solidFill>
                  <a:srgbClr val="C00000"/>
                </a:solidFill>
                <a:latin typeface="Agency FB" pitchFamily="34" charset="0"/>
                <a:cs typeface="Calibri" panose="020F0502020204030204" pitchFamily="34" charset="0"/>
              </a:rPr>
              <a:t>6a (ayat 1): </a:t>
            </a:r>
            <a:r>
              <a:rPr lang="en-US" sz="1850" dirty="0" err="1">
                <a:latin typeface="Agency FB" pitchFamily="34" charset="0"/>
              </a:rPr>
              <a:t>Penyelenggaraan</a:t>
            </a:r>
            <a:r>
              <a:rPr lang="en-US" sz="1850" dirty="0">
                <a:latin typeface="Agency FB" pitchFamily="34" charset="0"/>
              </a:rPr>
              <a:t> </a:t>
            </a:r>
            <a:r>
              <a:rPr lang="en-US" sz="1850" b="1" dirty="0" err="1">
                <a:latin typeface="Agency FB" pitchFamily="34" charset="0"/>
              </a:rPr>
              <a:t>Cadangan</a:t>
            </a:r>
            <a:r>
              <a:rPr lang="en-US" sz="1850" b="1" dirty="0">
                <a:latin typeface="Agency FB" pitchFamily="34" charset="0"/>
              </a:rPr>
              <a:t> </a:t>
            </a:r>
            <a:r>
              <a:rPr lang="en-US" sz="1850" b="1" dirty="0" err="1">
                <a:latin typeface="Agency FB" pitchFamily="34" charset="0"/>
              </a:rPr>
              <a:t>Pangan</a:t>
            </a:r>
            <a:r>
              <a:rPr lang="en-US" sz="1850" b="1" dirty="0">
                <a:latin typeface="Agency FB" pitchFamily="34" charset="0"/>
              </a:rPr>
              <a:t> </a:t>
            </a:r>
            <a:r>
              <a:rPr lang="en-US" sz="1850" b="1" dirty="0" err="1">
                <a:latin typeface="Agency FB" pitchFamily="34" charset="0"/>
              </a:rPr>
              <a:t>Pemerintah</a:t>
            </a:r>
            <a:r>
              <a:rPr lang="en-US" sz="1850" b="1" dirty="0">
                <a:latin typeface="Agency FB" pitchFamily="34" charset="0"/>
              </a:rPr>
              <a:t> </a:t>
            </a:r>
            <a:r>
              <a:rPr lang="en-US" sz="1850" dirty="0" err="1">
                <a:latin typeface="Agency FB" pitchFamily="34" charset="0"/>
              </a:rPr>
              <a:t>dilakukan</a:t>
            </a:r>
            <a:r>
              <a:rPr lang="en-US" sz="1850" dirty="0">
                <a:latin typeface="Agency FB" pitchFamily="34" charset="0"/>
              </a:rPr>
              <a:t> </a:t>
            </a:r>
            <a:r>
              <a:rPr lang="en-US" sz="1850" dirty="0" err="1">
                <a:latin typeface="Agency FB" pitchFamily="34" charset="0"/>
              </a:rPr>
              <a:t>oleh</a:t>
            </a:r>
            <a:r>
              <a:rPr lang="en-US" sz="1850" dirty="0">
                <a:latin typeface="Agency FB" pitchFamily="34" charset="0"/>
              </a:rPr>
              <a:t> </a:t>
            </a:r>
            <a:r>
              <a:rPr lang="en-US" sz="1850" dirty="0" err="1">
                <a:latin typeface="Agency FB" pitchFamily="34" charset="0"/>
              </a:rPr>
              <a:t>Kepala</a:t>
            </a:r>
            <a:r>
              <a:rPr lang="en-US" sz="1850" dirty="0">
                <a:latin typeface="Agency FB" pitchFamily="34" charset="0"/>
              </a:rPr>
              <a:t> </a:t>
            </a:r>
            <a:r>
              <a:rPr lang="en-US" sz="1850" dirty="0" err="1">
                <a:latin typeface="Agency FB" pitchFamily="34" charset="0"/>
              </a:rPr>
              <a:t>Lembaga</a:t>
            </a:r>
            <a:r>
              <a:rPr lang="en-US" sz="1850" dirty="0">
                <a:latin typeface="Agency FB" pitchFamily="34" charset="0"/>
              </a:rPr>
              <a:t> </a:t>
            </a:r>
            <a:r>
              <a:rPr lang="en-US" sz="1850" dirty="0" err="1">
                <a:latin typeface="Agency FB" pitchFamily="34" charset="0"/>
              </a:rPr>
              <a:t>Pemerintah</a:t>
            </a:r>
            <a:r>
              <a:rPr lang="id-ID" sz="1850" dirty="0">
                <a:latin typeface="Agency FB" pitchFamily="34" charset="0"/>
              </a:rPr>
              <a:t> </a:t>
            </a:r>
            <a:r>
              <a:rPr lang="en-US" sz="1850" dirty="0" err="1">
                <a:latin typeface="Agency FB" pitchFamily="34" charset="0"/>
              </a:rPr>
              <a:t>melalui</a:t>
            </a:r>
            <a:r>
              <a:rPr lang="en-US" sz="1850" dirty="0">
                <a:latin typeface="Agency FB" pitchFamily="34" charset="0"/>
              </a:rPr>
              <a:t> :</a:t>
            </a:r>
          </a:p>
          <a:p>
            <a:pPr marL="457200" indent="-279400" algn="just">
              <a:buFont typeface="+mj-lt"/>
              <a:buAutoNum type="alphaLcPeriod"/>
            </a:pPr>
            <a:r>
              <a:rPr lang="id-ID" sz="1850" b="1" dirty="0">
                <a:latin typeface="Agency FB" pitchFamily="34" charset="0"/>
              </a:rPr>
              <a:t>P</a:t>
            </a:r>
            <a:r>
              <a:rPr lang="en-US" sz="1850" b="1" dirty="0" err="1">
                <a:latin typeface="Agency FB" pitchFamily="34" charset="0"/>
              </a:rPr>
              <a:t>engadaan</a:t>
            </a:r>
            <a:r>
              <a:rPr lang="en-US" sz="1850" dirty="0">
                <a:latin typeface="Agency FB" pitchFamily="34" charset="0"/>
              </a:rPr>
              <a:t> </a:t>
            </a: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dirty="0" err="1">
                <a:latin typeface="Agency FB" pitchFamily="34" charset="0"/>
              </a:rPr>
              <a:t>Pemerintah</a:t>
            </a:r>
            <a:r>
              <a:rPr lang="id-ID" sz="1850" dirty="0">
                <a:latin typeface="Agency FB" pitchFamily="34" charset="0"/>
              </a:rPr>
              <a:t>.</a:t>
            </a:r>
            <a:endParaRPr lang="en-US" sz="1850" dirty="0">
              <a:latin typeface="Agency FB" pitchFamily="34" charset="0"/>
            </a:endParaRPr>
          </a:p>
          <a:p>
            <a:pPr marL="457200" indent="-279400" algn="just">
              <a:buFont typeface="+mj-lt"/>
              <a:buAutoNum type="alphaLcPeriod"/>
            </a:pPr>
            <a:r>
              <a:rPr lang="id-ID" sz="1850" b="1" dirty="0">
                <a:latin typeface="Agency FB" pitchFamily="34" charset="0"/>
              </a:rPr>
              <a:t>P</a:t>
            </a:r>
            <a:r>
              <a:rPr lang="en-US" sz="1850" b="1" dirty="0" err="1">
                <a:latin typeface="Agency FB" pitchFamily="34" charset="0"/>
              </a:rPr>
              <a:t>engelolaan</a:t>
            </a:r>
            <a:r>
              <a:rPr lang="en-US" sz="1850" b="1" dirty="0">
                <a:latin typeface="Agency FB" pitchFamily="34" charset="0"/>
              </a:rPr>
              <a:t> </a:t>
            </a: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dirty="0" err="1">
                <a:latin typeface="Agency FB" pitchFamily="34" charset="0"/>
              </a:rPr>
              <a:t>Pemerintah</a:t>
            </a:r>
            <a:r>
              <a:rPr lang="id-ID" sz="1850" dirty="0">
                <a:latin typeface="Agency FB" pitchFamily="34" charset="0"/>
              </a:rPr>
              <a:t>.</a:t>
            </a:r>
            <a:endParaRPr lang="en-US" sz="1850" dirty="0">
              <a:latin typeface="Agency FB" pitchFamily="34" charset="0"/>
            </a:endParaRPr>
          </a:p>
          <a:p>
            <a:pPr marL="457200" indent="-279400" algn="just">
              <a:buFont typeface="+mj-lt"/>
              <a:buAutoNum type="alphaLcPeriod"/>
            </a:pPr>
            <a:r>
              <a:rPr lang="id-ID" sz="1850" b="1" dirty="0">
                <a:latin typeface="Agency FB" pitchFamily="34" charset="0"/>
              </a:rPr>
              <a:t>P</a:t>
            </a:r>
            <a:r>
              <a:rPr lang="en-US" sz="1850" b="1" dirty="0" err="1">
                <a:latin typeface="Agency FB" pitchFamily="34" charset="0"/>
              </a:rPr>
              <a:t>enyaluran</a:t>
            </a:r>
            <a:r>
              <a:rPr lang="en-US" sz="1850" b="1" dirty="0">
                <a:latin typeface="Agency FB" pitchFamily="34" charset="0"/>
              </a:rPr>
              <a:t> </a:t>
            </a: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dirty="0" err="1">
                <a:latin typeface="Agency FB" pitchFamily="34" charset="0"/>
              </a:rPr>
              <a:t>Pemerintah</a:t>
            </a:r>
            <a:r>
              <a:rPr lang="id-ID" sz="1850" dirty="0">
                <a:latin typeface="Agency FB" pitchFamily="34" charset="0"/>
              </a:rPr>
              <a:t>, </a:t>
            </a:r>
            <a:r>
              <a:rPr lang="en-US" sz="1850" dirty="0" err="1">
                <a:latin typeface="Agency FB" pitchFamily="34" charset="0"/>
              </a:rPr>
              <a:t>berdasarkan</a:t>
            </a:r>
            <a:r>
              <a:rPr lang="en-US" sz="1850" dirty="0">
                <a:latin typeface="Agency FB" pitchFamily="34" charset="0"/>
              </a:rPr>
              <a:t> </a:t>
            </a:r>
            <a:r>
              <a:rPr lang="en-US" sz="1850" dirty="0" err="1">
                <a:latin typeface="Agency FB" pitchFamily="34" charset="0"/>
              </a:rPr>
              <a:t>jenis</a:t>
            </a:r>
            <a:r>
              <a:rPr lang="en-US" sz="1850" dirty="0">
                <a:latin typeface="Agency FB" pitchFamily="34" charset="0"/>
              </a:rPr>
              <a:t> </a:t>
            </a:r>
            <a:r>
              <a:rPr lang="en-US" sz="1850" dirty="0" err="1">
                <a:latin typeface="Agency FB" pitchFamily="34" charset="0"/>
              </a:rPr>
              <a:t>dan</a:t>
            </a:r>
            <a:r>
              <a:rPr lang="en-US" sz="1850" dirty="0">
                <a:latin typeface="Agency FB" pitchFamily="34" charset="0"/>
              </a:rPr>
              <a:t> </a:t>
            </a:r>
            <a:r>
              <a:rPr lang="en-US" sz="1850" dirty="0" err="1">
                <a:latin typeface="Agency FB" pitchFamily="34" charset="0"/>
              </a:rPr>
              <a:t>jumlah</a:t>
            </a:r>
            <a:r>
              <a:rPr lang="en-US" sz="1850" dirty="0">
                <a:latin typeface="Agency FB" pitchFamily="34" charset="0"/>
              </a:rPr>
              <a:t> </a:t>
            </a: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dirty="0" err="1">
                <a:latin typeface="Agency FB" pitchFamily="34" charset="0"/>
              </a:rPr>
              <a:t>Pemerintah</a:t>
            </a:r>
            <a:r>
              <a:rPr lang="en-US" sz="1850" dirty="0">
                <a:latin typeface="Agency FB" pitchFamily="34" charset="0"/>
              </a:rPr>
              <a:t> yang </a:t>
            </a:r>
            <a:r>
              <a:rPr lang="en-US" sz="1850" dirty="0" err="1">
                <a:latin typeface="Agency FB" pitchFamily="34" charset="0"/>
              </a:rPr>
              <a:t>telah</a:t>
            </a:r>
            <a:r>
              <a:rPr lang="en-US" sz="1850" dirty="0">
                <a:latin typeface="Agency FB" pitchFamily="34" charset="0"/>
              </a:rPr>
              <a:t> </a:t>
            </a:r>
            <a:r>
              <a:rPr lang="en-US" sz="1850" dirty="0" err="1">
                <a:latin typeface="Agency FB" pitchFamily="34" charset="0"/>
              </a:rPr>
              <a:t>ditetapkan</a:t>
            </a:r>
            <a:r>
              <a:rPr lang="en-US" sz="1850" dirty="0">
                <a:latin typeface="Agency FB" pitchFamily="34" charset="0"/>
              </a:rPr>
              <a:t> </a:t>
            </a:r>
            <a:r>
              <a:rPr lang="en-US" sz="1850" dirty="0" err="1">
                <a:latin typeface="Agency FB" pitchFamily="34" charset="0"/>
              </a:rPr>
              <a:t>sebagaimana</a:t>
            </a:r>
            <a:r>
              <a:rPr lang="en-US" sz="1850" dirty="0">
                <a:latin typeface="Agency FB" pitchFamily="34" charset="0"/>
              </a:rPr>
              <a:t> </a:t>
            </a:r>
            <a:r>
              <a:rPr lang="en-US" sz="1850" dirty="0" err="1">
                <a:latin typeface="Agency FB" pitchFamily="34" charset="0"/>
              </a:rPr>
              <a:t>dimaksud</a:t>
            </a:r>
            <a:r>
              <a:rPr lang="en-US" sz="1850" dirty="0">
                <a:latin typeface="Agency FB" pitchFamily="34" charset="0"/>
              </a:rPr>
              <a:t> </a:t>
            </a:r>
            <a:r>
              <a:rPr lang="en-US" sz="1850" dirty="0" err="1">
                <a:latin typeface="Agency FB" pitchFamily="34" charset="0"/>
              </a:rPr>
              <a:t>dalam</a:t>
            </a:r>
            <a:r>
              <a:rPr lang="en-US" sz="1850" dirty="0">
                <a:latin typeface="Agency FB" pitchFamily="34" charset="0"/>
              </a:rPr>
              <a:t> </a:t>
            </a:r>
            <a:r>
              <a:rPr lang="en-US" sz="1850" dirty="0" err="1">
                <a:latin typeface="Agency FB" pitchFamily="34" charset="0"/>
              </a:rPr>
              <a:t>Pasal</a:t>
            </a:r>
            <a:r>
              <a:rPr lang="en-US" sz="1850" dirty="0">
                <a:latin typeface="Agency FB" pitchFamily="34" charset="0"/>
              </a:rPr>
              <a:t> 4 </a:t>
            </a:r>
            <a:r>
              <a:rPr lang="en-US" sz="1850" dirty="0" err="1">
                <a:latin typeface="Agency FB" pitchFamily="34" charset="0"/>
              </a:rPr>
              <a:t>dan</a:t>
            </a:r>
            <a:r>
              <a:rPr lang="en-US" sz="1850" dirty="0">
                <a:latin typeface="Agency FB" pitchFamily="34" charset="0"/>
              </a:rPr>
              <a:t> </a:t>
            </a:r>
            <a:r>
              <a:rPr lang="en-US" sz="1850" dirty="0" err="1">
                <a:latin typeface="Agency FB" pitchFamily="34" charset="0"/>
              </a:rPr>
              <a:t>Pasal</a:t>
            </a:r>
            <a:r>
              <a:rPr lang="en-US" sz="1850" dirty="0">
                <a:latin typeface="Agency FB" pitchFamily="34" charset="0"/>
              </a:rPr>
              <a:t> 5</a:t>
            </a:r>
            <a:r>
              <a:rPr lang="id-ID" sz="1850" dirty="0">
                <a:latin typeface="Agency FB" pitchFamily="34" charset="0"/>
              </a:rPr>
              <a:t>.</a:t>
            </a:r>
            <a:endParaRPr lang="id-ID" sz="1850" b="1" dirty="0">
              <a:solidFill>
                <a:srgbClr val="C00000"/>
              </a:solidFill>
              <a:latin typeface="Agency FB" pitchFamily="34" charset="0"/>
              <a:cs typeface="Calibri" panose="020F0502020204030204" pitchFamily="34" charset="0"/>
            </a:endParaRPr>
          </a:p>
          <a:p>
            <a:pPr algn="just">
              <a:spcBef>
                <a:spcPts val="1200"/>
              </a:spcBef>
            </a:pPr>
            <a:r>
              <a:rPr lang="en-US" sz="1850" b="1" dirty="0" smtClean="0">
                <a:solidFill>
                  <a:srgbClr val="C00000"/>
                </a:solidFill>
                <a:latin typeface="Agency FB" pitchFamily="34" charset="0"/>
                <a:cs typeface="Calibri" panose="020F0502020204030204" pitchFamily="34" charset="0"/>
              </a:rPr>
              <a:t>3. </a:t>
            </a:r>
            <a:r>
              <a:rPr lang="id-ID" sz="1850" b="1" dirty="0" smtClean="0">
                <a:solidFill>
                  <a:srgbClr val="C00000"/>
                </a:solidFill>
                <a:latin typeface="Agency FB" pitchFamily="34" charset="0"/>
                <a:cs typeface="Calibri" panose="020F0502020204030204" pitchFamily="34" charset="0"/>
              </a:rPr>
              <a:t>Pasal </a:t>
            </a:r>
            <a:r>
              <a:rPr lang="id-ID" sz="1850" b="1" dirty="0">
                <a:solidFill>
                  <a:srgbClr val="C00000"/>
                </a:solidFill>
                <a:latin typeface="Agency FB" pitchFamily="34" charset="0"/>
                <a:cs typeface="Calibri" panose="020F0502020204030204" pitchFamily="34" charset="0"/>
              </a:rPr>
              <a:t>11: </a:t>
            </a:r>
          </a:p>
          <a:p>
            <a:pPr marL="177800" algn="just">
              <a:spcAft>
                <a:spcPts val="600"/>
              </a:spcAft>
            </a:pPr>
            <a:r>
              <a:rPr lang="en-US" sz="1850" dirty="0" err="1">
                <a:latin typeface="Agency FB" pitchFamily="34" charset="0"/>
              </a:rPr>
              <a:t>Dalam</a:t>
            </a:r>
            <a:r>
              <a:rPr lang="en-US" sz="1850" dirty="0">
                <a:latin typeface="Agency FB" pitchFamily="34" charset="0"/>
              </a:rPr>
              <a:t> </a:t>
            </a:r>
            <a:r>
              <a:rPr lang="en-US" sz="1850" dirty="0" err="1">
                <a:latin typeface="Agency FB" pitchFamily="34" charset="0"/>
              </a:rPr>
              <a:t>melaksanakan</a:t>
            </a:r>
            <a:r>
              <a:rPr lang="en-US" sz="1850" dirty="0">
                <a:latin typeface="Agency FB" pitchFamily="34" charset="0"/>
              </a:rPr>
              <a:t> </a:t>
            </a:r>
            <a:r>
              <a:rPr lang="en-US" sz="1850" dirty="0" err="1">
                <a:latin typeface="Agency FB" pitchFamily="34" charset="0"/>
              </a:rPr>
              <a:t>penyelenggaraan</a:t>
            </a:r>
            <a:r>
              <a:rPr lang="en-US" sz="1850" dirty="0">
                <a:latin typeface="Agency FB" pitchFamily="34" charset="0"/>
              </a:rPr>
              <a:t> </a:t>
            </a:r>
            <a:r>
              <a:rPr lang="en-US" sz="1850" b="1" dirty="0" err="1">
                <a:latin typeface="Agency FB" pitchFamily="34" charset="0"/>
              </a:rPr>
              <a:t>Cadangan</a:t>
            </a:r>
            <a:r>
              <a:rPr lang="en-US" sz="1850" b="1" dirty="0">
                <a:latin typeface="Agency FB" pitchFamily="34" charset="0"/>
              </a:rPr>
              <a:t> </a:t>
            </a:r>
            <a:r>
              <a:rPr lang="en-US" sz="1850" b="1" dirty="0" err="1">
                <a:latin typeface="Agency FB" pitchFamily="34" charset="0"/>
              </a:rPr>
              <a:t>Pangan</a:t>
            </a:r>
            <a:r>
              <a:rPr lang="en-US" sz="1850" b="1" dirty="0">
                <a:latin typeface="Agency FB" pitchFamily="34" charset="0"/>
              </a:rPr>
              <a:t> </a:t>
            </a:r>
            <a:r>
              <a:rPr lang="en-US" sz="1850" b="1" dirty="0" err="1">
                <a:latin typeface="Agency FB" pitchFamily="34" charset="0"/>
              </a:rPr>
              <a:t>Pemerintah</a:t>
            </a:r>
            <a:r>
              <a:rPr lang="id-ID" sz="1850" b="1" dirty="0">
                <a:latin typeface="Agency FB" pitchFamily="34" charset="0"/>
              </a:rPr>
              <a:t> </a:t>
            </a:r>
            <a:r>
              <a:rPr lang="en-US" sz="1850" dirty="0" err="1">
                <a:latin typeface="Agency FB" pitchFamily="34" charset="0"/>
              </a:rPr>
              <a:t>sebagaimana</a:t>
            </a:r>
            <a:r>
              <a:rPr lang="en-US" sz="1850" dirty="0">
                <a:latin typeface="Agency FB" pitchFamily="34" charset="0"/>
              </a:rPr>
              <a:t> </a:t>
            </a:r>
            <a:r>
              <a:rPr lang="en-US" sz="1850" dirty="0" err="1">
                <a:latin typeface="Agency FB" pitchFamily="34" charset="0"/>
              </a:rPr>
              <a:t>dimaksud</a:t>
            </a:r>
            <a:r>
              <a:rPr lang="en-US" sz="1850" dirty="0">
                <a:latin typeface="Agency FB" pitchFamily="34" charset="0"/>
              </a:rPr>
              <a:t> </a:t>
            </a:r>
            <a:r>
              <a:rPr lang="en-US" sz="1850" dirty="0" err="1">
                <a:latin typeface="Agency FB" pitchFamily="34" charset="0"/>
              </a:rPr>
              <a:t>dalam</a:t>
            </a:r>
            <a:r>
              <a:rPr lang="en-US" sz="1850" dirty="0">
                <a:latin typeface="Agency FB" pitchFamily="34" charset="0"/>
              </a:rPr>
              <a:t> </a:t>
            </a:r>
            <a:r>
              <a:rPr lang="en-US" sz="1850" dirty="0" err="1">
                <a:latin typeface="Agency FB" pitchFamily="34" charset="0"/>
              </a:rPr>
              <a:t>Pasal</a:t>
            </a:r>
            <a:r>
              <a:rPr lang="en-US" sz="1850" dirty="0">
                <a:latin typeface="Agency FB" pitchFamily="34" charset="0"/>
              </a:rPr>
              <a:t> </a:t>
            </a:r>
            <a:r>
              <a:rPr lang="id-ID" sz="1850" dirty="0">
                <a:latin typeface="Agency FB" pitchFamily="34" charset="0"/>
              </a:rPr>
              <a:t>6, </a:t>
            </a:r>
            <a:r>
              <a:rPr lang="en-US" sz="1850" dirty="0" err="1">
                <a:latin typeface="Agency FB" pitchFamily="34" charset="0"/>
              </a:rPr>
              <a:t>Kepala</a:t>
            </a:r>
            <a:r>
              <a:rPr lang="en-US" sz="1850" dirty="0">
                <a:latin typeface="Agency FB" pitchFamily="34" charset="0"/>
              </a:rPr>
              <a:t> </a:t>
            </a:r>
            <a:r>
              <a:rPr lang="en-US" sz="1850" dirty="0" err="1">
                <a:latin typeface="Agency FB" pitchFamily="34" charset="0"/>
              </a:rPr>
              <a:t>Lembaga</a:t>
            </a:r>
            <a:r>
              <a:rPr lang="en-US" sz="1850" dirty="0">
                <a:latin typeface="Agency FB" pitchFamily="34" charset="0"/>
              </a:rPr>
              <a:t> </a:t>
            </a:r>
            <a:r>
              <a:rPr lang="en-US" sz="1850" dirty="0" err="1">
                <a:latin typeface="Agency FB" pitchFamily="34" charset="0"/>
              </a:rPr>
              <a:t>Pemerintah</a:t>
            </a:r>
            <a:r>
              <a:rPr lang="id-ID" sz="1850" dirty="0">
                <a:latin typeface="Agency FB" pitchFamily="34" charset="0"/>
              </a:rPr>
              <a:t> </a:t>
            </a:r>
            <a:r>
              <a:rPr lang="en-US" sz="1850" dirty="0" err="1">
                <a:latin typeface="Agency FB" pitchFamily="34" charset="0"/>
              </a:rPr>
              <a:t>dapat</a:t>
            </a:r>
            <a:r>
              <a:rPr lang="en-US" sz="1850" dirty="0">
                <a:latin typeface="Agency FB" pitchFamily="34" charset="0"/>
              </a:rPr>
              <a:t> </a:t>
            </a:r>
            <a:r>
              <a:rPr lang="en-US" sz="1850" dirty="0" err="1">
                <a:latin typeface="Agency FB" pitchFamily="34" charset="0"/>
              </a:rPr>
              <a:t>mengusulkan</a:t>
            </a:r>
            <a:r>
              <a:rPr lang="en-US" sz="1850" dirty="0">
                <a:latin typeface="Agency FB" pitchFamily="34" charset="0"/>
              </a:rPr>
              <a:t> </a:t>
            </a:r>
            <a:r>
              <a:rPr lang="en-US" sz="1850" dirty="0" err="1">
                <a:latin typeface="Agency FB" pitchFamily="34" charset="0"/>
              </a:rPr>
              <a:t>kepada</a:t>
            </a:r>
            <a:r>
              <a:rPr lang="en-US" sz="1850" dirty="0">
                <a:latin typeface="Agency FB" pitchFamily="34" charset="0"/>
              </a:rPr>
              <a:t> </a:t>
            </a:r>
            <a:r>
              <a:rPr lang="en-US" sz="1850" dirty="0" err="1">
                <a:latin typeface="Agency FB" pitchFamily="34" charset="0"/>
              </a:rPr>
              <a:t>Presiden</a:t>
            </a:r>
            <a:r>
              <a:rPr lang="en-US" sz="1850" dirty="0">
                <a:latin typeface="Agency FB" pitchFamily="34" charset="0"/>
              </a:rPr>
              <a:t> </a:t>
            </a:r>
            <a:r>
              <a:rPr lang="en-US" sz="1850" dirty="0" err="1">
                <a:latin typeface="Agency FB" pitchFamily="34" charset="0"/>
              </a:rPr>
              <a:t>untuk</a:t>
            </a:r>
            <a:r>
              <a:rPr lang="en-US" sz="1850" dirty="0">
                <a:latin typeface="Agency FB" pitchFamily="34" charset="0"/>
              </a:rPr>
              <a:t> </a:t>
            </a:r>
            <a:r>
              <a:rPr lang="en-US" sz="1850" b="1" dirty="0" err="1">
                <a:latin typeface="Agency FB" pitchFamily="34" charset="0"/>
              </a:rPr>
              <a:t>menugaskan</a:t>
            </a:r>
            <a:r>
              <a:rPr lang="en-US" sz="1850" b="1" dirty="0">
                <a:latin typeface="Agency FB" pitchFamily="34" charset="0"/>
              </a:rPr>
              <a:t> </a:t>
            </a:r>
            <a:r>
              <a:rPr lang="en-US" sz="1850" b="1" dirty="0" err="1">
                <a:latin typeface="Agency FB" pitchFamily="34" charset="0"/>
              </a:rPr>
              <a:t>Badan</a:t>
            </a:r>
            <a:r>
              <a:rPr lang="en-US" sz="1850" b="1" dirty="0">
                <a:latin typeface="Agency FB" pitchFamily="34" charset="0"/>
              </a:rPr>
              <a:t> Usaha </a:t>
            </a:r>
            <a:r>
              <a:rPr lang="en-US" sz="1850" b="1" dirty="0" err="1">
                <a:latin typeface="Agency FB" pitchFamily="34" charset="0"/>
              </a:rPr>
              <a:t>Milik</a:t>
            </a:r>
            <a:r>
              <a:rPr lang="en-US" sz="1850" b="1" dirty="0">
                <a:latin typeface="Agency FB" pitchFamily="34" charset="0"/>
              </a:rPr>
              <a:t> Negara di </a:t>
            </a:r>
            <a:r>
              <a:rPr lang="en-US" sz="1850" b="1" dirty="0" err="1">
                <a:latin typeface="Agency FB" pitchFamily="34" charset="0"/>
              </a:rPr>
              <a:t>bidang</a:t>
            </a:r>
            <a:r>
              <a:rPr lang="en-US" sz="1850" b="1" dirty="0">
                <a:latin typeface="Agency FB" pitchFamily="34" charset="0"/>
              </a:rPr>
              <a:t> </a:t>
            </a:r>
            <a:r>
              <a:rPr lang="id-ID" sz="1850" b="1" dirty="0">
                <a:latin typeface="Agency FB" pitchFamily="34" charset="0"/>
              </a:rPr>
              <a:t>p</a:t>
            </a:r>
            <a:r>
              <a:rPr lang="en-US" sz="1850" b="1" dirty="0" err="1">
                <a:latin typeface="Agency FB" pitchFamily="34" charset="0"/>
              </a:rPr>
              <a:t>angan</a:t>
            </a:r>
            <a:r>
              <a:rPr lang="en-US" sz="1850" b="1" dirty="0" smtClean="0">
                <a:latin typeface="Agency FB" pitchFamily="34" charset="0"/>
              </a:rPr>
              <a:t>.</a:t>
            </a:r>
            <a:endParaRPr lang="id-ID" sz="1850" b="1" dirty="0" smtClean="0">
              <a:latin typeface="Agency FB" pitchFamily="34" charset="0"/>
            </a:endParaRPr>
          </a:p>
          <a:p>
            <a:pPr algn="just">
              <a:spcBef>
                <a:spcPts val="1200"/>
              </a:spcBef>
            </a:pPr>
            <a:r>
              <a:rPr lang="en-US" sz="1850" b="1" dirty="0" smtClean="0">
                <a:solidFill>
                  <a:srgbClr val="C00000"/>
                </a:solidFill>
                <a:latin typeface="Agency FB" pitchFamily="34" charset="0"/>
                <a:cs typeface="Calibri" panose="020F0502020204030204" pitchFamily="34" charset="0"/>
              </a:rPr>
              <a:t>4. </a:t>
            </a:r>
            <a:r>
              <a:rPr lang="id-ID" sz="1850" b="1" dirty="0" smtClean="0">
                <a:solidFill>
                  <a:srgbClr val="C00000"/>
                </a:solidFill>
                <a:latin typeface="Agency FB" pitchFamily="34" charset="0"/>
                <a:cs typeface="Calibri" panose="020F0502020204030204" pitchFamily="34" charset="0"/>
              </a:rPr>
              <a:t>Pasal </a:t>
            </a:r>
            <a:r>
              <a:rPr lang="id-ID" sz="1850" b="1" dirty="0">
                <a:solidFill>
                  <a:srgbClr val="C00000"/>
                </a:solidFill>
                <a:latin typeface="Agency FB" pitchFamily="34" charset="0"/>
                <a:cs typeface="Calibri" panose="020F0502020204030204" pitchFamily="34" charset="0"/>
              </a:rPr>
              <a:t>13 (ayat 1): </a:t>
            </a: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dirty="0" err="1">
                <a:latin typeface="Agency FB" pitchFamily="34" charset="0"/>
              </a:rPr>
              <a:t>Pemerintah</a:t>
            </a:r>
            <a:r>
              <a:rPr lang="en-US" sz="1850" dirty="0">
                <a:latin typeface="Agency FB" pitchFamily="34" charset="0"/>
              </a:rPr>
              <a:t> Daerah </a:t>
            </a:r>
            <a:r>
              <a:rPr lang="en-US" sz="1850" dirty="0" err="1">
                <a:latin typeface="Agency FB" pitchFamily="34" charset="0"/>
              </a:rPr>
              <a:t>terdiri</a:t>
            </a:r>
            <a:r>
              <a:rPr lang="en-US" sz="1850" dirty="0">
                <a:latin typeface="Agency FB" pitchFamily="34" charset="0"/>
              </a:rPr>
              <a:t> </a:t>
            </a:r>
            <a:r>
              <a:rPr lang="en-US" sz="1850" dirty="0" err="1">
                <a:latin typeface="Agency FB" pitchFamily="34" charset="0"/>
              </a:rPr>
              <a:t>atas</a:t>
            </a:r>
            <a:r>
              <a:rPr lang="en-US" sz="1850" dirty="0">
                <a:latin typeface="Agency FB" pitchFamily="34" charset="0"/>
              </a:rPr>
              <a:t>:</a:t>
            </a:r>
            <a:endParaRPr lang="id-ID" sz="1850" dirty="0">
              <a:latin typeface="Agency FB" pitchFamily="34" charset="0"/>
            </a:endParaRPr>
          </a:p>
          <a:p>
            <a:pPr marL="406400" indent="-228600" algn="just">
              <a:buFont typeface="+mj-lt"/>
              <a:buAutoNum type="alphaLcPeriod"/>
            </a:pP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b="1" dirty="0" err="1">
                <a:latin typeface="Agency FB" pitchFamily="34" charset="0"/>
              </a:rPr>
              <a:t>Pemerintah</a:t>
            </a:r>
            <a:r>
              <a:rPr lang="en-US" sz="1850" b="1" dirty="0">
                <a:latin typeface="Agency FB" pitchFamily="34" charset="0"/>
              </a:rPr>
              <a:t> </a:t>
            </a:r>
            <a:r>
              <a:rPr lang="en-US" sz="1850" b="1" dirty="0" err="1">
                <a:latin typeface="Agency FB" pitchFamily="34" charset="0"/>
              </a:rPr>
              <a:t>Desa</a:t>
            </a:r>
            <a:r>
              <a:rPr lang="id-ID" sz="1850" b="1" dirty="0">
                <a:latin typeface="Agency FB" pitchFamily="34" charset="0"/>
              </a:rPr>
              <a:t>.</a:t>
            </a:r>
          </a:p>
          <a:p>
            <a:pPr marL="406400" indent="-228600" algn="just">
              <a:buFont typeface="+mj-lt"/>
              <a:buAutoNum type="alphaLcPeriod"/>
            </a:pP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b="1" dirty="0" err="1">
                <a:latin typeface="Agency FB" pitchFamily="34" charset="0"/>
              </a:rPr>
              <a:t>Pemerintah</a:t>
            </a:r>
            <a:r>
              <a:rPr lang="en-US" sz="1850" b="1" dirty="0">
                <a:latin typeface="Agency FB" pitchFamily="34" charset="0"/>
              </a:rPr>
              <a:t> </a:t>
            </a:r>
            <a:r>
              <a:rPr lang="en-US" sz="1850" b="1" dirty="0" err="1">
                <a:latin typeface="Agency FB" pitchFamily="34" charset="0"/>
              </a:rPr>
              <a:t>Kabupaten</a:t>
            </a:r>
            <a:r>
              <a:rPr lang="en-US" sz="1850" b="1" dirty="0">
                <a:latin typeface="Agency FB" pitchFamily="34" charset="0"/>
              </a:rPr>
              <a:t>/Kota</a:t>
            </a:r>
            <a:r>
              <a:rPr lang="id-ID" sz="1850" dirty="0">
                <a:latin typeface="Agency FB" pitchFamily="34" charset="0"/>
              </a:rPr>
              <a:t>.</a:t>
            </a:r>
          </a:p>
          <a:p>
            <a:pPr marL="406400" indent="-228600" algn="just">
              <a:buFont typeface="+mj-lt"/>
              <a:buAutoNum type="alphaLcPeriod"/>
            </a:pPr>
            <a:r>
              <a:rPr lang="en-US" sz="1850" dirty="0" err="1">
                <a:latin typeface="Agency FB" pitchFamily="34" charset="0"/>
              </a:rPr>
              <a:t>Cadangan</a:t>
            </a:r>
            <a:r>
              <a:rPr lang="en-US" sz="1850" dirty="0">
                <a:latin typeface="Agency FB" pitchFamily="34" charset="0"/>
              </a:rPr>
              <a:t> </a:t>
            </a:r>
            <a:r>
              <a:rPr lang="en-US" sz="1850" dirty="0" err="1">
                <a:latin typeface="Agency FB" pitchFamily="34" charset="0"/>
              </a:rPr>
              <a:t>Pangan</a:t>
            </a:r>
            <a:r>
              <a:rPr lang="en-US" sz="1850" dirty="0">
                <a:latin typeface="Agency FB" pitchFamily="34" charset="0"/>
              </a:rPr>
              <a:t> </a:t>
            </a:r>
            <a:r>
              <a:rPr lang="en-US" sz="1850" b="1" dirty="0" err="1">
                <a:latin typeface="Agency FB" pitchFamily="34" charset="0"/>
              </a:rPr>
              <a:t>Pemerintah</a:t>
            </a:r>
            <a:r>
              <a:rPr lang="en-US" sz="1850" b="1" dirty="0">
                <a:latin typeface="Agency FB" pitchFamily="34" charset="0"/>
              </a:rPr>
              <a:t> </a:t>
            </a:r>
            <a:r>
              <a:rPr lang="en-US" sz="1850" b="1" dirty="0" err="1">
                <a:latin typeface="Agency FB" pitchFamily="34" charset="0"/>
              </a:rPr>
              <a:t>Provinsi</a:t>
            </a:r>
            <a:r>
              <a:rPr lang="en-US" sz="1850" b="1" dirty="0">
                <a:latin typeface="Agency FB" pitchFamily="34" charset="0"/>
              </a:rPr>
              <a:t>.</a:t>
            </a:r>
            <a:endParaRPr lang="id-ID" sz="1850" b="1" dirty="0">
              <a:solidFill>
                <a:srgbClr val="C00000"/>
              </a:solidFill>
              <a:latin typeface="Agency FB" pitchFamily="34" charset="0"/>
              <a:cs typeface="Calibri" panose="020F0502020204030204" pitchFamily="34" charset="0"/>
            </a:endParaRPr>
          </a:p>
          <a:p>
            <a:pPr marL="228600" indent="-228600" algn="just">
              <a:spcBef>
                <a:spcPts val="1200"/>
              </a:spcBef>
            </a:pPr>
            <a:r>
              <a:rPr lang="en-US" sz="1850" b="1" dirty="0" smtClean="0">
                <a:solidFill>
                  <a:srgbClr val="C00000"/>
                </a:solidFill>
                <a:latin typeface="Agency FB" pitchFamily="34" charset="0"/>
                <a:cs typeface="Calibri" panose="020F0502020204030204" pitchFamily="34" charset="0"/>
              </a:rPr>
              <a:t>5. </a:t>
            </a:r>
            <a:r>
              <a:rPr lang="id-ID" sz="1850" b="1" dirty="0" smtClean="0">
                <a:solidFill>
                  <a:srgbClr val="C00000"/>
                </a:solidFill>
                <a:latin typeface="Agency FB" pitchFamily="34" charset="0"/>
                <a:cs typeface="Calibri" panose="020F0502020204030204" pitchFamily="34" charset="0"/>
              </a:rPr>
              <a:t>Pasal </a:t>
            </a:r>
            <a:r>
              <a:rPr lang="id-ID" sz="1850" b="1" dirty="0">
                <a:solidFill>
                  <a:srgbClr val="C00000"/>
                </a:solidFill>
                <a:latin typeface="Agency FB" pitchFamily="34" charset="0"/>
                <a:cs typeface="Calibri" panose="020F0502020204030204" pitchFamily="34" charset="0"/>
              </a:rPr>
              <a:t>64 (ayat 1): </a:t>
            </a:r>
            <a:r>
              <a:rPr lang="en-US" sz="1850" dirty="0" err="1">
                <a:latin typeface="Agency FB" pitchFamily="34" charset="0"/>
              </a:rPr>
              <a:t>Untuk</a:t>
            </a:r>
            <a:r>
              <a:rPr lang="en-US" sz="1850" dirty="0">
                <a:latin typeface="Agency FB" pitchFamily="34" charset="0"/>
              </a:rPr>
              <a:t> </a:t>
            </a:r>
            <a:r>
              <a:rPr lang="en-US" sz="1850" b="1" dirty="0" err="1">
                <a:latin typeface="Agency FB" pitchFamily="34" charset="0"/>
              </a:rPr>
              <a:t>stabilisasi</a:t>
            </a:r>
            <a:r>
              <a:rPr lang="en-US" sz="1850" b="1" dirty="0">
                <a:latin typeface="Agency FB" pitchFamily="34" charset="0"/>
              </a:rPr>
              <a:t> </a:t>
            </a:r>
            <a:r>
              <a:rPr lang="en-US" sz="1850" b="1" dirty="0" err="1">
                <a:latin typeface="Agency FB" pitchFamily="34" charset="0"/>
              </a:rPr>
              <a:t>pasokan</a:t>
            </a:r>
            <a:r>
              <a:rPr lang="en-US" sz="1850" b="1" dirty="0">
                <a:latin typeface="Agency FB" pitchFamily="34" charset="0"/>
              </a:rPr>
              <a:t> </a:t>
            </a:r>
            <a:r>
              <a:rPr lang="en-US" sz="1850" b="1" dirty="0" err="1">
                <a:latin typeface="Agency FB" pitchFamily="34" charset="0"/>
              </a:rPr>
              <a:t>dan</a:t>
            </a:r>
            <a:r>
              <a:rPr lang="en-US" sz="1850" b="1" dirty="0">
                <a:latin typeface="Agency FB" pitchFamily="34" charset="0"/>
              </a:rPr>
              <a:t> </a:t>
            </a:r>
            <a:r>
              <a:rPr lang="en-US" sz="1850" b="1" dirty="0" err="1">
                <a:latin typeface="Agency FB" pitchFamily="34" charset="0"/>
              </a:rPr>
              <a:t>harga</a:t>
            </a:r>
            <a:r>
              <a:rPr lang="en-US" sz="1850" b="1" dirty="0">
                <a:latin typeface="Agency FB" pitchFamily="34" charset="0"/>
              </a:rPr>
              <a:t> </a:t>
            </a:r>
            <a:r>
              <a:rPr lang="id-ID" sz="1850" b="1" dirty="0">
                <a:latin typeface="Agency FB" pitchFamily="34" charset="0"/>
              </a:rPr>
              <a:t>p</a:t>
            </a:r>
            <a:r>
              <a:rPr lang="en-US" sz="1850" b="1" dirty="0" err="1">
                <a:latin typeface="Agency FB" pitchFamily="34" charset="0"/>
              </a:rPr>
              <a:t>angan</a:t>
            </a:r>
            <a:r>
              <a:rPr lang="id-ID" sz="1850" b="1" dirty="0">
                <a:latin typeface="Agency FB" pitchFamily="34" charset="0"/>
              </a:rPr>
              <a:t> </a:t>
            </a:r>
            <a:r>
              <a:rPr lang="en-US" sz="1850" dirty="0" err="1">
                <a:latin typeface="Agency FB" pitchFamily="34" charset="0"/>
              </a:rPr>
              <a:t>terutama</a:t>
            </a:r>
            <a:r>
              <a:rPr lang="en-US" sz="1850" dirty="0">
                <a:latin typeface="Agency FB" pitchFamily="34" charset="0"/>
              </a:rPr>
              <a:t> </a:t>
            </a:r>
            <a:r>
              <a:rPr lang="id-ID" sz="1850" dirty="0">
                <a:latin typeface="Agency FB" pitchFamily="34" charset="0"/>
              </a:rPr>
              <a:t>p</a:t>
            </a:r>
            <a:r>
              <a:rPr lang="en-US" sz="1850" dirty="0" err="1">
                <a:latin typeface="Agency FB" pitchFamily="34" charset="0"/>
              </a:rPr>
              <a:t>angan</a:t>
            </a:r>
            <a:r>
              <a:rPr lang="en-US" sz="1850" dirty="0">
                <a:latin typeface="Agency FB" pitchFamily="34" charset="0"/>
              </a:rPr>
              <a:t> </a:t>
            </a:r>
            <a:r>
              <a:rPr lang="id-ID" sz="1850" dirty="0">
                <a:latin typeface="Agency FB" pitchFamily="34" charset="0"/>
              </a:rPr>
              <a:t>p</a:t>
            </a:r>
            <a:r>
              <a:rPr lang="en-US" sz="1850" dirty="0" err="1">
                <a:latin typeface="Agency FB" pitchFamily="34" charset="0"/>
              </a:rPr>
              <a:t>okok</a:t>
            </a:r>
            <a:r>
              <a:rPr lang="en-US" sz="1850" dirty="0">
                <a:latin typeface="Agency FB" pitchFamily="34" charset="0"/>
              </a:rPr>
              <a:t>, </a:t>
            </a:r>
            <a:r>
              <a:rPr lang="en-US" sz="1850" dirty="0" err="1">
                <a:latin typeface="Agency FB" pitchFamily="34" charset="0"/>
              </a:rPr>
              <a:t>manajemen</a:t>
            </a:r>
            <a:r>
              <a:rPr lang="en-US" sz="1850" dirty="0">
                <a:latin typeface="Agency FB" pitchFamily="34" charset="0"/>
              </a:rPr>
              <a:t> </a:t>
            </a:r>
            <a:r>
              <a:rPr lang="en-US" sz="1850" dirty="0" err="1">
                <a:latin typeface="Agency FB" pitchFamily="34" charset="0"/>
              </a:rPr>
              <a:t>cadangan</a:t>
            </a:r>
            <a:r>
              <a:rPr lang="en-US" sz="1850" dirty="0">
                <a:latin typeface="Agency FB" pitchFamily="34" charset="0"/>
              </a:rPr>
              <a:t> </a:t>
            </a:r>
            <a:r>
              <a:rPr lang="id-ID" sz="1850" dirty="0">
                <a:latin typeface="Agency FB" pitchFamily="34" charset="0"/>
              </a:rPr>
              <a:t>p</a:t>
            </a:r>
            <a:r>
              <a:rPr lang="en-US" sz="1850" dirty="0" err="1">
                <a:latin typeface="Agency FB" pitchFamily="34" charset="0"/>
              </a:rPr>
              <a:t>angan</a:t>
            </a:r>
            <a:r>
              <a:rPr lang="en-US" sz="1850" dirty="0">
                <a:latin typeface="Agency FB" pitchFamily="34" charset="0"/>
              </a:rPr>
              <a:t>, </a:t>
            </a:r>
            <a:r>
              <a:rPr lang="en-US" sz="1850" dirty="0" err="1">
                <a:latin typeface="Agency FB" pitchFamily="34" charset="0"/>
              </a:rPr>
              <a:t>dan</a:t>
            </a:r>
            <a:r>
              <a:rPr lang="en-US" sz="1850" dirty="0">
                <a:latin typeface="Agency FB" pitchFamily="34" charset="0"/>
              </a:rPr>
              <a:t> </a:t>
            </a:r>
            <a:r>
              <a:rPr lang="en-US" sz="1850" dirty="0" err="1">
                <a:latin typeface="Agency FB" pitchFamily="34" charset="0"/>
              </a:rPr>
              <a:t>menciptakan</a:t>
            </a:r>
            <a:r>
              <a:rPr lang="en-US" sz="1850" dirty="0">
                <a:latin typeface="Agency FB" pitchFamily="34" charset="0"/>
              </a:rPr>
              <a:t> </a:t>
            </a:r>
            <a:r>
              <a:rPr lang="en-US" sz="1850" dirty="0" err="1">
                <a:latin typeface="Agency FB" pitchFamily="34" charset="0"/>
              </a:rPr>
              <a:t>iklim</a:t>
            </a:r>
            <a:r>
              <a:rPr lang="en-US" sz="1850" dirty="0">
                <a:latin typeface="Agency FB" pitchFamily="34" charset="0"/>
              </a:rPr>
              <a:t> </a:t>
            </a:r>
            <a:r>
              <a:rPr lang="en-US" sz="1850" dirty="0" err="1">
                <a:latin typeface="Agency FB" pitchFamily="34" charset="0"/>
              </a:rPr>
              <a:t>usaha</a:t>
            </a:r>
            <a:r>
              <a:rPr lang="en-US" sz="1850" dirty="0">
                <a:latin typeface="Agency FB" pitchFamily="34" charset="0"/>
              </a:rPr>
              <a:t> </a:t>
            </a:r>
            <a:r>
              <a:rPr lang="id-ID" sz="1850" dirty="0">
                <a:latin typeface="Agency FB" pitchFamily="34" charset="0"/>
              </a:rPr>
              <a:t>p</a:t>
            </a:r>
            <a:r>
              <a:rPr lang="en-US" sz="1850" dirty="0" err="1">
                <a:latin typeface="Agency FB" pitchFamily="34" charset="0"/>
              </a:rPr>
              <a:t>angan</a:t>
            </a:r>
            <a:r>
              <a:rPr lang="en-US" sz="1850" dirty="0">
                <a:latin typeface="Agency FB" pitchFamily="34" charset="0"/>
              </a:rPr>
              <a:t> yang </a:t>
            </a:r>
            <a:r>
              <a:rPr lang="en-US" sz="1850" dirty="0" err="1">
                <a:latin typeface="Agency FB" pitchFamily="34" charset="0"/>
              </a:rPr>
              <a:t>sehat</a:t>
            </a:r>
            <a:r>
              <a:rPr lang="en-US" sz="1850" dirty="0">
                <a:latin typeface="Agency FB" pitchFamily="34" charset="0"/>
              </a:rPr>
              <a:t>, </a:t>
            </a:r>
            <a:r>
              <a:rPr lang="en-US" sz="1850" b="1" dirty="0" err="1" smtClean="0">
                <a:latin typeface="Agency FB" pitchFamily="34" charset="0"/>
              </a:rPr>
              <a:t>Pemerintah</a:t>
            </a:r>
            <a:r>
              <a:rPr lang="en-US" sz="1850" dirty="0">
                <a:latin typeface="Agency FB" pitchFamily="34" charset="0"/>
              </a:rPr>
              <a:t> </a:t>
            </a:r>
            <a:r>
              <a:rPr lang="id-ID" sz="1850" dirty="0" smtClean="0">
                <a:latin typeface="Agency FB" pitchFamily="34" charset="0"/>
              </a:rPr>
              <a:t>M</a:t>
            </a:r>
            <a:r>
              <a:rPr lang="en-US" sz="1850" dirty="0" err="1">
                <a:latin typeface="Agency FB" pitchFamily="34" charset="0"/>
              </a:rPr>
              <a:t>enjamin</a:t>
            </a:r>
            <a:r>
              <a:rPr lang="en-US" sz="1850" dirty="0">
                <a:latin typeface="Agency FB" pitchFamily="34" charset="0"/>
              </a:rPr>
              <a:t> </a:t>
            </a:r>
            <a:r>
              <a:rPr lang="en-US" sz="1850" b="1" dirty="0" err="1">
                <a:latin typeface="Agency FB" pitchFamily="34" charset="0"/>
              </a:rPr>
              <a:t>kelancaran</a:t>
            </a:r>
            <a:r>
              <a:rPr lang="en-US" sz="1850" b="1" dirty="0">
                <a:latin typeface="Agency FB" pitchFamily="34" charset="0"/>
              </a:rPr>
              <a:t> </a:t>
            </a:r>
            <a:r>
              <a:rPr lang="id-ID" sz="1850" b="1" dirty="0">
                <a:latin typeface="Agency FB" pitchFamily="34" charset="0"/>
              </a:rPr>
              <a:t>d</a:t>
            </a:r>
            <a:r>
              <a:rPr lang="en-US" sz="1850" b="1" dirty="0" err="1">
                <a:latin typeface="Agency FB" pitchFamily="34" charset="0"/>
              </a:rPr>
              <a:t>istribusi</a:t>
            </a:r>
            <a:r>
              <a:rPr lang="en-US" sz="1850" b="1" dirty="0">
                <a:latin typeface="Agency FB" pitchFamily="34" charset="0"/>
              </a:rPr>
              <a:t> </a:t>
            </a:r>
            <a:r>
              <a:rPr lang="id-ID" sz="1850" b="1" dirty="0">
                <a:latin typeface="Agency FB" pitchFamily="34" charset="0"/>
              </a:rPr>
              <a:t>p</a:t>
            </a:r>
            <a:r>
              <a:rPr lang="en-US" sz="1850" b="1" dirty="0" err="1">
                <a:latin typeface="Agency FB" pitchFamily="34" charset="0"/>
              </a:rPr>
              <a:t>angan</a:t>
            </a:r>
            <a:r>
              <a:rPr lang="id-ID" sz="1850" b="1" dirty="0">
                <a:latin typeface="Agency FB" pitchFamily="34" charset="0"/>
              </a:rPr>
              <a:t> </a:t>
            </a:r>
            <a:r>
              <a:rPr lang="en-US" sz="1850" dirty="0" err="1">
                <a:latin typeface="Agency FB" pitchFamily="34" charset="0"/>
              </a:rPr>
              <a:t>dan</a:t>
            </a:r>
            <a:r>
              <a:rPr lang="en-US" sz="1850" dirty="0">
                <a:latin typeface="Agency FB" pitchFamily="34" charset="0"/>
              </a:rPr>
              <a:t> </a:t>
            </a:r>
            <a:r>
              <a:rPr lang="en-US" sz="1850" dirty="0" err="1">
                <a:latin typeface="Agency FB" pitchFamily="34" charset="0"/>
              </a:rPr>
              <a:t>perdagangan</a:t>
            </a:r>
            <a:r>
              <a:rPr lang="en-US" sz="1850" dirty="0">
                <a:latin typeface="Agency FB" pitchFamily="34" charset="0"/>
              </a:rPr>
              <a:t> </a:t>
            </a:r>
            <a:r>
              <a:rPr lang="id-ID" sz="1850" dirty="0">
                <a:latin typeface="Agency FB" pitchFamily="34" charset="0"/>
              </a:rPr>
              <a:t>p</a:t>
            </a:r>
            <a:r>
              <a:rPr lang="en-US" sz="1850" dirty="0" err="1">
                <a:latin typeface="Agency FB" pitchFamily="34" charset="0"/>
              </a:rPr>
              <a:t>angan</a:t>
            </a:r>
            <a:r>
              <a:rPr lang="en-US" sz="1850" dirty="0">
                <a:latin typeface="Agency FB" pitchFamily="34" charset="0"/>
              </a:rPr>
              <a:t> </a:t>
            </a:r>
            <a:r>
              <a:rPr lang="id-ID" sz="1850" dirty="0">
                <a:latin typeface="Agency FB" pitchFamily="34" charset="0"/>
              </a:rPr>
              <a:t>p</a:t>
            </a:r>
            <a:r>
              <a:rPr lang="en-US" sz="1850" dirty="0" err="1">
                <a:latin typeface="Agency FB" pitchFamily="34" charset="0"/>
              </a:rPr>
              <a:t>okok</a:t>
            </a:r>
            <a:r>
              <a:rPr lang="id-ID" sz="1850" dirty="0">
                <a:latin typeface="Agency FB" pitchFamily="34" charset="0"/>
              </a:rPr>
              <a:t> </a:t>
            </a:r>
            <a:r>
              <a:rPr lang="en-US" sz="1850" dirty="0">
                <a:latin typeface="Agency FB" pitchFamily="34" charset="0"/>
              </a:rPr>
              <a:t>di </a:t>
            </a:r>
            <a:r>
              <a:rPr lang="en-US" sz="1850" dirty="0" err="1">
                <a:latin typeface="Agency FB" pitchFamily="34" charset="0"/>
              </a:rPr>
              <a:t>seluruh</a:t>
            </a:r>
            <a:r>
              <a:rPr lang="en-US" sz="1850" dirty="0">
                <a:latin typeface="Agency FB" pitchFamily="34" charset="0"/>
              </a:rPr>
              <a:t> </a:t>
            </a:r>
            <a:r>
              <a:rPr lang="en-US" sz="1850" dirty="0" err="1">
                <a:latin typeface="Agency FB" pitchFamily="34" charset="0"/>
              </a:rPr>
              <a:t>wilayah</a:t>
            </a:r>
            <a:r>
              <a:rPr lang="en-US" sz="1850" dirty="0">
                <a:latin typeface="Agency FB" pitchFamily="34" charset="0"/>
              </a:rPr>
              <a:t> Negara </a:t>
            </a:r>
            <a:r>
              <a:rPr lang="en-US" sz="1850" dirty="0" err="1" smtClean="0">
                <a:latin typeface="Agency FB" pitchFamily="34" charset="0"/>
              </a:rPr>
              <a:t>Republik</a:t>
            </a:r>
            <a:r>
              <a:rPr lang="en-US" sz="1850" dirty="0" smtClean="0">
                <a:latin typeface="Agency FB" pitchFamily="34" charset="0"/>
              </a:rPr>
              <a:t> </a:t>
            </a:r>
            <a:r>
              <a:rPr lang="en-US" sz="1850" dirty="0">
                <a:latin typeface="Agency FB" pitchFamily="34" charset="0"/>
              </a:rPr>
              <a:t>Indonesia</a:t>
            </a:r>
            <a:r>
              <a:rPr lang="id-ID" sz="1850" dirty="0" smtClean="0">
                <a:latin typeface="Agency FB" pitchFamily="34" charset="0"/>
              </a:rPr>
              <a:t>.</a:t>
            </a:r>
            <a:endParaRPr lang="id-ID" sz="1850" dirty="0">
              <a:latin typeface="Agency FB" pitchFamily="34" charset="0"/>
            </a:endParaRPr>
          </a:p>
        </p:txBody>
      </p:sp>
      <p:sp>
        <p:nvSpPr>
          <p:cNvPr id="7" name="Rectangle 6"/>
          <p:cNvSpPr/>
          <p:nvPr/>
        </p:nvSpPr>
        <p:spPr>
          <a:xfrm>
            <a:off x="152400" y="25122"/>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77800" y="-37326"/>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a:solidFill>
                  <a:srgbClr val="002060"/>
                </a:solidFill>
                <a:latin typeface="DilleniaUPC" pitchFamily="18" charset="-34"/>
                <a:cs typeface="DilleniaUPC" pitchFamily="18" charset="-34"/>
              </a:rPr>
              <a:t>7</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
        <p:nvSpPr>
          <p:cNvPr id="8" name="Rectangle 7"/>
          <p:cNvSpPr/>
          <p:nvPr/>
        </p:nvSpPr>
        <p:spPr>
          <a:xfrm>
            <a:off x="177800" y="685800"/>
            <a:ext cx="8966200" cy="4364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3600" b="1" dirty="0" smtClean="0">
                <a:solidFill>
                  <a:srgbClr val="002060"/>
                </a:solidFill>
                <a:latin typeface="DilleniaUPC" pitchFamily="18" charset="-34"/>
                <a:cs typeface="DilleniaUPC" pitchFamily="18" charset="-34"/>
              </a:rPr>
              <a:t>PP </a:t>
            </a:r>
            <a:r>
              <a:rPr lang="id-ID" sz="3600" b="1" dirty="0">
                <a:solidFill>
                  <a:srgbClr val="002060"/>
                </a:solidFill>
                <a:latin typeface="DilleniaUPC" pitchFamily="18" charset="-34"/>
                <a:cs typeface="DilleniaUPC" pitchFamily="18" charset="-34"/>
              </a:rPr>
              <a:t>No. 17 Tahun 2015 tentang Ketahanan Pangan dan Gizi</a:t>
            </a:r>
          </a:p>
        </p:txBody>
      </p:sp>
    </p:spTree>
    <p:extLst>
      <p:ext uri="{BB962C8B-B14F-4D97-AF65-F5344CB8AC3E}">
        <p14:creationId xmlns:p14="http://schemas.microsoft.com/office/powerpoint/2010/main" val="30169523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 y="1777692"/>
            <a:ext cx="11734800" cy="3708708"/>
          </a:xfrm>
          <a:prstGeom prst="rect">
            <a:avLst/>
          </a:prstGeom>
        </p:spPr>
        <p:txBody>
          <a:bodyPr wrap="square">
            <a:spAutoFit/>
          </a:bodyPr>
          <a:lstStyle/>
          <a:p>
            <a:pPr algn="just">
              <a:spcAft>
                <a:spcPts val="600"/>
              </a:spcAft>
            </a:pPr>
            <a:r>
              <a:rPr lang="en-US" sz="2000" b="1" dirty="0" smtClean="0">
                <a:solidFill>
                  <a:srgbClr val="C00000"/>
                </a:solidFill>
                <a:latin typeface="Agency FB" pitchFamily="34" charset="0"/>
                <a:cs typeface="Calibri" panose="020F0502020204030204" pitchFamily="34" charset="0"/>
              </a:rPr>
              <a:t>1. </a:t>
            </a:r>
            <a:r>
              <a:rPr lang="id-ID" sz="2000" b="1" dirty="0" smtClean="0">
                <a:solidFill>
                  <a:srgbClr val="C00000"/>
                </a:solidFill>
                <a:latin typeface="Agency FB" pitchFamily="34" charset="0"/>
                <a:cs typeface="Calibri" panose="020F0502020204030204" pitchFamily="34" charset="0"/>
              </a:rPr>
              <a:t>Pasal 5 (ayat 1): </a:t>
            </a:r>
            <a:endParaRPr lang="en-US" sz="2000" b="1" dirty="0" smtClean="0">
              <a:solidFill>
                <a:srgbClr val="C00000"/>
              </a:solidFill>
              <a:latin typeface="Agency FB" pitchFamily="34" charset="0"/>
              <a:cs typeface="Calibri" panose="020F0502020204030204" pitchFamily="34" charset="0"/>
            </a:endParaRPr>
          </a:p>
          <a:p>
            <a:pPr marL="177800" indent="-177800" algn="just"/>
            <a:r>
              <a:rPr lang="en-US" sz="2000" dirty="0" smtClean="0">
                <a:latin typeface="Agency FB" pitchFamily="34" charset="0"/>
                <a:cs typeface="Calibri" panose="020F0502020204030204" pitchFamily="34" charset="0"/>
              </a:rPr>
              <a:t>	</a:t>
            </a:r>
            <a:r>
              <a:rPr lang="id-ID" sz="2000" dirty="0" smtClean="0">
                <a:latin typeface="Agency FB" pitchFamily="34" charset="0"/>
                <a:cs typeface="Calibri" panose="020F0502020204030204" pitchFamily="34" charset="0"/>
              </a:rPr>
              <a:t>Dalam kondisi tertentu yang dapat mengganggu kegiatan perdagangan nasional, </a:t>
            </a:r>
            <a:r>
              <a:rPr lang="id-ID" sz="2400" b="1" dirty="0" smtClean="0">
                <a:latin typeface="Agency FB" pitchFamily="34" charset="0"/>
                <a:cs typeface="Calibri" panose="020F0502020204030204" pitchFamily="34" charset="0"/>
              </a:rPr>
              <a:t>Pemerintah Pusat wajib menjamin pasokan dan stabilisasi harga </a:t>
            </a:r>
            <a:r>
              <a:rPr lang="id-ID" sz="2000" dirty="0" smtClean="0">
                <a:latin typeface="Agency FB" pitchFamily="34" charset="0"/>
                <a:cs typeface="Calibri" panose="020F0502020204030204" pitchFamily="34" charset="0"/>
              </a:rPr>
              <a:t>barang kebutuhan pokok dan barang penting.</a:t>
            </a:r>
            <a:endParaRPr lang="id-ID" sz="2000" b="1" dirty="0">
              <a:solidFill>
                <a:srgbClr val="C00000"/>
              </a:solidFill>
              <a:latin typeface="Agency FB" pitchFamily="34" charset="0"/>
              <a:cs typeface="Calibri" panose="020F0502020204030204" pitchFamily="34" charset="0"/>
            </a:endParaRPr>
          </a:p>
          <a:p>
            <a:pPr>
              <a:spcBef>
                <a:spcPts val="1200"/>
              </a:spcBef>
            </a:pPr>
            <a:r>
              <a:rPr lang="en-US" sz="2000" b="1" dirty="0" smtClean="0">
                <a:solidFill>
                  <a:srgbClr val="C00000"/>
                </a:solidFill>
                <a:latin typeface="Agency FB" pitchFamily="34" charset="0"/>
                <a:cs typeface="Calibri" panose="020F0502020204030204" pitchFamily="34" charset="0"/>
              </a:rPr>
              <a:t>2. </a:t>
            </a:r>
            <a:r>
              <a:rPr lang="id-ID" sz="2000" b="1" dirty="0" smtClean="0">
                <a:solidFill>
                  <a:srgbClr val="C00000"/>
                </a:solidFill>
                <a:latin typeface="Agency FB" pitchFamily="34" charset="0"/>
                <a:cs typeface="Calibri" panose="020F0502020204030204" pitchFamily="34" charset="0"/>
              </a:rPr>
              <a:t>Pasal 8</a:t>
            </a:r>
            <a:endParaRPr lang="id-ID" sz="2000" b="1" dirty="0">
              <a:solidFill>
                <a:srgbClr val="C00000"/>
              </a:solidFill>
              <a:latin typeface="Agency FB" pitchFamily="34" charset="0"/>
              <a:cs typeface="Calibri" panose="020F0502020204030204" pitchFamily="34" charset="0"/>
            </a:endParaRPr>
          </a:p>
          <a:p>
            <a:pPr marL="571500" indent="-279400" algn="just">
              <a:buFont typeface="Arial" pitchFamily="34" charset="0"/>
              <a:buChar char="•"/>
            </a:pPr>
            <a:r>
              <a:rPr lang="id-ID" sz="2000" b="1" dirty="0" smtClean="0">
                <a:solidFill>
                  <a:srgbClr val="C00000"/>
                </a:solidFill>
                <a:latin typeface="Agency FB" pitchFamily="34" charset="0"/>
                <a:cs typeface="Calibri" panose="020F0502020204030204" pitchFamily="34" charset="0"/>
              </a:rPr>
              <a:t>Ayat (1): </a:t>
            </a:r>
            <a:r>
              <a:rPr lang="id-ID" sz="2000" dirty="0" smtClean="0">
                <a:latin typeface="Agency FB" pitchFamily="34" charset="0"/>
                <a:cs typeface="Calibri" panose="020F0502020204030204" pitchFamily="34" charset="0"/>
              </a:rPr>
              <a:t>Untuk menetapkan kebijakan harga, pengelolaan stok dan logistik, serta pengendalian ekspor dan impor sebagaimana dimaksud dalam Pasal 5 ayat 3, Menteri dapat membentuk </a:t>
            </a:r>
            <a:r>
              <a:rPr lang="id-ID" sz="2400" b="1" dirty="0" smtClean="0">
                <a:latin typeface="Agency FB" pitchFamily="34" charset="0"/>
                <a:cs typeface="Calibri" panose="020F0502020204030204" pitchFamily="34" charset="0"/>
              </a:rPr>
              <a:t>Tim Ketersediaan dan Stabilisasi Harga.</a:t>
            </a:r>
          </a:p>
          <a:p>
            <a:pPr marL="571500" indent="-279400" algn="just">
              <a:buFont typeface="Arial" pitchFamily="34" charset="0"/>
              <a:buChar char="•"/>
            </a:pPr>
            <a:r>
              <a:rPr lang="id-ID" sz="2000" b="1" dirty="0" smtClean="0">
                <a:solidFill>
                  <a:srgbClr val="C00000"/>
                </a:solidFill>
                <a:latin typeface="Agency FB" pitchFamily="34" charset="0"/>
                <a:cs typeface="Calibri" panose="020F0502020204030204" pitchFamily="34" charset="0"/>
              </a:rPr>
              <a:t>Ayat (3): </a:t>
            </a:r>
            <a:r>
              <a:rPr lang="id-ID" sz="2000" dirty="0" smtClean="0">
                <a:latin typeface="Agency FB" pitchFamily="34" charset="0"/>
                <a:cs typeface="Calibri" panose="020F0502020204030204" pitchFamily="34" charset="0"/>
              </a:rPr>
              <a:t>Tim Ketersediaan dan Stabilisasi Harga sebagaimana dimaksud pada ayat (1) memberikan masukan atau pertimbangan kepada Menteri dalam </a:t>
            </a:r>
            <a:r>
              <a:rPr lang="id-ID" sz="2400" b="1" dirty="0" smtClean="0">
                <a:latin typeface="Agency FB" pitchFamily="34" charset="0"/>
                <a:cs typeface="Calibri" panose="020F0502020204030204" pitchFamily="34" charset="0"/>
              </a:rPr>
              <a:t>menetapkan kebijakan harga, pengelolaan stok dan logistik</a:t>
            </a:r>
            <a:r>
              <a:rPr lang="id-ID" sz="2000" dirty="0" smtClean="0">
                <a:latin typeface="Agency FB" pitchFamily="34" charset="0"/>
                <a:cs typeface="Calibri" panose="020F0502020204030204" pitchFamily="34" charset="0"/>
              </a:rPr>
              <a:t>, serta pengendalian ekspor impor.</a:t>
            </a:r>
          </a:p>
          <a:p>
            <a:pPr marL="571500" indent="-279400" algn="just">
              <a:buFont typeface="Arial" pitchFamily="34" charset="0"/>
              <a:buChar char="•"/>
            </a:pPr>
            <a:r>
              <a:rPr lang="id-ID" sz="2000" b="1" dirty="0" smtClean="0">
                <a:solidFill>
                  <a:srgbClr val="C00000"/>
                </a:solidFill>
                <a:latin typeface="Agency FB" pitchFamily="34" charset="0"/>
                <a:cs typeface="Calibri" panose="020F0502020204030204" pitchFamily="34" charset="0"/>
              </a:rPr>
              <a:t>Pasal 9: </a:t>
            </a:r>
            <a:r>
              <a:rPr lang="id-ID" sz="2400" b="1" dirty="0" smtClean="0">
                <a:latin typeface="Agency FB" pitchFamily="34" charset="0"/>
                <a:cs typeface="Calibri" panose="020F0502020204030204" pitchFamily="34" charset="0"/>
              </a:rPr>
              <a:t>Pemerintah Daerah </a:t>
            </a:r>
            <a:r>
              <a:rPr lang="id-ID" sz="2000" dirty="0" smtClean="0">
                <a:latin typeface="Agency FB" pitchFamily="34" charset="0"/>
                <a:cs typeface="Calibri" panose="020F0502020204030204" pitchFamily="34" charset="0"/>
              </a:rPr>
              <a:t>harus mengacu pada kebijakan yang ditetapkan oleh Pemerintah Pusat dalam hal mengatur langkah pemenuhan ketersediaan, stabilisasi harga dan distribusi barang kebutuhan pokok dan barang penting.</a:t>
            </a:r>
            <a:endParaRPr lang="id-ID" sz="2000" b="1" dirty="0">
              <a:solidFill>
                <a:srgbClr val="C00000"/>
              </a:solidFill>
              <a:latin typeface="Agency FB" pitchFamily="34" charset="0"/>
              <a:cs typeface="Calibri" panose="020F0502020204030204" pitchFamily="34" charset="0"/>
            </a:endParaRPr>
          </a:p>
        </p:txBody>
      </p:sp>
      <p:sp>
        <p:nvSpPr>
          <p:cNvPr id="3" name="Slide Number Placeholder 2"/>
          <p:cNvSpPr>
            <a:spLocks noGrp="1"/>
          </p:cNvSpPr>
          <p:nvPr>
            <p:ph type="sldNum" sz="quarter" idx="12"/>
          </p:nvPr>
        </p:nvSpPr>
        <p:spPr/>
        <p:txBody>
          <a:bodyPr/>
          <a:lstStyle/>
          <a:p>
            <a:fld id="{FA84A37A-AFC2-4A01-80A1-FC20F2C0D5BB}" type="slidenum">
              <a:rPr lang="en-US" smtClean="0"/>
              <a:pPr/>
              <a:t>25</a:t>
            </a:fld>
            <a:endParaRPr lang="en-US"/>
          </a:p>
        </p:txBody>
      </p:sp>
      <p:sp>
        <p:nvSpPr>
          <p:cNvPr id="7" name="Rectangle 6"/>
          <p:cNvSpPr/>
          <p:nvPr/>
        </p:nvSpPr>
        <p:spPr>
          <a:xfrm>
            <a:off x="152400" y="25122"/>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77800" y="-37326"/>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KETERSEDIAAN DAN KETERJANGKAUAN PANGAN POKOK </a:t>
            </a:r>
            <a:r>
              <a:rPr lang="id-ID" sz="4000" b="1" dirty="0" smtClean="0">
                <a:solidFill>
                  <a:srgbClr val="002060"/>
                </a:solidFill>
                <a:latin typeface="DilleniaUPC" pitchFamily="18" charset="-34"/>
                <a:cs typeface="DilleniaUPC" pitchFamily="18" charset="-34"/>
              </a:rPr>
              <a:t>(</a:t>
            </a:r>
            <a:r>
              <a:rPr lang="en-US" sz="4000" b="1" dirty="0" smtClean="0">
                <a:solidFill>
                  <a:srgbClr val="002060"/>
                </a:solidFill>
                <a:latin typeface="DilleniaUPC" pitchFamily="18" charset="-34"/>
                <a:cs typeface="DilleniaUPC" pitchFamily="18" charset="-34"/>
              </a:rPr>
              <a:t>8</a:t>
            </a:r>
            <a:r>
              <a:rPr lang="id-ID" sz="4000" b="1" dirty="0" smtClean="0">
                <a:solidFill>
                  <a:srgbClr val="002060"/>
                </a:solidFill>
                <a:latin typeface="DilleniaUPC" pitchFamily="18" charset="-34"/>
                <a:cs typeface="DilleniaUPC" pitchFamily="18" charset="-34"/>
              </a:rPr>
              <a:t>)</a:t>
            </a:r>
            <a:endParaRPr lang="id-ID" sz="4000" b="1" dirty="0">
              <a:solidFill>
                <a:srgbClr val="002060"/>
              </a:solidFill>
              <a:latin typeface="DilleniaUPC" pitchFamily="18" charset="-34"/>
              <a:cs typeface="DilleniaUPC" pitchFamily="18" charset="-34"/>
            </a:endParaRPr>
          </a:p>
        </p:txBody>
      </p:sp>
      <p:sp>
        <p:nvSpPr>
          <p:cNvPr id="9" name="Rectangle 8"/>
          <p:cNvSpPr/>
          <p:nvPr/>
        </p:nvSpPr>
        <p:spPr>
          <a:xfrm>
            <a:off x="152400" y="1163784"/>
            <a:ext cx="11353800" cy="4364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2800" b="1" dirty="0" smtClean="0">
                <a:solidFill>
                  <a:srgbClr val="002060"/>
                </a:solidFill>
                <a:latin typeface="DilleniaUPC" pitchFamily="18" charset="-34"/>
                <a:cs typeface="DilleniaUPC" pitchFamily="18" charset="-34"/>
              </a:rPr>
              <a:t>Perpres </a:t>
            </a:r>
            <a:r>
              <a:rPr lang="id-ID" sz="2800" b="1" dirty="0">
                <a:solidFill>
                  <a:srgbClr val="002060"/>
                </a:solidFill>
                <a:latin typeface="DilleniaUPC" pitchFamily="18" charset="-34"/>
                <a:cs typeface="DilleniaUPC" pitchFamily="18" charset="-34"/>
              </a:rPr>
              <a:t>No. 71 Tahun 2015 ttg Penetapan dan Penyimpanan Barang Kebutuhan Pokok dan Barang </a:t>
            </a:r>
            <a:r>
              <a:rPr lang="id-ID" sz="2800" b="1" dirty="0" smtClean="0">
                <a:solidFill>
                  <a:srgbClr val="002060"/>
                </a:solidFill>
                <a:latin typeface="DilleniaUPC" pitchFamily="18" charset="-34"/>
                <a:cs typeface="DilleniaUPC" pitchFamily="18" charset="-34"/>
              </a:rPr>
              <a:t>Penting</a:t>
            </a:r>
            <a:endParaRPr lang="id-ID" sz="28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38508704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Slide Number Placeholder 56"/>
          <p:cNvSpPr>
            <a:spLocks noGrp="1"/>
          </p:cNvSpPr>
          <p:nvPr>
            <p:ph type="sldNum" sz="quarter" idx="4294967295"/>
          </p:nvPr>
        </p:nvSpPr>
        <p:spPr bwMode="auto">
          <a:xfrm>
            <a:off x="9347200" y="6537325"/>
            <a:ext cx="2844800" cy="3206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19DCF387-BEE2-4406-BA55-3AAB90298120}" type="slidenum">
              <a:rPr lang="en-US" altLang="en-US" sz="1800" smtClean="0">
                <a:solidFill>
                  <a:srgbClr val="000000"/>
                </a:solidFill>
                <a:latin typeface="Times New Roman" pitchFamily="18" charset="0"/>
                <a:cs typeface="Times New Roman" pitchFamily="18" charset="0"/>
              </a:rPr>
              <a:pPr eaLnBrk="1" fontAlgn="base" hangingPunct="1">
                <a:spcBef>
                  <a:spcPct val="0"/>
                </a:spcBef>
                <a:spcAft>
                  <a:spcPct val="0"/>
                </a:spcAft>
              </a:pPr>
              <a:t>26</a:t>
            </a:fld>
            <a:endParaRPr lang="en-US" altLang="en-US" sz="1800" smtClean="0">
              <a:solidFill>
                <a:srgbClr val="000000"/>
              </a:solidFill>
              <a:latin typeface="Times New Roman" pitchFamily="18" charset="0"/>
              <a:cs typeface="Times New Roman" pitchFamily="18" charset="0"/>
            </a:endParaRPr>
          </a:p>
        </p:txBody>
      </p:sp>
      <p:sp>
        <p:nvSpPr>
          <p:cNvPr id="13" name="Rectangle 8"/>
          <p:cNvSpPr>
            <a:spLocks noChangeArrowheads="1"/>
          </p:cNvSpPr>
          <p:nvPr/>
        </p:nvSpPr>
        <p:spPr bwMode="auto">
          <a:xfrm>
            <a:off x="6003635" y="36239"/>
            <a:ext cx="184731" cy="384721"/>
          </a:xfrm>
          <a:prstGeom prst="rect">
            <a:avLst/>
          </a:prstGeom>
          <a:noFill/>
          <a:ln>
            <a:noFill/>
          </a:ln>
          <a:effectLst>
            <a:prstShdw prst="shdw17" dist="17961" dir="2700000">
              <a:schemeClr val="accent1">
                <a:gamma/>
                <a:shade val="60000"/>
                <a:invGamma/>
                <a:alpha val="50000"/>
              </a:schemeClr>
            </a:prstShdw>
          </a:effectLst>
          <a:extLst/>
        </p:spPr>
        <p:txBody>
          <a:bodyPr wrap="none" anchor="ctr">
            <a:spAutoFit/>
          </a:bodyPr>
          <a:lstStyle/>
          <a:p>
            <a:pPr algn="ctr" eaLnBrk="0" hangingPunct="0">
              <a:defRPr/>
            </a:pPr>
            <a:endParaRPr lang="en-US">
              <a:solidFill>
                <a:srgbClr val="1D528D"/>
              </a:solidFill>
              <a:cs typeface="Times New Roman" pitchFamily="18" charset="0"/>
            </a:endParaRPr>
          </a:p>
        </p:txBody>
      </p:sp>
      <p:sp>
        <p:nvSpPr>
          <p:cNvPr id="27" name="Subtitle 2"/>
          <p:cNvSpPr txBox="1">
            <a:spLocks/>
          </p:cNvSpPr>
          <p:nvPr/>
        </p:nvSpPr>
        <p:spPr bwMode="auto">
          <a:xfrm>
            <a:off x="304800" y="1828800"/>
            <a:ext cx="11237383" cy="4537075"/>
          </a:xfrm>
          <a:prstGeom prst="rect">
            <a:avLst/>
          </a:prstGeom>
          <a:noFill/>
          <a:ln>
            <a:noFill/>
          </a:ln>
          <a:extLst/>
        </p:spPr>
        <p:txBody>
          <a:bodyPr/>
          <a:lstStyle>
            <a:lvl1pPr marL="342900" indent="-342900" algn="l" rtl="0" eaLnBrk="0" fontAlgn="base" hangingPunct="0">
              <a:spcBef>
                <a:spcPct val="20000"/>
              </a:spcBef>
              <a:spcAft>
                <a:spcPct val="0"/>
              </a:spcAft>
              <a:buClr>
                <a:schemeClr val="hlink"/>
              </a:buClr>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Wingdings" pitchFamily="2" charset="2"/>
              <a:buChar char="§"/>
              <a:defRPr sz="2800">
                <a:solidFill>
                  <a:schemeClr val="tx1"/>
                </a:solidFill>
                <a:latin typeface="+mn-lt"/>
              </a:defRPr>
            </a:lvl2pPr>
            <a:lvl3pPr marL="1143000" indent="-228600" algn="l" rtl="0" eaLnBrk="0" fontAlgn="base" hangingPunct="0">
              <a:spcBef>
                <a:spcPct val="20000"/>
              </a:spcBef>
              <a:spcAft>
                <a:spcPct val="0"/>
              </a:spcAft>
              <a:buClr>
                <a:schemeClr val="tx1"/>
              </a:buClr>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625475" indent="-625475" algn="just">
              <a:spcBef>
                <a:spcPts val="1200"/>
              </a:spcBef>
              <a:buClr>
                <a:srgbClr val="6E71F0"/>
              </a:buClr>
              <a:buNone/>
              <a:defRPr/>
            </a:pPr>
            <a:r>
              <a:rPr lang="id-ID" sz="2800" b="1" dirty="0">
                <a:solidFill>
                  <a:srgbClr val="C00000"/>
                </a:solidFill>
                <a:latin typeface="Agency FB" pitchFamily="34" charset="0"/>
                <a:cs typeface="Calibri" panose="020F0502020204030204" pitchFamily="34" charset="0"/>
              </a:rPr>
              <a:t>Pasal </a:t>
            </a:r>
            <a:r>
              <a:rPr lang="en-US" sz="2800" b="1" dirty="0" smtClean="0">
                <a:solidFill>
                  <a:srgbClr val="C00000"/>
                </a:solidFill>
                <a:latin typeface="Agency FB" pitchFamily="34" charset="0"/>
                <a:cs typeface="Calibri" panose="020F0502020204030204" pitchFamily="34" charset="0"/>
              </a:rPr>
              <a:t>283</a:t>
            </a:r>
            <a:endParaRPr lang="en-US" sz="2800" b="1" dirty="0">
              <a:solidFill>
                <a:srgbClr val="C00000"/>
              </a:solidFill>
              <a:latin typeface="Agency FB" pitchFamily="34" charset="0"/>
              <a:cs typeface="Calibri" panose="020F0502020204030204" pitchFamily="34" charset="0"/>
            </a:endParaRPr>
          </a:p>
          <a:p>
            <a:pPr algn="just">
              <a:spcBef>
                <a:spcPts val="1200"/>
              </a:spcBef>
              <a:buClr>
                <a:srgbClr val="6E71F0"/>
              </a:buClr>
              <a:buFont typeface="Arial" pitchFamily="34" charset="0"/>
              <a:buChar char="•"/>
              <a:defRPr/>
            </a:pPr>
            <a:r>
              <a:rPr lang="id-ID" sz="2800" b="1" dirty="0" smtClean="0">
                <a:solidFill>
                  <a:srgbClr val="C00000"/>
                </a:solidFill>
                <a:latin typeface="Agency FB" pitchFamily="34" charset="0"/>
                <a:cs typeface="Calibri" panose="020F0502020204030204" pitchFamily="34" charset="0"/>
              </a:rPr>
              <a:t>Ayat </a:t>
            </a:r>
            <a:r>
              <a:rPr lang="id-ID" sz="2800" b="1" dirty="0">
                <a:solidFill>
                  <a:srgbClr val="C00000"/>
                </a:solidFill>
                <a:latin typeface="Agency FB" pitchFamily="34" charset="0"/>
                <a:cs typeface="Calibri" panose="020F0502020204030204" pitchFamily="34" charset="0"/>
              </a:rPr>
              <a:t>(1): </a:t>
            </a:r>
            <a:r>
              <a:rPr lang="en-US" sz="2800" dirty="0" err="1">
                <a:latin typeface="Agency FB" pitchFamily="34" charset="0"/>
                <a:cs typeface="Calibri" panose="020F0502020204030204" pitchFamily="34" charset="0"/>
              </a:rPr>
              <a:t>Pengelola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keuangan</a:t>
            </a:r>
            <a:r>
              <a:rPr lang="en-US" sz="2800" dirty="0">
                <a:latin typeface="Agency FB" pitchFamily="34" charset="0"/>
                <a:cs typeface="Calibri" panose="020F0502020204030204" pitchFamily="34" charset="0"/>
              </a:rPr>
              <a:t> Daerah </a:t>
            </a:r>
            <a:r>
              <a:rPr lang="en-US" sz="2800" dirty="0" err="1">
                <a:latin typeface="Agency FB" pitchFamily="34" charset="0"/>
                <a:cs typeface="Calibri" panose="020F0502020204030204" pitchFamily="34" charset="0"/>
              </a:rPr>
              <a:t>merupak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bagian</a:t>
            </a:r>
            <a:r>
              <a:rPr lang="en-US" sz="2800" dirty="0">
                <a:latin typeface="Agency FB" pitchFamily="34" charset="0"/>
                <a:cs typeface="Calibri" panose="020F0502020204030204" pitchFamily="34" charset="0"/>
              </a:rPr>
              <a:t> yang </a:t>
            </a:r>
            <a:r>
              <a:rPr lang="en-US" sz="2800" dirty="0" err="1">
                <a:latin typeface="Agency FB" pitchFamily="34" charset="0"/>
                <a:cs typeface="Calibri" panose="020F0502020204030204" pitchFamily="34" charset="0"/>
              </a:rPr>
              <a:t>tidak</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terpisahk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dari</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penyelenggara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Urus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Pemerintahan</a:t>
            </a:r>
            <a:r>
              <a:rPr lang="en-US" sz="2800" dirty="0">
                <a:latin typeface="Agency FB" pitchFamily="34" charset="0"/>
                <a:cs typeface="Calibri" panose="020F0502020204030204" pitchFamily="34" charset="0"/>
              </a:rPr>
              <a:t> </a:t>
            </a:r>
            <a:r>
              <a:rPr lang="en-US" sz="2800" dirty="0" smtClean="0">
                <a:latin typeface="Agency FB" pitchFamily="34" charset="0"/>
                <a:cs typeface="Calibri" panose="020F0502020204030204" pitchFamily="34" charset="0"/>
              </a:rPr>
              <a:t>yang </a:t>
            </a:r>
            <a:r>
              <a:rPr lang="en-US" sz="2800" dirty="0" err="1" smtClean="0">
                <a:latin typeface="Agency FB" pitchFamily="34" charset="0"/>
                <a:cs typeface="Calibri" panose="020F0502020204030204" pitchFamily="34" charset="0"/>
              </a:rPr>
              <a:t>menjadi</a:t>
            </a:r>
            <a:r>
              <a:rPr lang="en-US" sz="2800" dirty="0" smtClean="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kewenangan</a:t>
            </a:r>
            <a:r>
              <a:rPr lang="en-US" sz="2800" dirty="0">
                <a:latin typeface="Agency FB" pitchFamily="34" charset="0"/>
                <a:cs typeface="Calibri" panose="020F0502020204030204" pitchFamily="34" charset="0"/>
              </a:rPr>
              <a:t> Daerah </a:t>
            </a:r>
            <a:r>
              <a:rPr lang="en-US" sz="2800" dirty="0" err="1">
                <a:latin typeface="Agency FB" pitchFamily="34" charset="0"/>
                <a:cs typeface="Calibri" panose="020F0502020204030204" pitchFamily="34" charset="0"/>
              </a:rPr>
              <a:t>sebagai</a:t>
            </a:r>
            <a:r>
              <a:rPr lang="en-US" sz="2800" dirty="0">
                <a:latin typeface="Agency FB" pitchFamily="34" charset="0"/>
                <a:cs typeface="Calibri" panose="020F0502020204030204" pitchFamily="34" charset="0"/>
              </a:rPr>
              <a:t> </a:t>
            </a:r>
            <a:r>
              <a:rPr lang="fi-FI" sz="2800" dirty="0">
                <a:latin typeface="Agency FB" pitchFamily="34" charset="0"/>
                <a:cs typeface="Calibri" panose="020F0502020204030204" pitchFamily="34" charset="0"/>
              </a:rPr>
              <a:t>akibat dari penyerahan Urusan Pemerintahan.</a:t>
            </a:r>
          </a:p>
          <a:p>
            <a:pPr algn="just">
              <a:spcBef>
                <a:spcPts val="1200"/>
              </a:spcBef>
              <a:buClr>
                <a:srgbClr val="6E71F0"/>
              </a:buClr>
              <a:buFont typeface="Arial" pitchFamily="34" charset="0"/>
              <a:buChar char="•"/>
              <a:defRPr/>
            </a:pPr>
            <a:r>
              <a:rPr lang="id-ID" sz="2800" b="1" dirty="0">
                <a:solidFill>
                  <a:srgbClr val="C00000"/>
                </a:solidFill>
                <a:latin typeface="Agency FB" pitchFamily="34" charset="0"/>
                <a:cs typeface="Calibri" panose="020F0502020204030204" pitchFamily="34" charset="0"/>
              </a:rPr>
              <a:t>Ayat </a:t>
            </a:r>
            <a:r>
              <a:rPr lang="id-ID" sz="2800" b="1" dirty="0" smtClean="0">
                <a:solidFill>
                  <a:srgbClr val="C00000"/>
                </a:solidFill>
                <a:latin typeface="Agency FB" pitchFamily="34" charset="0"/>
                <a:cs typeface="Calibri" panose="020F0502020204030204" pitchFamily="34" charset="0"/>
              </a:rPr>
              <a:t>(</a:t>
            </a:r>
            <a:r>
              <a:rPr lang="en-US" sz="2800" b="1" dirty="0" smtClean="0">
                <a:solidFill>
                  <a:srgbClr val="C00000"/>
                </a:solidFill>
                <a:latin typeface="Agency FB" pitchFamily="34" charset="0"/>
                <a:cs typeface="Calibri" panose="020F0502020204030204" pitchFamily="34" charset="0"/>
              </a:rPr>
              <a:t>2</a:t>
            </a:r>
            <a:r>
              <a:rPr lang="id-ID" sz="2800" b="1" dirty="0" smtClean="0">
                <a:solidFill>
                  <a:srgbClr val="C00000"/>
                </a:solidFill>
                <a:latin typeface="Agency FB" pitchFamily="34" charset="0"/>
                <a:cs typeface="Calibri" panose="020F0502020204030204" pitchFamily="34" charset="0"/>
              </a:rPr>
              <a:t>): </a:t>
            </a:r>
            <a:r>
              <a:rPr lang="en-US" sz="2800" dirty="0" err="1" smtClean="0">
                <a:latin typeface="Agency FB" pitchFamily="34" charset="0"/>
                <a:cs typeface="Calibri" panose="020F0502020204030204" pitchFamily="34" charset="0"/>
              </a:rPr>
              <a:t>Pengelolaan</a:t>
            </a:r>
            <a:r>
              <a:rPr lang="en-US" sz="2800" dirty="0" smtClean="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keuangan</a:t>
            </a:r>
            <a:r>
              <a:rPr lang="en-US" sz="2800" dirty="0">
                <a:latin typeface="Agency FB" pitchFamily="34" charset="0"/>
                <a:cs typeface="Calibri" panose="020F0502020204030204" pitchFamily="34" charset="0"/>
              </a:rPr>
              <a:t> Daerah </a:t>
            </a:r>
            <a:r>
              <a:rPr lang="en-US" sz="2800" dirty="0" err="1">
                <a:latin typeface="Agency FB" pitchFamily="34" charset="0"/>
                <a:cs typeface="Calibri" panose="020F0502020204030204" pitchFamily="34" charset="0"/>
              </a:rPr>
              <a:t>sebagaimana</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dimaksud</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pada</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ayat</a:t>
            </a:r>
            <a:r>
              <a:rPr lang="en-US" sz="2800" dirty="0">
                <a:latin typeface="Agency FB" pitchFamily="34" charset="0"/>
                <a:cs typeface="Calibri" panose="020F0502020204030204" pitchFamily="34" charset="0"/>
              </a:rPr>
              <a:t> (1) </a:t>
            </a:r>
            <a:r>
              <a:rPr lang="en-US" sz="2800" dirty="0" err="1">
                <a:latin typeface="Agency FB" pitchFamily="34" charset="0"/>
                <a:cs typeface="Calibri" panose="020F0502020204030204" pitchFamily="34" charset="0"/>
              </a:rPr>
              <a:t>dilakuk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secara</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tertib</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taat</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pada</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ketentuan</a:t>
            </a:r>
            <a:r>
              <a:rPr lang="en-US" sz="2800" dirty="0">
                <a:latin typeface="Agency FB" pitchFamily="34" charset="0"/>
                <a:cs typeface="Calibri" panose="020F0502020204030204" pitchFamily="34" charset="0"/>
              </a:rPr>
              <a:t> </a:t>
            </a:r>
            <a:r>
              <a:rPr lang="sv-SE" sz="2800" dirty="0">
                <a:latin typeface="Agency FB" pitchFamily="34" charset="0"/>
                <a:cs typeface="Calibri" panose="020F0502020204030204" pitchFamily="34" charset="0"/>
              </a:rPr>
              <a:t>peraturan perundang-undangan, efisien, ekonomis, efektif, </a:t>
            </a:r>
            <a:r>
              <a:rPr lang="de-DE" sz="2800" dirty="0">
                <a:latin typeface="Agency FB" pitchFamily="34" charset="0"/>
                <a:cs typeface="Calibri" panose="020F0502020204030204" pitchFamily="34" charset="0"/>
              </a:rPr>
              <a:t>transparan, dan bertanggung jawab dengan memperhatikan </a:t>
            </a:r>
            <a:r>
              <a:rPr lang="en-US" sz="2800" dirty="0">
                <a:latin typeface="Agency FB" pitchFamily="34" charset="0"/>
                <a:cs typeface="Calibri" panose="020F0502020204030204" pitchFamily="34" charset="0"/>
              </a:rPr>
              <a:t>rasa </a:t>
            </a:r>
            <a:r>
              <a:rPr lang="en-US" sz="2800" dirty="0" err="1">
                <a:latin typeface="Agency FB" pitchFamily="34" charset="0"/>
                <a:cs typeface="Calibri" panose="020F0502020204030204" pitchFamily="34" charset="0"/>
              </a:rPr>
              <a:t>keadil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kepatut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dan</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manfaat</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untuk</a:t>
            </a:r>
            <a:r>
              <a:rPr lang="en-US" sz="2800" dirty="0">
                <a:latin typeface="Agency FB" pitchFamily="34" charset="0"/>
                <a:cs typeface="Calibri" panose="020F0502020204030204" pitchFamily="34" charset="0"/>
              </a:rPr>
              <a:t> </a:t>
            </a:r>
            <a:r>
              <a:rPr lang="en-US" sz="2800" dirty="0" err="1">
                <a:latin typeface="Agency FB" pitchFamily="34" charset="0"/>
                <a:cs typeface="Calibri" panose="020F0502020204030204" pitchFamily="34" charset="0"/>
              </a:rPr>
              <a:t>masyarakat</a:t>
            </a:r>
            <a:r>
              <a:rPr lang="en-US" sz="2800" dirty="0">
                <a:latin typeface="Agency FB" pitchFamily="34" charset="0"/>
                <a:cs typeface="Calibri" panose="020F0502020204030204" pitchFamily="34" charset="0"/>
              </a:rPr>
              <a:t>.</a:t>
            </a:r>
            <a:endParaRPr lang="en-SG" sz="2800" dirty="0">
              <a:latin typeface="Agency FB" pitchFamily="34" charset="0"/>
              <a:cs typeface="Calibri" panose="020F0502020204030204" pitchFamily="34" charset="0"/>
            </a:endParaRPr>
          </a:p>
        </p:txBody>
      </p:sp>
      <p:sp>
        <p:nvSpPr>
          <p:cNvPr id="18" name="Rectangle 17"/>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9" name="Rectangle 18"/>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a:t>
            </a:r>
            <a:r>
              <a:rPr lang="en-US" sz="4000" b="1" dirty="0" smtClean="0">
                <a:solidFill>
                  <a:srgbClr val="002060"/>
                </a:solidFill>
                <a:latin typeface="DilleniaUPC" pitchFamily="18" charset="-34"/>
                <a:cs typeface="DilleniaUPC" pitchFamily="18" charset="-34"/>
              </a:rPr>
              <a:t>PENGELOLAAN KEUANGAN DAERAH</a:t>
            </a:r>
            <a:endParaRPr lang="id-ID" sz="4000" b="1" dirty="0">
              <a:solidFill>
                <a:srgbClr val="002060"/>
              </a:solidFill>
              <a:latin typeface="DilleniaUPC" pitchFamily="18" charset="-34"/>
              <a:cs typeface="DilleniaUPC" pitchFamily="18" charset="-34"/>
            </a:endParaRPr>
          </a:p>
        </p:txBody>
      </p:sp>
      <p:sp>
        <p:nvSpPr>
          <p:cNvPr id="22" name="Rectangle 21"/>
          <p:cNvSpPr/>
          <p:nvPr/>
        </p:nvSpPr>
        <p:spPr>
          <a:xfrm>
            <a:off x="152400" y="1163784"/>
            <a:ext cx="11353800" cy="436416"/>
          </a:xfrm>
          <a:prstGeom prst="rect">
            <a:avLst/>
          </a:prstGeom>
          <a:solidFill>
            <a:srgbClr val="4F81BD">
              <a:lumMod val="40000"/>
              <a:lumOff val="60000"/>
            </a:srgbClr>
          </a:solidFill>
          <a:ln w="25400" cap="flat" cmpd="sng" algn="ctr">
            <a:noFill/>
            <a:prstDash val="solid"/>
          </a:ln>
          <a:effectLst/>
        </p:spPr>
        <p:txBody>
          <a:bodyPr rtlCol="0" anchor="ctr"/>
          <a:lstStyle/>
          <a:p>
            <a:r>
              <a:rPr lang="en-US" sz="3600" b="1" dirty="0">
                <a:solidFill>
                  <a:srgbClr val="002060"/>
                </a:solidFill>
                <a:latin typeface="DilleniaUPC" pitchFamily="18" charset="-34"/>
                <a:cs typeface="DilleniaUPC" pitchFamily="18" charset="-34"/>
              </a:rPr>
              <a:t>UU 23 </a:t>
            </a:r>
            <a:r>
              <a:rPr lang="en-US" sz="3600" b="1" dirty="0" err="1">
                <a:solidFill>
                  <a:srgbClr val="002060"/>
                </a:solidFill>
                <a:latin typeface="DilleniaUPC" pitchFamily="18" charset="-34"/>
                <a:cs typeface="DilleniaUPC" pitchFamily="18" charset="-34"/>
              </a:rPr>
              <a:t>tahun</a:t>
            </a:r>
            <a:r>
              <a:rPr lang="en-US" sz="3600" b="1" dirty="0">
                <a:solidFill>
                  <a:srgbClr val="002060"/>
                </a:solidFill>
                <a:latin typeface="DilleniaUPC" pitchFamily="18" charset="-34"/>
                <a:cs typeface="DilleniaUPC" pitchFamily="18" charset="-34"/>
              </a:rPr>
              <a:t> 2014 </a:t>
            </a:r>
            <a:r>
              <a:rPr lang="en-US" sz="3600" b="1" dirty="0" err="1">
                <a:solidFill>
                  <a:srgbClr val="002060"/>
                </a:solidFill>
                <a:latin typeface="DilleniaUPC" pitchFamily="18" charset="-34"/>
                <a:cs typeface="DilleniaUPC" pitchFamily="18" charset="-34"/>
              </a:rPr>
              <a:t>ttg</a:t>
            </a:r>
            <a:r>
              <a:rPr lang="en-US" sz="3600" b="1" dirty="0">
                <a:solidFill>
                  <a:srgbClr val="002060"/>
                </a:solidFill>
                <a:latin typeface="DilleniaUPC" pitchFamily="18" charset="-34"/>
                <a:cs typeface="DilleniaUPC" pitchFamily="18" charset="-34"/>
              </a:rPr>
              <a:t> </a:t>
            </a:r>
            <a:r>
              <a:rPr lang="en-US" sz="3600" b="1" dirty="0" err="1">
                <a:solidFill>
                  <a:srgbClr val="002060"/>
                </a:solidFill>
                <a:latin typeface="DilleniaUPC" pitchFamily="18" charset="-34"/>
                <a:cs typeface="DilleniaUPC" pitchFamily="18" charset="-34"/>
              </a:rPr>
              <a:t>Pemerintahan</a:t>
            </a:r>
            <a:r>
              <a:rPr lang="en-US" sz="3600" b="1" dirty="0">
                <a:solidFill>
                  <a:srgbClr val="002060"/>
                </a:solidFill>
                <a:latin typeface="DilleniaUPC" pitchFamily="18" charset="-34"/>
                <a:cs typeface="DilleniaUPC" pitchFamily="18" charset="-34"/>
              </a:rPr>
              <a:t> Daerah</a:t>
            </a:r>
            <a:endParaRPr lang="id-ID" sz="36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2316730840"/>
      </p:ext>
    </p:extLst>
  </p:cSld>
  <p:clrMapOvr>
    <a:masterClrMapping/>
  </p:clrMapOvr>
  <p:transition spd="slow">
    <p:push di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469900" y="1420813"/>
            <a:ext cx="3429000" cy="1071562"/>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id-ID" sz="3600" dirty="0">
                <a:latin typeface="Agency FB" pitchFamily="34" charset="0"/>
              </a:rPr>
              <a:t>KEUANGAN </a:t>
            </a:r>
            <a:r>
              <a:rPr lang="id-ID" sz="3600" dirty="0" smtClean="0">
                <a:latin typeface="Agency FB" pitchFamily="34" charset="0"/>
              </a:rPr>
              <a:t>DAERAH</a:t>
            </a:r>
            <a:endParaRPr lang="id-ID" sz="3600" dirty="0">
              <a:latin typeface="Agency FB" pitchFamily="34" charset="0"/>
            </a:endParaRPr>
          </a:p>
        </p:txBody>
      </p:sp>
      <p:sp>
        <p:nvSpPr>
          <p:cNvPr id="5" name="Rectangle 4"/>
          <p:cNvSpPr/>
          <p:nvPr/>
        </p:nvSpPr>
        <p:spPr>
          <a:xfrm>
            <a:off x="5264151" y="1066800"/>
            <a:ext cx="6769100" cy="1785938"/>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en-US" sz="2800" dirty="0" err="1">
                <a:solidFill>
                  <a:schemeClr val="tx1"/>
                </a:solidFill>
                <a:latin typeface="Agency FB" pitchFamily="34" charset="0"/>
              </a:rPr>
              <a:t>semua</a:t>
            </a:r>
            <a:r>
              <a:rPr lang="en-US" sz="2800" dirty="0">
                <a:solidFill>
                  <a:schemeClr val="tx1"/>
                </a:solidFill>
                <a:latin typeface="Agency FB" pitchFamily="34" charset="0"/>
              </a:rPr>
              <a:t> </a:t>
            </a:r>
            <a:r>
              <a:rPr lang="en-US" sz="2800" dirty="0" err="1">
                <a:solidFill>
                  <a:schemeClr val="tx1"/>
                </a:solidFill>
                <a:latin typeface="Agency FB" pitchFamily="34" charset="0"/>
              </a:rPr>
              <a:t>hak</a:t>
            </a:r>
            <a:r>
              <a:rPr lang="en-US" sz="2800" dirty="0">
                <a:solidFill>
                  <a:schemeClr val="tx1"/>
                </a:solidFill>
                <a:latin typeface="Agency FB" pitchFamily="34" charset="0"/>
              </a:rPr>
              <a:t> </a:t>
            </a:r>
            <a:r>
              <a:rPr lang="en-US" sz="2800" dirty="0" err="1">
                <a:solidFill>
                  <a:schemeClr val="tx1"/>
                </a:solidFill>
                <a:latin typeface="Agency FB" pitchFamily="34" charset="0"/>
              </a:rPr>
              <a:t>dan</a:t>
            </a:r>
            <a:r>
              <a:rPr lang="en-US" sz="2800" dirty="0">
                <a:solidFill>
                  <a:schemeClr val="tx1"/>
                </a:solidFill>
                <a:latin typeface="Agency FB" pitchFamily="34" charset="0"/>
              </a:rPr>
              <a:t> </a:t>
            </a:r>
            <a:r>
              <a:rPr lang="en-US" sz="2800" dirty="0" err="1">
                <a:solidFill>
                  <a:schemeClr val="tx1"/>
                </a:solidFill>
                <a:latin typeface="Agency FB" pitchFamily="34" charset="0"/>
              </a:rPr>
              <a:t>kewajiban</a:t>
            </a:r>
            <a:r>
              <a:rPr lang="en-US" sz="2800" dirty="0">
                <a:solidFill>
                  <a:schemeClr val="tx1"/>
                </a:solidFill>
                <a:latin typeface="Agency FB" pitchFamily="34" charset="0"/>
              </a:rPr>
              <a:t> </a:t>
            </a:r>
            <a:r>
              <a:rPr lang="en-US" sz="2800" dirty="0" err="1">
                <a:solidFill>
                  <a:schemeClr val="tx1"/>
                </a:solidFill>
                <a:latin typeface="Agency FB" pitchFamily="34" charset="0"/>
              </a:rPr>
              <a:t>daerah</a:t>
            </a:r>
            <a:r>
              <a:rPr lang="en-US" sz="2800" dirty="0">
                <a:solidFill>
                  <a:schemeClr val="tx1"/>
                </a:solidFill>
                <a:latin typeface="Agency FB" pitchFamily="34" charset="0"/>
              </a:rPr>
              <a:t> </a:t>
            </a:r>
            <a:r>
              <a:rPr lang="en-US" sz="2800" dirty="0" err="1">
                <a:solidFill>
                  <a:schemeClr val="tx1"/>
                </a:solidFill>
                <a:latin typeface="Agency FB" pitchFamily="34" charset="0"/>
              </a:rPr>
              <a:t>dalam</a:t>
            </a:r>
            <a:r>
              <a:rPr lang="en-US" sz="2800" dirty="0">
                <a:solidFill>
                  <a:schemeClr val="tx1"/>
                </a:solidFill>
                <a:latin typeface="Agency FB" pitchFamily="34" charset="0"/>
              </a:rPr>
              <a:t> </a:t>
            </a:r>
            <a:r>
              <a:rPr lang="en-US" sz="2800" dirty="0" err="1">
                <a:solidFill>
                  <a:schemeClr val="tx1"/>
                </a:solidFill>
                <a:latin typeface="Agency FB" pitchFamily="34" charset="0"/>
              </a:rPr>
              <a:t>rangka</a:t>
            </a:r>
            <a:r>
              <a:rPr lang="en-US" sz="2800" dirty="0">
                <a:solidFill>
                  <a:schemeClr val="tx1"/>
                </a:solidFill>
                <a:latin typeface="Agency FB" pitchFamily="34" charset="0"/>
              </a:rPr>
              <a:t> </a:t>
            </a:r>
            <a:r>
              <a:rPr lang="en-US" sz="2800" dirty="0" err="1">
                <a:solidFill>
                  <a:schemeClr val="tx1"/>
                </a:solidFill>
                <a:latin typeface="Agency FB" pitchFamily="34" charset="0"/>
              </a:rPr>
              <a:t>penyelenggaraan</a:t>
            </a:r>
            <a:r>
              <a:rPr lang="en-US" sz="2800" dirty="0">
                <a:solidFill>
                  <a:schemeClr val="tx1"/>
                </a:solidFill>
                <a:latin typeface="Agency FB" pitchFamily="34" charset="0"/>
              </a:rPr>
              <a:t> </a:t>
            </a:r>
            <a:r>
              <a:rPr lang="en-US" sz="2800" dirty="0" err="1">
                <a:solidFill>
                  <a:schemeClr val="tx1"/>
                </a:solidFill>
                <a:latin typeface="Agency FB" pitchFamily="34" charset="0"/>
              </a:rPr>
              <a:t>pemerintahan</a:t>
            </a:r>
            <a:r>
              <a:rPr lang="en-US" sz="2800" dirty="0">
                <a:solidFill>
                  <a:schemeClr val="tx1"/>
                </a:solidFill>
                <a:latin typeface="Agency FB" pitchFamily="34" charset="0"/>
              </a:rPr>
              <a:t> </a:t>
            </a:r>
            <a:r>
              <a:rPr lang="en-US" sz="2800" dirty="0" err="1">
                <a:solidFill>
                  <a:schemeClr val="tx1"/>
                </a:solidFill>
                <a:latin typeface="Agency FB" pitchFamily="34" charset="0"/>
              </a:rPr>
              <a:t>daerah</a:t>
            </a:r>
            <a:r>
              <a:rPr lang="en-US" sz="2800" dirty="0">
                <a:solidFill>
                  <a:schemeClr val="tx1"/>
                </a:solidFill>
                <a:latin typeface="Agency FB" pitchFamily="34" charset="0"/>
              </a:rPr>
              <a:t> yang </a:t>
            </a:r>
            <a:r>
              <a:rPr lang="en-US" sz="2800" dirty="0" err="1">
                <a:solidFill>
                  <a:schemeClr val="tx1"/>
                </a:solidFill>
                <a:latin typeface="Agency FB" pitchFamily="34" charset="0"/>
              </a:rPr>
              <a:t>dapat</a:t>
            </a:r>
            <a:r>
              <a:rPr lang="en-US" sz="2800" dirty="0">
                <a:solidFill>
                  <a:schemeClr val="tx1"/>
                </a:solidFill>
                <a:latin typeface="Agency FB" pitchFamily="34" charset="0"/>
              </a:rPr>
              <a:t> </a:t>
            </a:r>
            <a:r>
              <a:rPr lang="en-US" sz="2800" dirty="0" err="1">
                <a:solidFill>
                  <a:schemeClr val="tx1"/>
                </a:solidFill>
                <a:latin typeface="Agency FB" pitchFamily="34" charset="0"/>
              </a:rPr>
              <a:t>dinilai</a:t>
            </a:r>
            <a:r>
              <a:rPr lang="en-US" sz="2800" dirty="0">
                <a:solidFill>
                  <a:schemeClr val="tx1"/>
                </a:solidFill>
                <a:latin typeface="Agency FB" pitchFamily="34" charset="0"/>
              </a:rPr>
              <a:t> </a:t>
            </a:r>
            <a:r>
              <a:rPr lang="en-US" sz="2800" dirty="0" err="1">
                <a:solidFill>
                  <a:schemeClr val="tx1"/>
                </a:solidFill>
                <a:latin typeface="Agency FB" pitchFamily="34" charset="0"/>
              </a:rPr>
              <a:t>dengan</a:t>
            </a:r>
            <a:r>
              <a:rPr lang="en-US" sz="2800" dirty="0">
                <a:solidFill>
                  <a:schemeClr val="tx1"/>
                </a:solidFill>
                <a:latin typeface="Agency FB" pitchFamily="34" charset="0"/>
              </a:rPr>
              <a:t> </a:t>
            </a:r>
            <a:r>
              <a:rPr lang="en-US" sz="2800" dirty="0" err="1">
                <a:solidFill>
                  <a:schemeClr val="tx1"/>
                </a:solidFill>
                <a:latin typeface="Agency FB" pitchFamily="34" charset="0"/>
              </a:rPr>
              <a:t>uang</a:t>
            </a:r>
            <a:endParaRPr lang="id-ID" sz="2800" dirty="0">
              <a:solidFill>
                <a:schemeClr val="tx1"/>
              </a:solidFill>
              <a:latin typeface="Agency FB" pitchFamily="34" charset="0"/>
            </a:endParaRPr>
          </a:p>
        </p:txBody>
      </p:sp>
      <p:sp>
        <p:nvSpPr>
          <p:cNvPr id="6" name="Rectangle 5"/>
          <p:cNvSpPr/>
          <p:nvPr/>
        </p:nvSpPr>
        <p:spPr>
          <a:xfrm>
            <a:off x="601133" y="3289300"/>
            <a:ext cx="5979584" cy="3263900"/>
          </a:xfrm>
          <a:prstGeom prst="rect">
            <a:avLst/>
          </a:prstGeom>
        </p:spPr>
        <p:style>
          <a:lnRef idx="1">
            <a:schemeClr val="accent6"/>
          </a:lnRef>
          <a:fillRef idx="2">
            <a:schemeClr val="accent6"/>
          </a:fillRef>
          <a:effectRef idx="1">
            <a:schemeClr val="accent6"/>
          </a:effectRef>
          <a:fontRef idx="minor">
            <a:schemeClr val="dk1"/>
          </a:fontRef>
        </p:style>
        <p:txBody>
          <a:bodyPr/>
          <a:lstStyle/>
          <a:p>
            <a:pPr algn="ctr" fontAlgn="auto">
              <a:spcBef>
                <a:spcPts val="0"/>
              </a:spcBef>
              <a:spcAft>
                <a:spcPts val="0"/>
              </a:spcAft>
              <a:defRPr/>
            </a:pPr>
            <a:r>
              <a:rPr lang="id-ID" sz="1800" u="sng" dirty="0">
                <a:latin typeface="Agency FB" pitchFamily="34" charset="0"/>
              </a:rPr>
              <a:t>AZAZ </a:t>
            </a:r>
            <a:r>
              <a:rPr lang="en-US" sz="1800" u="sng" dirty="0">
                <a:latin typeface="Agency FB" pitchFamily="34" charset="0"/>
              </a:rPr>
              <a:t>UMUM APBD</a:t>
            </a:r>
            <a:endParaRPr lang="id-ID" sz="1800" u="sng" dirty="0">
              <a:latin typeface="Agency FB" pitchFamily="34" charset="0"/>
            </a:endParaRPr>
          </a:p>
          <a:p>
            <a:pPr marL="342900" indent="-342900" fontAlgn="auto">
              <a:spcBef>
                <a:spcPts val="0"/>
              </a:spcBef>
              <a:spcAft>
                <a:spcPts val="0"/>
              </a:spcAft>
              <a:buFont typeface="+mj-lt"/>
              <a:buAutoNum type="arabicPeriod"/>
              <a:defRPr/>
            </a:pPr>
            <a:r>
              <a:rPr lang="en-US" sz="2400" dirty="0" err="1">
                <a:latin typeface="Agency FB" pitchFamily="34" charset="0"/>
              </a:rPr>
              <a:t>Disusun</a:t>
            </a:r>
            <a:r>
              <a:rPr lang="en-US" sz="2400" dirty="0">
                <a:latin typeface="Agency FB" pitchFamily="34" charset="0"/>
              </a:rPr>
              <a:t> </a:t>
            </a:r>
            <a:r>
              <a:rPr lang="en-US" sz="2400" dirty="0" err="1">
                <a:latin typeface="Agency FB" pitchFamily="34" charset="0"/>
              </a:rPr>
              <a:t>sesuai</a:t>
            </a:r>
            <a:r>
              <a:rPr lang="en-US" sz="2400" dirty="0">
                <a:latin typeface="Agency FB" pitchFamily="34" charset="0"/>
              </a:rPr>
              <a:t> </a:t>
            </a:r>
            <a:r>
              <a:rPr lang="en-US" sz="2400" dirty="0" err="1">
                <a:latin typeface="Agency FB" pitchFamily="34" charset="0"/>
              </a:rPr>
              <a:t>kebutuhan</a:t>
            </a:r>
            <a:r>
              <a:rPr lang="en-US" sz="2400" dirty="0">
                <a:latin typeface="Agency FB" pitchFamily="34" charset="0"/>
              </a:rPr>
              <a:t> </a:t>
            </a:r>
            <a:r>
              <a:rPr lang="en-US" sz="2400" dirty="0" err="1">
                <a:latin typeface="Agency FB" pitchFamily="34" charset="0"/>
              </a:rPr>
              <a:t>dan</a:t>
            </a:r>
            <a:r>
              <a:rPr lang="en-US" sz="2400" dirty="0">
                <a:latin typeface="Agency FB" pitchFamily="34" charset="0"/>
              </a:rPr>
              <a:t> </a:t>
            </a:r>
            <a:r>
              <a:rPr lang="en-US" sz="2400" dirty="0" err="1">
                <a:latin typeface="Agency FB" pitchFamily="34" charset="0"/>
              </a:rPr>
              <a:t>penyelenggaraan</a:t>
            </a:r>
            <a:r>
              <a:rPr lang="en-US" sz="2400" dirty="0">
                <a:latin typeface="Agency FB" pitchFamily="34" charset="0"/>
              </a:rPr>
              <a:t> </a:t>
            </a:r>
            <a:r>
              <a:rPr lang="en-US" sz="2400" dirty="0" err="1">
                <a:latin typeface="Agency FB" pitchFamily="34" charset="0"/>
              </a:rPr>
              <a:t>pemerintah</a:t>
            </a:r>
            <a:r>
              <a:rPr lang="en-US" sz="2400" dirty="0">
                <a:latin typeface="Agency FB" pitchFamily="34" charset="0"/>
              </a:rPr>
              <a:t> </a:t>
            </a:r>
            <a:r>
              <a:rPr lang="en-US" sz="2400" dirty="0" err="1">
                <a:latin typeface="Agency FB" pitchFamily="34" charset="0"/>
              </a:rPr>
              <a:t>daerah</a:t>
            </a:r>
            <a:endParaRPr lang="en-US" sz="2400" dirty="0">
              <a:latin typeface="Agency FB" pitchFamily="34" charset="0"/>
            </a:endParaRPr>
          </a:p>
          <a:p>
            <a:pPr marL="342900" indent="-342900" fontAlgn="auto">
              <a:spcBef>
                <a:spcPts val="0"/>
              </a:spcBef>
              <a:spcAft>
                <a:spcPts val="0"/>
              </a:spcAft>
              <a:buFont typeface="+mj-lt"/>
              <a:buAutoNum type="arabicPeriod"/>
              <a:defRPr/>
            </a:pPr>
            <a:r>
              <a:rPr lang="en-US" sz="2400" dirty="0" err="1">
                <a:latin typeface="Agency FB" pitchFamily="34" charset="0"/>
              </a:rPr>
              <a:t>Berpedoman</a:t>
            </a:r>
            <a:r>
              <a:rPr lang="en-US" sz="2400" dirty="0">
                <a:latin typeface="Agency FB" pitchFamily="34" charset="0"/>
              </a:rPr>
              <a:t> </a:t>
            </a:r>
            <a:r>
              <a:rPr lang="en-US" sz="2400" dirty="0" err="1">
                <a:latin typeface="Agency FB" pitchFamily="34" charset="0"/>
              </a:rPr>
              <a:t>pada</a:t>
            </a:r>
            <a:r>
              <a:rPr lang="en-US" sz="2400" dirty="0">
                <a:latin typeface="Agency FB" pitchFamily="34" charset="0"/>
              </a:rPr>
              <a:t> </a:t>
            </a:r>
            <a:r>
              <a:rPr lang="en-US" sz="2400" b="1" dirty="0">
                <a:latin typeface="Agency FB" pitchFamily="34" charset="0"/>
              </a:rPr>
              <a:t>RKPD </a:t>
            </a:r>
            <a:r>
              <a:rPr lang="en-US" sz="2400" dirty="0" err="1">
                <a:latin typeface="Agency FB" pitchFamily="34" charset="0"/>
              </a:rPr>
              <a:t>dalam</a:t>
            </a:r>
            <a:r>
              <a:rPr lang="en-US" sz="2400" dirty="0">
                <a:latin typeface="Agency FB" pitchFamily="34" charset="0"/>
              </a:rPr>
              <a:t> </a:t>
            </a:r>
            <a:r>
              <a:rPr lang="en-US" sz="2400" dirty="0" err="1">
                <a:latin typeface="Agency FB" pitchFamily="34" charset="0"/>
              </a:rPr>
              <a:t>rangka</a:t>
            </a:r>
            <a:r>
              <a:rPr lang="en-US" sz="2400" dirty="0">
                <a:latin typeface="Agency FB" pitchFamily="34" charset="0"/>
              </a:rPr>
              <a:t> </a:t>
            </a:r>
            <a:r>
              <a:rPr lang="en-US" sz="2400" dirty="0" err="1">
                <a:latin typeface="Agency FB" pitchFamily="34" charset="0"/>
              </a:rPr>
              <a:t>Mewujudkan</a:t>
            </a:r>
            <a:r>
              <a:rPr lang="en-US" sz="2400" dirty="0">
                <a:latin typeface="Agency FB" pitchFamily="34" charset="0"/>
              </a:rPr>
              <a:t> </a:t>
            </a:r>
            <a:r>
              <a:rPr lang="en-US" sz="2400" dirty="0" err="1">
                <a:latin typeface="Agency FB" pitchFamily="34" charset="0"/>
              </a:rPr>
              <a:t>Pelayanan</a:t>
            </a:r>
            <a:r>
              <a:rPr lang="en-US" sz="2400" dirty="0">
                <a:latin typeface="Agency FB" pitchFamily="34" charset="0"/>
              </a:rPr>
              <a:t> </a:t>
            </a:r>
            <a:r>
              <a:rPr lang="en-US" sz="2400" dirty="0" err="1">
                <a:latin typeface="Agency FB" pitchFamily="34" charset="0"/>
              </a:rPr>
              <a:t>Kepada</a:t>
            </a:r>
            <a:r>
              <a:rPr lang="en-US" sz="2400" dirty="0">
                <a:latin typeface="Agency FB" pitchFamily="34" charset="0"/>
              </a:rPr>
              <a:t> </a:t>
            </a:r>
            <a:r>
              <a:rPr lang="en-US" sz="2400" dirty="0" err="1">
                <a:latin typeface="Agency FB" pitchFamily="34" charset="0"/>
              </a:rPr>
              <a:t>Masyarakat</a:t>
            </a:r>
            <a:endParaRPr lang="en-US" sz="2400" dirty="0">
              <a:latin typeface="Agency FB" pitchFamily="34" charset="0"/>
            </a:endParaRPr>
          </a:p>
          <a:p>
            <a:pPr marL="342900" indent="-342900" fontAlgn="auto">
              <a:spcBef>
                <a:spcPts val="0"/>
              </a:spcBef>
              <a:spcAft>
                <a:spcPts val="0"/>
              </a:spcAft>
              <a:buFont typeface="+mj-lt"/>
              <a:buAutoNum type="arabicPeriod"/>
              <a:defRPr/>
            </a:pPr>
            <a:r>
              <a:rPr lang="en-US" sz="2400" dirty="0" err="1">
                <a:latin typeface="Agency FB" pitchFamily="34" charset="0"/>
              </a:rPr>
              <a:t>Mempunyai</a:t>
            </a:r>
            <a:r>
              <a:rPr lang="en-US" sz="2400" dirty="0">
                <a:latin typeface="Agency FB" pitchFamily="34" charset="0"/>
              </a:rPr>
              <a:t> </a:t>
            </a:r>
            <a:r>
              <a:rPr lang="en-US" sz="2400" dirty="0" err="1">
                <a:latin typeface="Agency FB" pitchFamily="34" charset="0"/>
              </a:rPr>
              <a:t>fungsi</a:t>
            </a:r>
            <a:r>
              <a:rPr lang="en-US" sz="2400" dirty="0">
                <a:latin typeface="Agency FB" pitchFamily="34" charset="0"/>
              </a:rPr>
              <a:t> </a:t>
            </a:r>
            <a:r>
              <a:rPr lang="en-US" sz="2400" dirty="0" err="1">
                <a:latin typeface="Agency FB" pitchFamily="34" charset="0"/>
              </a:rPr>
              <a:t>Otorisasi</a:t>
            </a:r>
            <a:r>
              <a:rPr lang="en-US" sz="2400" dirty="0">
                <a:latin typeface="Agency FB" pitchFamily="34" charset="0"/>
              </a:rPr>
              <a:t>, </a:t>
            </a:r>
            <a:r>
              <a:rPr lang="en-US" sz="2400" dirty="0" err="1">
                <a:latin typeface="Agency FB" pitchFamily="34" charset="0"/>
              </a:rPr>
              <a:t>perencanaan</a:t>
            </a:r>
            <a:r>
              <a:rPr lang="en-US" sz="2400" dirty="0">
                <a:latin typeface="Agency FB" pitchFamily="34" charset="0"/>
              </a:rPr>
              <a:t>, </a:t>
            </a:r>
            <a:r>
              <a:rPr lang="en-US" sz="2400" dirty="0" err="1">
                <a:latin typeface="Agency FB" pitchFamily="34" charset="0"/>
              </a:rPr>
              <a:t>pengawasan</a:t>
            </a:r>
            <a:r>
              <a:rPr lang="en-US" sz="2400" dirty="0">
                <a:latin typeface="Agency FB" pitchFamily="34" charset="0"/>
              </a:rPr>
              <a:t>, </a:t>
            </a:r>
            <a:r>
              <a:rPr lang="en-US" sz="2400" dirty="0" err="1">
                <a:latin typeface="Agency FB" pitchFamily="34" charset="0"/>
              </a:rPr>
              <a:t>alokasi</a:t>
            </a:r>
            <a:r>
              <a:rPr lang="en-US" sz="2400" dirty="0">
                <a:latin typeface="Agency FB" pitchFamily="34" charset="0"/>
              </a:rPr>
              <a:t>, </a:t>
            </a:r>
            <a:r>
              <a:rPr lang="en-US" sz="2400" dirty="0" err="1">
                <a:latin typeface="Agency FB" pitchFamily="34" charset="0"/>
              </a:rPr>
              <a:t>distribusi</a:t>
            </a:r>
            <a:r>
              <a:rPr lang="en-US" sz="2400" dirty="0">
                <a:latin typeface="Agency FB" pitchFamily="34" charset="0"/>
              </a:rPr>
              <a:t>, </a:t>
            </a:r>
            <a:r>
              <a:rPr lang="en-US" sz="2400" dirty="0" err="1">
                <a:latin typeface="Agency FB" pitchFamily="34" charset="0"/>
              </a:rPr>
              <a:t>dan</a:t>
            </a:r>
            <a:r>
              <a:rPr lang="en-US" sz="2400" dirty="0">
                <a:latin typeface="Agency FB" pitchFamily="34" charset="0"/>
              </a:rPr>
              <a:t> </a:t>
            </a:r>
            <a:r>
              <a:rPr lang="en-US" sz="2400" dirty="0" err="1">
                <a:latin typeface="Agency FB" pitchFamily="34" charset="0"/>
              </a:rPr>
              <a:t>stabilisasi</a:t>
            </a:r>
            <a:endParaRPr lang="en-US" sz="2400" dirty="0">
              <a:latin typeface="Agency FB" pitchFamily="34" charset="0"/>
            </a:endParaRPr>
          </a:p>
          <a:p>
            <a:pPr marL="342900" indent="-342900" fontAlgn="auto">
              <a:spcBef>
                <a:spcPts val="0"/>
              </a:spcBef>
              <a:spcAft>
                <a:spcPts val="0"/>
              </a:spcAft>
              <a:buFont typeface="+mj-lt"/>
              <a:buAutoNum type="arabicPeriod"/>
              <a:defRPr/>
            </a:pPr>
            <a:r>
              <a:rPr lang="en-US" sz="2400" dirty="0" err="1">
                <a:latin typeface="Agency FB" pitchFamily="34" charset="0"/>
              </a:rPr>
              <a:t>Ditetapkan</a:t>
            </a:r>
            <a:r>
              <a:rPr lang="en-US" sz="2400" dirty="0">
                <a:latin typeface="Agency FB" pitchFamily="34" charset="0"/>
              </a:rPr>
              <a:t> </a:t>
            </a:r>
            <a:r>
              <a:rPr lang="en-US" sz="2400" dirty="0" err="1">
                <a:latin typeface="Agency FB" pitchFamily="34" charset="0"/>
              </a:rPr>
              <a:t>dengan</a:t>
            </a:r>
            <a:r>
              <a:rPr lang="en-US" sz="2400" dirty="0">
                <a:latin typeface="Agency FB" pitchFamily="34" charset="0"/>
              </a:rPr>
              <a:t> PERD</a:t>
            </a:r>
            <a:r>
              <a:rPr lang="id-ID" sz="2400" dirty="0">
                <a:latin typeface="Agency FB" pitchFamily="34" charset="0"/>
              </a:rPr>
              <a:t>A</a:t>
            </a:r>
            <a:endParaRPr lang="en-US" sz="2400" dirty="0">
              <a:latin typeface="Agency FB" pitchFamily="34" charset="0"/>
            </a:endParaRPr>
          </a:p>
        </p:txBody>
      </p:sp>
      <p:sp>
        <p:nvSpPr>
          <p:cNvPr id="7" name="Rounded Rectangle 6"/>
          <p:cNvSpPr/>
          <p:nvPr/>
        </p:nvSpPr>
        <p:spPr>
          <a:xfrm>
            <a:off x="8470901" y="4076701"/>
            <a:ext cx="3416300" cy="1071563"/>
          </a:xfrm>
          <a:prstGeom prst="roundRect">
            <a:avLst/>
          </a:prstGeom>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endParaRPr lang="en-US" sz="1800" dirty="0">
              <a:latin typeface="Agency FB" pitchFamily="34" charset="0"/>
            </a:endParaRPr>
          </a:p>
          <a:p>
            <a:pPr algn="ctr" fontAlgn="auto">
              <a:spcBef>
                <a:spcPts val="0"/>
              </a:spcBef>
              <a:spcAft>
                <a:spcPts val="0"/>
              </a:spcAft>
              <a:defRPr/>
            </a:pPr>
            <a:r>
              <a:rPr lang="id-ID" sz="1800" dirty="0">
                <a:latin typeface="Agency FB" pitchFamily="34" charset="0"/>
              </a:rPr>
              <a:t>APBD</a:t>
            </a:r>
            <a:endParaRPr lang="en-US" sz="1800" dirty="0">
              <a:latin typeface="Agency FB" pitchFamily="34" charset="0"/>
            </a:endParaRPr>
          </a:p>
          <a:p>
            <a:pPr algn="ctr" fontAlgn="auto">
              <a:spcBef>
                <a:spcPts val="0"/>
              </a:spcBef>
              <a:spcAft>
                <a:spcPts val="0"/>
              </a:spcAft>
              <a:defRPr/>
            </a:pPr>
            <a:r>
              <a:rPr lang="en-US" sz="1800" dirty="0">
                <a:latin typeface="Agency FB" pitchFamily="34" charset="0"/>
              </a:rPr>
              <a:t>(</a:t>
            </a:r>
            <a:r>
              <a:rPr lang="id-ID" sz="1800" dirty="0">
                <a:latin typeface="Agency FB" pitchFamily="34" charset="0"/>
              </a:rPr>
              <a:t>Rencana Keuangan Tahunan Daerah </a:t>
            </a:r>
            <a:r>
              <a:rPr lang="en-US" sz="1800" dirty="0">
                <a:latin typeface="Agency FB" pitchFamily="34" charset="0"/>
              </a:rPr>
              <a:t>y</a:t>
            </a:r>
            <a:r>
              <a:rPr lang="id-ID" sz="1800" dirty="0">
                <a:latin typeface="Agency FB" pitchFamily="34" charset="0"/>
              </a:rPr>
              <a:t>ang Ditetapkan </a:t>
            </a:r>
            <a:r>
              <a:rPr lang="en-US" sz="1800" dirty="0">
                <a:latin typeface="Agency FB" pitchFamily="34" charset="0"/>
              </a:rPr>
              <a:t>d</a:t>
            </a:r>
            <a:r>
              <a:rPr lang="id-ID" sz="1800" dirty="0">
                <a:latin typeface="Agency FB" pitchFamily="34" charset="0"/>
              </a:rPr>
              <a:t>engan Perda</a:t>
            </a:r>
            <a:r>
              <a:rPr lang="en-US" sz="1800" dirty="0">
                <a:latin typeface="Agency FB" pitchFamily="34" charset="0"/>
              </a:rPr>
              <a:t>)</a:t>
            </a:r>
            <a:endParaRPr lang="id-ID" sz="1800" dirty="0">
              <a:latin typeface="Agency FB" pitchFamily="34" charset="0"/>
            </a:endParaRPr>
          </a:p>
          <a:p>
            <a:pPr algn="ctr" fontAlgn="auto">
              <a:spcBef>
                <a:spcPts val="0"/>
              </a:spcBef>
              <a:spcAft>
                <a:spcPts val="0"/>
              </a:spcAft>
              <a:defRPr/>
            </a:pPr>
            <a:endParaRPr lang="id-ID" sz="2000" dirty="0">
              <a:latin typeface="Agency FB" pitchFamily="34" charset="0"/>
            </a:endParaRPr>
          </a:p>
        </p:txBody>
      </p:sp>
      <p:sp>
        <p:nvSpPr>
          <p:cNvPr id="8" name="Down Arrow 7"/>
          <p:cNvSpPr/>
          <p:nvPr/>
        </p:nvSpPr>
        <p:spPr>
          <a:xfrm>
            <a:off x="8813801" y="2998789"/>
            <a:ext cx="2324100" cy="935037"/>
          </a:xfrm>
          <a:prstGeom prst="downArrow">
            <a:avLst/>
          </a:prstGeom>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en-US"/>
          </a:p>
        </p:txBody>
      </p:sp>
      <p:sp>
        <p:nvSpPr>
          <p:cNvPr id="9" name="Striped Right Arrow 8"/>
          <p:cNvSpPr/>
          <p:nvPr/>
        </p:nvSpPr>
        <p:spPr>
          <a:xfrm>
            <a:off x="4065955" y="1269058"/>
            <a:ext cx="1143000" cy="1439862"/>
          </a:xfrm>
          <a:prstGeom prst="stripedRightArrow">
            <a:avLst/>
          </a:prstGeom>
        </p:spPr>
        <p:style>
          <a:lnRef idx="0">
            <a:schemeClr val="dk1"/>
          </a:lnRef>
          <a:fillRef idx="3">
            <a:schemeClr val="dk1"/>
          </a:fillRef>
          <a:effectRef idx="3">
            <a:schemeClr val="dk1"/>
          </a:effectRef>
          <a:fontRef idx="minor">
            <a:schemeClr val="lt1"/>
          </a:fontRef>
        </p:style>
        <p:txBody>
          <a:bodyPr anchor="ctr"/>
          <a:lstStyle/>
          <a:p>
            <a:pPr algn="ctr" fontAlgn="auto">
              <a:spcBef>
                <a:spcPts val="0"/>
              </a:spcBef>
              <a:spcAft>
                <a:spcPts val="0"/>
              </a:spcAft>
              <a:defRPr/>
            </a:pPr>
            <a:endParaRPr lang="en-US"/>
          </a:p>
        </p:txBody>
      </p:sp>
      <p:sp>
        <p:nvSpPr>
          <p:cNvPr id="10" name="Striped Right Arrow 9"/>
          <p:cNvSpPr/>
          <p:nvPr/>
        </p:nvSpPr>
        <p:spPr>
          <a:xfrm rot="10800000">
            <a:off x="6990861" y="4006128"/>
            <a:ext cx="1143000" cy="1439863"/>
          </a:xfrm>
          <a:prstGeom prst="stripedRightArrow">
            <a:avLst/>
          </a:prstGeom>
        </p:spPr>
        <p:style>
          <a:lnRef idx="0">
            <a:schemeClr val="dk1"/>
          </a:lnRef>
          <a:fillRef idx="3">
            <a:schemeClr val="dk1"/>
          </a:fillRef>
          <a:effectRef idx="3">
            <a:schemeClr val="dk1"/>
          </a:effectRef>
          <a:fontRef idx="minor">
            <a:schemeClr val="lt1"/>
          </a:fontRef>
        </p:style>
        <p:txBody>
          <a:bodyPr anchor="ctr"/>
          <a:lstStyle/>
          <a:p>
            <a:pPr algn="ctr" fontAlgn="auto">
              <a:spcBef>
                <a:spcPts val="0"/>
              </a:spcBef>
              <a:spcAft>
                <a:spcPts val="0"/>
              </a:spcAft>
              <a:defRPr/>
            </a:pPr>
            <a:endParaRPr lang="en-US"/>
          </a:p>
        </p:txBody>
      </p:sp>
      <p:sp>
        <p:nvSpPr>
          <p:cNvPr id="20" name="Rectangle 19"/>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21" name="Rectangle 20"/>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PENGELOLAAN KEUANGAN DAERAH</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10079461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1447800"/>
            <a:ext cx="10480040" cy="396240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marL="136525" algn="ctr" fontAlgn="auto">
              <a:spcBef>
                <a:spcPts val="0"/>
              </a:spcBef>
              <a:spcAft>
                <a:spcPts val="0"/>
              </a:spcAft>
              <a:defRPr/>
            </a:pPr>
            <a:r>
              <a:rPr lang="en-US" sz="3600" b="1" dirty="0">
                <a:solidFill>
                  <a:schemeClr val="tx1"/>
                </a:solidFill>
                <a:latin typeface="Agency FB" pitchFamily="34" charset="0"/>
              </a:rPr>
              <a:t>SIKLUS </a:t>
            </a:r>
            <a:r>
              <a:rPr lang="id-ID" sz="3600" b="1" dirty="0">
                <a:solidFill>
                  <a:schemeClr val="tx1"/>
                </a:solidFill>
                <a:latin typeface="Agency FB" pitchFamily="34" charset="0"/>
              </a:rPr>
              <a:t>PENGELOLAAN </a:t>
            </a:r>
            <a:r>
              <a:rPr lang="en-US" sz="3600" b="1" dirty="0">
                <a:solidFill>
                  <a:schemeClr val="tx1"/>
                </a:solidFill>
                <a:latin typeface="Agency FB" pitchFamily="34" charset="0"/>
              </a:rPr>
              <a:t>KEUANGAN DAERAH MERUPAKAN SUATU RANGKAIAN PROSES PENGELOLAAN KEUANGAN DAERAH YANG </a:t>
            </a:r>
            <a:r>
              <a:rPr lang="en-US" sz="3600" b="1" u="sng" dirty="0">
                <a:solidFill>
                  <a:schemeClr val="tx1"/>
                </a:solidFill>
                <a:latin typeface="Agency FB" pitchFamily="34" charset="0"/>
              </a:rPr>
              <a:t>D</a:t>
            </a:r>
            <a:r>
              <a:rPr lang="en-US" sz="3600" b="1" dirty="0">
                <a:solidFill>
                  <a:schemeClr val="tx1"/>
                </a:solidFill>
                <a:latin typeface="Agency FB" pitchFamily="34" charset="0"/>
              </a:rPr>
              <a:t>IMULAI DARI PENGANGGARAN YANG DITANDAI DENGAN DITETAPKANNYA APBD</a:t>
            </a:r>
            <a:r>
              <a:rPr lang="id-ID" sz="3600" b="1" dirty="0">
                <a:solidFill>
                  <a:schemeClr val="tx1"/>
                </a:solidFill>
                <a:latin typeface="Agency FB" pitchFamily="34" charset="0"/>
              </a:rPr>
              <a:t>,</a:t>
            </a:r>
            <a:r>
              <a:rPr lang="en-US" sz="3600" b="1" dirty="0">
                <a:solidFill>
                  <a:schemeClr val="tx1"/>
                </a:solidFill>
                <a:latin typeface="Agency FB" pitchFamily="34" charset="0"/>
              </a:rPr>
              <a:t> PELAKSANAAN DAN PENATAUSAHAAN ATAS APBD</a:t>
            </a:r>
            <a:r>
              <a:rPr lang="id-ID" sz="3600" b="1" dirty="0">
                <a:solidFill>
                  <a:schemeClr val="tx1"/>
                </a:solidFill>
                <a:latin typeface="Agency FB" pitchFamily="34" charset="0"/>
              </a:rPr>
              <a:t>,</a:t>
            </a:r>
            <a:r>
              <a:rPr lang="en-US" sz="3600" b="1" dirty="0">
                <a:solidFill>
                  <a:schemeClr val="tx1"/>
                </a:solidFill>
                <a:latin typeface="Agency FB" pitchFamily="34" charset="0"/>
              </a:rPr>
              <a:t> SERTA PERTANGGUNGJAWABAN PELAKSANAAN APBD</a:t>
            </a:r>
            <a:r>
              <a:rPr lang="en-US" sz="3600" b="1" dirty="0" smtClean="0">
                <a:solidFill>
                  <a:schemeClr val="tx1"/>
                </a:solidFill>
                <a:latin typeface="Agency FB" pitchFamily="34" charset="0"/>
              </a:rPr>
              <a:t>.</a:t>
            </a:r>
            <a:endParaRPr lang="en-US" sz="3600" b="1" dirty="0">
              <a:solidFill>
                <a:schemeClr val="tx1"/>
              </a:solidFill>
              <a:latin typeface="Agency FB" pitchFamily="34" charset="0"/>
            </a:endParaRPr>
          </a:p>
        </p:txBody>
      </p:sp>
      <p:sp>
        <p:nvSpPr>
          <p:cNvPr id="14" name="Rectangle 13"/>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5" name="Rectangle 14"/>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SIKLUS PENGELOLAAN KEUANGAN DAERAH</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34463819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nvGraphicFramePr>
        <p:xfrm>
          <a:off x="0" y="2286001"/>
          <a:ext cx="12192000" cy="2817813"/>
        </p:xfrm>
        <a:graphic>
          <a:graphicData uri="http://schemas.openxmlformats.org/drawingml/2006/table">
            <a:tbl>
              <a:tblPr firstRow="1" bandRow="1">
                <a:tableStyleId>{5C22544A-7EE6-4342-B048-85BDC9FD1C3A}</a:tableStyleId>
              </a:tblPr>
              <a:tblGrid>
                <a:gridCol w="6096000"/>
                <a:gridCol w="6096000"/>
              </a:tblGrid>
              <a:tr h="2817813">
                <a:tc>
                  <a:txBody>
                    <a:bodyPr/>
                    <a:lstStyle/>
                    <a:p>
                      <a:pPr algn="ctr"/>
                      <a:r>
                        <a:rPr lang="id-ID" sz="2800" dirty="0" smtClean="0">
                          <a:latin typeface="Bookman Old Style" pitchFamily="18" charset="0"/>
                        </a:rPr>
                        <a:t>PERENCANAAN </a:t>
                      </a:r>
                      <a:endParaRPr lang="id-ID" sz="2800" dirty="0">
                        <a:latin typeface="Bookman Old Style" pitchFamily="18" charset="0"/>
                      </a:endParaRPr>
                    </a:p>
                  </a:txBody>
                  <a:tcPr marL="121920" marR="121920">
                    <a:solidFill>
                      <a:schemeClr val="tx2">
                        <a:lumMod val="60000"/>
                        <a:lumOff val="40000"/>
                      </a:schemeClr>
                    </a:solidFill>
                  </a:tcPr>
                </a:tc>
                <a:tc>
                  <a:txBody>
                    <a:bodyPr/>
                    <a:lstStyle/>
                    <a:p>
                      <a:pPr algn="ctr"/>
                      <a:r>
                        <a:rPr lang="id-ID" sz="2800" dirty="0" smtClean="0">
                          <a:solidFill>
                            <a:schemeClr val="tx1"/>
                          </a:solidFill>
                          <a:latin typeface="Bookman Old Style" pitchFamily="18" charset="0"/>
                        </a:rPr>
                        <a:t>PENGANGGARAN</a:t>
                      </a:r>
                      <a:endParaRPr lang="id-ID" sz="1800" dirty="0">
                        <a:solidFill>
                          <a:schemeClr val="tx1"/>
                        </a:solidFill>
                        <a:latin typeface="Bookman Old Style" pitchFamily="18" charset="0"/>
                      </a:endParaRPr>
                    </a:p>
                  </a:txBody>
                  <a:tcPr marL="121920" marR="121920">
                    <a:solidFill>
                      <a:schemeClr val="accent6">
                        <a:lumMod val="60000"/>
                        <a:lumOff val="40000"/>
                      </a:schemeClr>
                    </a:solidFill>
                  </a:tcPr>
                </a:tc>
              </a:tr>
            </a:tbl>
          </a:graphicData>
        </a:graphic>
      </p:graphicFrame>
      <p:graphicFrame>
        <p:nvGraphicFramePr>
          <p:cNvPr id="10" name="Diagram 9"/>
          <p:cNvGraphicFramePr/>
          <p:nvPr>
            <p:extLst>
              <p:ext uri="{D42A27DB-BD31-4B8C-83A1-F6EECF244321}">
                <p14:modId xmlns:p14="http://schemas.microsoft.com/office/powerpoint/2010/main" val="2839544242"/>
              </p:ext>
            </p:extLst>
          </p:nvPr>
        </p:nvGraphicFramePr>
        <p:xfrm>
          <a:off x="285669" y="2389166"/>
          <a:ext cx="11220532" cy="30718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324" name="TextBox 1"/>
          <p:cNvSpPr txBox="1">
            <a:spLocks noChangeArrowheads="1"/>
          </p:cNvSpPr>
          <p:nvPr/>
        </p:nvSpPr>
        <p:spPr bwMode="auto">
          <a:xfrm>
            <a:off x="304800" y="1747808"/>
            <a:ext cx="15440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AU" sz="2000" b="1" i="1" dirty="0" err="1">
                <a:solidFill>
                  <a:srgbClr val="000000"/>
                </a:solidFill>
                <a:latin typeface="Bookman Old Style" pitchFamily="18" charset="0"/>
              </a:rPr>
              <a:t>Pasal</a:t>
            </a:r>
            <a:r>
              <a:rPr lang="en-AU" sz="2000" b="1" i="1" dirty="0">
                <a:solidFill>
                  <a:srgbClr val="000000"/>
                </a:solidFill>
                <a:latin typeface="Bookman Old Style" pitchFamily="18" charset="0"/>
              </a:rPr>
              <a:t> 310</a:t>
            </a:r>
          </a:p>
        </p:txBody>
      </p:sp>
      <p:sp>
        <p:nvSpPr>
          <p:cNvPr id="13326" name="Slide Number Placeholder 56"/>
          <p:cNvSpPr>
            <a:spLocks noGrp="1"/>
          </p:cNvSpPr>
          <p:nvPr>
            <p:ph type="sldNum" sz="quarter" idx="12"/>
          </p:nvPr>
        </p:nvSpPr>
        <p:spPr bwMode="auto">
          <a:xfrm>
            <a:off x="9347200" y="6537326"/>
            <a:ext cx="2844800" cy="3206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D18FD954-4740-4C5D-B024-B1A97F0113D3}" type="slidenum">
              <a:rPr lang="en-US" sz="1800" b="1" i="1" smtClean="0">
                <a:solidFill>
                  <a:srgbClr val="000000"/>
                </a:solidFill>
              </a:rPr>
              <a:pPr eaLnBrk="1" fontAlgn="base" hangingPunct="1">
                <a:spcBef>
                  <a:spcPct val="0"/>
                </a:spcBef>
                <a:spcAft>
                  <a:spcPct val="0"/>
                </a:spcAft>
              </a:pPr>
              <a:t>29</a:t>
            </a:fld>
            <a:endParaRPr lang="en-US" sz="1800" b="1" i="1" smtClean="0">
              <a:solidFill>
                <a:srgbClr val="000000"/>
              </a:solidFill>
            </a:endParaRPr>
          </a:p>
        </p:txBody>
      </p:sp>
      <p:sp>
        <p:nvSpPr>
          <p:cNvPr id="8" name="Rectangle 7"/>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9" name="Rectangle 8"/>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SINKRONISASI PERENCANAAN DAN PENGANGGARAN</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4074417126"/>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12774" y="4876800"/>
            <a:ext cx="11281483" cy="1524000"/>
          </a:xfrm>
          <a:prstGeom prst="rect">
            <a:avLst/>
          </a:prstGeom>
        </p:spPr>
        <p:txBody>
          <a:bodyPr vert="horz" lIns="91438" tIns="45719" rIns="91438" bIns="45719" rtlCol="0" anchor="ctr">
            <a:noAutofit/>
          </a:bodyPr>
          <a:lstStyle/>
          <a:p>
            <a:pPr>
              <a:lnSpc>
                <a:spcPts val="2700"/>
              </a:lnSpc>
              <a:defRPr/>
            </a:pPr>
            <a:endParaRPr lang="en-US" sz="7200" b="1" dirty="0" smtClean="0">
              <a:solidFill>
                <a:schemeClr val="tx2">
                  <a:lumMod val="60000"/>
                  <a:lumOff val="40000"/>
                </a:schemeClr>
              </a:solidFill>
              <a:latin typeface="DilleniaUPC" pitchFamily="18" charset="-34"/>
              <a:cs typeface="DilleniaUPC" pitchFamily="18" charset="-34"/>
            </a:endParaRPr>
          </a:p>
          <a:p>
            <a:pPr>
              <a:lnSpc>
                <a:spcPts val="2700"/>
              </a:lnSpc>
              <a:defRPr/>
            </a:pPr>
            <a:r>
              <a:rPr lang="en-US" sz="7200" b="1" dirty="0" smtClean="0">
                <a:solidFill>
                  <a:schemeClr val="tx2">
                    <a:lumMod val="60000"/>
                    <a:lumOff val="40000"/>
                  </a:schemeClr>
                </a:solidFill>
                <a:latin typeface="DilleniaUPC" pitchFamily="18" charset="-34"/>
                <a:cs typeface="DilleniaUPC" pitchFamily="18" charset="-34"/>
              </a:rPr>
              <a:t>PIHPS </a:t>
            </a:r>
            <a:r>
              <a:rPr lang="en-US" sz="7200" b="1" dirty="0">
                <a:solidFill>
                  <a:schemeClr val="tx2">
                    <a:lumMod val="60000"/>
                    <a:lumOff val="40000"/>
                  </a:schemeClr>
                </a:solidFill>
                <a:latin typeface="DilleniaUPC" pitchFamily="18" charset="-34"/>
                <a:cs typeface="DilleniaUPC" pitchFamily="18" charset="-34"/>
              </a:rPr>
              <a:t>NASIONAL : </a:t>
            </a:r>
            <a:endParaRPr lang="en-US" sz="7200" b="1" dirty="0" smtClean="0">
              <a:solidFill>
                <a:schemeClr val="tx2">
                  <a:lumMod val="60000"/>
                  <a:lumOff val="40000"/>
                </a:schemeClr>
              </a:solidFill>
              <a:latin typeface="DilleniaUPC" pitchFamily="18" charset="-34"/>
              <a:cs typeface="DilleniaUPC" pitchFamily="18" charset="-34"/>
            </a:endParaRPr>
          </a:p>
          <a:p>
            <a:pPr>
              <a:lnSpc>
                <a:spcPts val="2700"/>
              </a:lnSpc>
              <a:defRPr/>
            </a:pPr>
            <a:r>
              <a:rPr lang="en-US" sz="4400" b="1" dirty="0" smtClean="0">
                <a:solidFill>
                  <a:srgbClr val="002060"/>
                </a:solidFill>
                <a:latin typeface="DilleniaUPC" pitchFamily="18" charset="-34"/>
                <a:cs typeface="DilleniaUPC" pitchFamily="18" charset="-34"/>
              </a:rPr>
              <a:t>SAAT </a:t>
            </a:r>
            <a:r>
              <a:rPr lang="en-US" sz="4400" b="1" dirty="0">
                <a:solidFill>
                  <a:srgbClr val="002060"/>
                </a:solidFill>
                <a:latin typeface="DilleniaUPC" pitchFamily="18" charset="-34"/>
                <a:cs typeface="DilleniaUPC" pitchFamily="18" charset="-34"/>
              </a:rPr>
              <a:t>INI &amp; YANG AKAN DATANG</a:t>
            </a:r>
            <a:endParaRPr lang="id-ID" sz="4400" b="1" dirty="0">
              <a:solidFill>
                <a:srgbClr val="002060"/>
              </a:solidFill>
              <a:latin typeface="DilleniaUPC" pitchFamily="18" charset="-34"/>
              <a:cs typeface="DilleniaUPC" pitchFamily="18" charset="-34"/>
            </a:endParaRPr>
          </a:p>
        </p:txBody>
      </p:sp>
      <p:sp>
        <p:nvSpPr>
          <p:cNvPr id="8" name="Slide Number Placeholder 7"/>
          <p:cNvSpPr>
            <a:spLocks noGrp="1"/>
          </p:cNvSpPr>
          <p:nvPr>
            <p:ph type="sldNum" sz="quarter" idx="12"/>
          </p:nvPr>
        </p:nvSpPr>
        <p:spPr>
          <a:xfrm>
            <a:off x="9067800" y="6328075"/>
            <a:ext cx="2844800" cy="365125"/>
          </a:xfrm>
        </p:spPr>
        <p:txBody>
          <a:bodyPr/>
          <a:lstStyle/>
          <a:p>
            <a:fld id="{7D08530B-D843-4B68-A89E-667FFE5D1D6F}" type="slidenum">
              <a:rPr lang="en-US" sz="1400" smtClean="0"/>
              <a:t>3</a:t>
            </a:fld>
            <a:endParaRPr lang="en-US" sz="1400"/>
          </a:p>
        </p:txBody>
      </p:sp>
      <p:sp>
        <p:nvSpPr>
          <p:cNvPr id="11" name="AutoShape 2"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4"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7652" name="Picture 4" descr="https://lh3.googleusercontent.com/dHrBZCW3dqETe0WCXSOjnzbqwPX2TKux1TRxBY_Jve4PBoNCt3zpecSdBmDfxVIXw1YN=w300"/>
          <p:cNvPicPr>
            <a:picLocks noChangeAspect="1" noChangeArrowheads="1"/>
          </p:cNvPicPr>
          <p:nvPr/>
        </p:nvPicPr>
        <p:blipFill>
          <a:blip r:embed="rId3">
            <a:extLst>
              <a:ext uri="{BEBA8EAE-BF5A-486C-A8C5-ECC9F3942E4B}">
                <a14:imgProps xmlns:a14="http://schemas.microsoft.com/office/drawing/2010/main">
                  <a14:imgLayer r:embed="rId4">
                    <a14:imgEffect>
                      <a14:artisticTexturizer/>
                    </a14:imgEffect>
                  </a14:imgLayer>
                </a14:imgProps>
              </a:ext>
              <a:ext uri="{28A0092B-C50C-407E-A947-70E740481C1C}">
                <a14:useLocalDpi xmlns:a14="http://schemas.microsoft.com/office/drawing/2010/main" val="0"/>
              </a:ext>
            </a:extLst>
          </a:blip>
          <a:srcRect/>
          <a:stretch>
            <a:fillRect/>
          </a:stretch>
        </p:blipFill>
        <p:spPr bwMode="auto">
          <a:xfrm>
            <a:off x="6697662" y="533400"/>
            <a:ext cx="4498623" cy="449862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9830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Line 2"/>
          <p:cNvSpPr>
            <a:spLocks noChangeShapeType="1"/>
          </p:cNvSpPr>
          <p:nvPr/>
        </p:nvSpPr>
        <p:spPr bwMode="auto">
          <a:xfrm flipH="1">
            <a:off x="4976285" y="996950"/>
            <a:ext cx="2044700" cy="0"/>
          </a:xfrm>
          <a:prstGeom prst="line">
            <a:avLst/>
          </a:prstGeom>
          <a:noFill/>
          <a:ln w="28575">
            <a:solidFill>
              <a:schemeClr val="tx2">
                <a:lumMod val="50000"/>
              </a:schemeClr>
            </a:solidFill>
            <a:prstDash val="dash"/>
            <a:round/>
            <a:headEnd type="triangle" w="med" len="med"/>
            <a:tailEn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83" name="Line 4"/>
          <p:cNvSpPr>
            <a:spLocks noChangeShapeType="1"/>
          </p:cNvSpPr>
          <p:nvPr/>
        </p:nvSpPr>
        <p:spPr bwMode="auto">
          <a:xfrm flipH="1">
            <a:off x="4193118" y="4691063"/>
            <a:ext cx="2116" cy="228600"/>
          </a:xfrm>
          <a:prstGeom prst="line">
            <a:avLst/>
          </a:prstGeom>
          <a:noFill/>
          <a:ln w="28575">
            <a:solidFill>
              <a:schemeClr val="accent1">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84" name="Line 5"/>
          <p:cNvSpPr>
            <a:spLocks noChangeShapeType="1"/>
          </p:cNvSpPr>
          <p:nvPr/>
        </p:nvSpPr>
        <p:spPr bwMode="auto">
          <a:xfrm flipH="1">
            <a:off x="4178300" y="5357813"/>
            <a:ext cx="2117" cy="228600"/>
          </a:xfrm>
          <a:prstGeom prst="line">
            <a:avLst/>
          </a:prstGeom>
          <a:noFill/>
          <a:ln w="28575">
            <a:solidFill>
              <a:schemeClr val="accent1">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85" name="Line 6"/>
          <p:cNvSpPr>
            <a:spLocks noChangeShapeType="1"/>
          </p:cNvSpPr>
          <p:nvPr/>
        </p:nvSpPr>
        <p:spPr bwMode="auto">
          <a:xfrm flipH="1">
            <a:off x="4178300" y="6018213"/>
            <a:ext cx="2117" cy="228600"/>
          </a:xfrm>
          <a:prstGeom prst="line">
            <a:avLst/>
          </a:prstGeom>
          <a:noFill/>
          <a:ln w="28575">
            <a:solidFill>
              <a:schemeClr val="tx2">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86" name="Rectangle 7"/>
          <p:cNvSpPr>
            <a:spLocks noChangeArrowheads="1"/>
          </p:cNvSpPr>
          <p:nvPr/>
        </p:nvSpPr>
        <p:spPr bwMode="auto">
          <a:xfrm>
            <a:off x="2334684" y="3065463"/>
            <a:ext cx="3657600" cy="1130300"/>
          </a:xfrm>
          <a:prstGeom prst="rect">
            <a:avLst/>
          </a:prstGeom>
          <a:noFill/>
          <a:ln w="28575">
            <a:solidFill>
              <a:srgbClr val="FF0000"/>
            </a:solidFill>
            <a:prstDash val="sysDot"/>
            <a:miter lim="800000"/>
            <a:headEnd/>
            <a:tailEnd/>
          </a:ln>
          <a:effectLst/>
        </p:spPr>
        <p:txBody>
          <a:bodyPr wrap="none" anchor="ct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87" name="AutoShape 8"/>
          <p:cNvSpPr>
            <a:spLocks noChangeArrowheads="1"/>
          </p:cNvSpPr>
          <p:nvPr/>
        </p:nvSpPr>
        <p:spPr bwMode="auto">
          <a:xfrm>
            <a:off x="3467100" y="1476375"/>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dirty="0">
                <a:solidFill>
                  <a:srgbClr val="000000"/>
                </a:solidFill>
                <a:latin typeface="Albertus" pitchFamily="34" charset="0"/>
              </a:rPr>
              <a:t>RPJMD</a:t>
            </a:r>
          </a:p>
        </p:txBody>
      </p:sp>
      <p:sp>
        <p:nvSpPr>
          <p:cNvPr id="88" name="AutoShape 9"/>
          <p:cNvSpPr>
            <a:spLocks noChangeArrowheads="1"/>
          </p:cNvSpPr>
          <p:nvPr/>
        </p:nvSpPr>
        <p:spPr bwMode="auto">
          <a:xfrm>
            <a:off x="622300" y="1830388"/>
            <a:ext cx="1524000" cy="457200"/>
          </a:xfrm>
          <a:prstGeom prst="roundRect">
            <a:avLst>
              <a:gd name="adj" fmla="val 16667"/>
            </a:avLst>
          </a:prstGeom>
          <a:solidFill>
            <a:schemeClr val="accent6">
              <a:lumMod val="20000"/>
              <a:lumOff val="80000"/>
            </a:schemeClr>
          </a:solidFill>
          <a:ln w="9525">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dirty="0" err="1">
                <a:solidFill>
                  <a:srgbClr val="000000"/>
                </a:solidFill>
                <a:latin typeface="Albertus" pitchFamily="34" charset="0"/>
              </a:rPr>
              <a:t>Renstra</a:t>
            </a:r>
            <a:endParaRPr lang="en-US" sz="1400" dirty="0">
              <a:solidFill>
                <a:srgbClr val="000000"/>
              </a:solidFill>
              <a:latin typeface="Albertus" pitchFamily="34" charset="0"/>
            </a:endParaRPr>
          </a:p>
          <a:p>
            <a:pPr algn="ctr" fontAlgn="auto">
              <a:spcBef>
                <a:spcPts val="0"/>
              </a:spcBef>
              <a:spcAft>
                <a:spcPts val="0"/>
              </a:spcAft>
              <a:defRPr/>
            </a:pPr>
            <a:r>
              <a:rPr lang="en-US" sz="1400" dirty="0">
                <a:solidFill>
                  <a:srgbClr val="000000"/>
                </a:solidFill>
                <a:latin typeface="Albertus" pitchFamily="34" charset="0"/>
              </a:rPr>
              <a:t>SKPD</a:t>
            </a:r>
          </a:p>
        </p:txBody>
      </p:sp>
      <p:sp>
        <p:nvSpPr>
          <p:cNvPr id="89" name="AutoShape 10"/>
          <p:cNvSpPr>
            <a:spLocks noChangeArrowheads="1"/>
          </p:cNvSpPr>
          <p:nvPr/>
        </p:nvSpPr>
        <p:spPr bwMode="auto">
          <a:xfrm>
            <a:off x="622300" y="2519363"/>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dirty="0" err="1">
                <a:solidFill>
                  <a:srgbClr val="000000"/>
                </a:solidFill>
                <a:latin typeface="Albertus" pitchFamily="34" charset="0"/>
              </a:rPr>
              <a:t>Renja</a:t>
            </a:r>
            <a:endParaRPr lang="en-US" sz="1400" dirty="0">
              <a:solidFill>
                <a:srgbClr val="000000"/>
              </a:solidFill>
              <a:latin typeface="Albertus" pitchFamily="34" charset="0"/>
            </a:endParaRPr>
          </a:p>
          <a:p>
            <a:pPr algn="ctr" fontAlgn="auto">
              <a:spcBef>
                <a:spcPts val="0"/>
              </a:spcBef>
              <a:spcAft>
                <a:spcPts val="0"/>
              </a:spcAft>
              <a:defRPr/>
            </a:pPr>
            <a:r>
              <a:rPr lang="en-US" sz="1400" dirty="0">
                <a:solidFill>
                  <a:srgbClr val="000000"/>
                </a:solidFill>
                <a:latin typeface="Albertus" pitchFamily="34" charset="0"/>
              </a:rPr>
              <a:t>SKPD</a:t>
            </a:r>
          </a:p>
        </p:txBody>
      </p:sp>
      <p:sp>
        <p:nvSpPr>
          <p:cNvPr id="90" name="AutoShape 11"/>
          <p:cNvSpPr>
            <a:spLocks noChangeArrowheads="1"/>
          </p:cNvSpPr>
          <p:nvPr/>
        </p:nvSpPr>
        <p:spPr bwMode="auto">
          <a:xfrm>
            <a:off x="3467100" y="2519363"/>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dirty="0">
                <a:solidFill>
                  <a:srgbClr val="000000"/>
                </a:solidFill>
                <a:latin typeface="Albertus" pitchFamily="34" charset="0"/>
              </a:rPr>
              <a:t>RKPD</a:t>
            </a:r>
          </a:p>
        </p:txBody>
      </p:sp>
      <p:sp>
        <p:nvSpPr>
          <p:cNvPr id="91" name="AutoShape 12"/>
          <p:cNvSpPr>
            <a:spLocks noChangeArrowheads="1"/>
          </p:cNvSpPr>
          <p:nvPr/>
        </p:nvSpPr>
        <p:spPr bwMode="auto">
          <a:xfrm>
            <a:off x="2451100" y="3433763"/>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a:solidFill>
                  <a:srgbClr val="000000"/>
                </a:solidFill>
                <a:latin typeface="Albertus" pitchFamily="34" charset="0"/>
              </a:rPr>
              <a:t>KUA</a:t>
            </a:r>
          </a:p>
        </p:txBody>
      </p:sp>
      <p:sp>
        <p:nvSpPr>
          <p:cNvPr id="92" name="AutoShape 13"/>
          <p:cNvSpPr>
            <a:spLocks noChangeArrowheads="1"/>
          </p:cNvSpPr>
          <p:nvPr/>
        </p:nvSpPr>
        <p:spPr bwMode="auto">
          <a:xfrm>
            <a:off x="4381500" y="3433763"/>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a:solidFill>
                  <a:srgbClr val="000000"/>
                </a:solidFill>
                <a:latin typeface="Albertus" pitchFamily="34" charset="0"/>
              </a:rPr>
              <a:t>PPAS</a:t>
            </a:r>
          </a:p>
        </p:txBody>
      </p:sp>
      <p:sp>
        <p:nvSpPr>
          <p:cNvPr id="14349" name="AutoShape 14"/>
          <p:cNvSpPr>
            <a:spLocks noChangeArrowheads="1"/>
          </p:cNvSpPr>
          <p:nvPr/>
        </p:nvSpPr>
        <p:spPr bwMode="auto">
          <a:xfrm>
            <a:off x="3416300" y="4919663"/>
            <a:ext cx="1524000" cy="533400"/>
          </a:xfrm>
          <a:prstGeom prst="roundRect">
            <a:avLst>
              <a:gd name="adj" fmla="val 16667"/>
            </a:avLst>
          </a:prstGeom>
          <a:solidFill>
            <a:srgbClr val="66FF33"/>
          </a:solidFill>
          <a:ln>
            <a:noFill/>
          </a:ln>
          <a:effectLst>
            <a:prstShdw prst="shdw17" dist="17961" dir="2700000">
              <a:srgbClr val="3D991F"/>
            </a:prst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r>
              <a:rPr lang="en-US" sz="1200">
                <a:solidFill>
                  <a:srgbClr val="000000"/>
                </a:solidFill>
                <a:latin typeface="Albertus" pitchFamily="34" charset="0"/>
              </a:rPr>
              <a:t>PEDOMAN</a:t>
            </a:r>
          </a:p>
          <a:p>
            <a:pPr algn="ctr"/>
            <a:r>
              <a:rPr lang="en-US" sz="1200">
                <a:solidFill>
                  <a:srgbClr val="000000"/>
                </a:solidFill>
                <a:latin typeface="Albertus" pitchFamily="34" charset="0"/>
              </a:rPr>
              <a:t>PENYUSUNAN</a:t>
            </a:r>
          </a:p>
          <a:p>
            <a:pPr algn="ctr"/>
            <a:r>
              <a:rPr lang="en-US" sz="1200">
                <a:solidFill>
                  <a:srgbClr val="000000"/>
                </a:solidFill>
                <a:latin typeface="Albertus" pitchFamily="34" charset="0"/>
              </a:rPr>
              <a:t>RKA-SKPD</a:t>
            </a:r>
          </a:p>
        </p:txBody>
      </p:sp>
      <p:sp>
        <p:nvSpPr>
          <p:cNvPr id="94" name="AutoShape 15"/>
          <p:cNvSpPr>
            <a:spLocks noChangeArrowheads="1"/>
          </p:cNvSpPr>
          <p:nvPr/>
        </p:nvSpPr>
        <p:spPr bwMode="auto">
          <a:xfrm>
            <a:off x="3401484" y="6278563"/>
            <a:ext cx="1524000" cy="457200"/>
          </a:xfrm>
          <a:prstGeom prst="roundRect">
            <a:avLst>
              <a:gd name="adj" fmla="val 16667"/>
            </a:avLst>
          </a:prstGeom>
          <a:solidFill>
            <a:schemeClr val="accent3">
              <a:lumMod val="20000"/>
              <a:lumOff val="80000"/>
            </a:schemeClr>
          </a:solidFill>
          <a:ln w="9525">
            <a:noFill/>
            <a:round/>
            <a:headEnd/>
            <a:tailEnd/>
          </a:ln>
          <a:effectLst>
            <a:prstShdw prst="shdw17" dist="17961" dir="2700000">
              <a:srgbClr val="995C99"/>
            </a:prstShdw>
          </a:effectLst>
        </p:spPr>
        <p:txBody>
          <a:bodyPr wrap="none" anchor="ctr"/>
          <a:lstStyle/>
          <a:p>
            <a:pPr algn="ctr" fontAlgn="auto">
              <a:spcBef>
                <a:spcPts val="0"/>
              </a:spcBef>
              <a:spcAft>
                <a:spcPts val="0"/>
              </a:spcAft>
              <a:defRPr/>
            </a:pPr>
            <a:r>
              <a:rPr lang="en-US" sz="1200" dirty="0">
                <a:solidFill>
                  <a:srgbClr val="000000"/>
                </a:solidFill>
                <a:latin typeface="Albertus" pitchFamily="34" charset="0"/>
              </a:rPr>
              <a:t>RAPERDA</a:t>
            </a:r>
          </a:p>
          <a:p>
            <a:pPr algn="ctr" fontAlgn="auto">
              <a:spcBef>
                <a:spcPts val="0"/>
              </a:spcBef>
              <a:spcAft>
                <a:spcPts val="0"/>
              </a:spcAft>
              <a:defRPr/>
            </a:pPr>
            <a:r>
              <a:rPr lang="en-US" sz="1200" dirty="0">
                <a:solidFill>
                  <a:srgbClr val="000000"/>
                </a:solidFill>
                <a:latin typeface="Albertus" pitchFamily="34" charset="0"/>
              </a:rPr>
              <a:t>APBD</a:t>
            </a:r>
          </a:p>
        </p:txBody>
      </p:sp>
      <p:sp>
        <p:nvSpPr>
          <p:cNvPr id="14351" name="Oval 16"/>
          <p:cNvSpPr>
            <a:spLocks noChangeArrowheads="1"/>
          </p:cNvSpPr>
          <p:nvPr/>
        </p:nvSpPr>
        <p:spPr bwMode="auto">
          <a:xfrm>
            <a:off x="2980267" y="5611813"/>
            <a:ext cx="2413000" cy="457200"/>
          </a:xfrm>
          <a:prstGeom prst="ellipse">
            <a:avLst/>
          </a:prstGeom>
          <a:solidFill>
            <a:srgbClr val="FFFF66"/>
          </a:solidFill>
          <a:ln>
            <a:noFill/>
          </a:ln>
          <a:effectLst>
            <a:prstShdw prst="shdw17" dist="17961" dir="2700000">
              <a:srgbClr val="99993D"/>
            </a:prstShdw>
          </a:effectLst>
          <a:extLst>
            <a:ext uri="{91240B29-F687-4F45-9708-019B960494DF}">
              <a14:hiddenLine xmlns:a14="http://schemas.microsoft.com/office/drawing/2010/main" w="9525">
                <a:solidFill>
                  <a:srgbClr val="000000"/>
                </a:solidFill>
                <a:round/>
                <a:headEnd/>
                <a:tailEnd/>
              </a14:hiddenLine>
            </a:ext>
          </a:extLst>
        </p:spPr>
        <p:txBody>
          <a:bodyPr wrap="none" tIns="10800" bIns="10800" anchor="ctr" anchorCtr="1"/>
          <a:lstStyle/>
          <a:p>
            <a:pPr algn="ctr">
              <a:lnSpc>
                <a:spcPct val="80000"/>
              </a:lnSpc>
            </a:pPr>
            <a:r>
              <a:rPr lang="en-US" sz="1400">
                <a:solidFill>
                  <a:srgbClr val="000000"/>
                </a:solidFill>
                <a:latin typeface="Albertus" pitchFamily="34" charset="0"/>
              </a:rPr>
              <a:t>TAPD</a:t>
            </a:r>
          </a:p>
        </p:txBody>
      </p:sp>
      <p:sp>
        <p:nvSpPr>
          <p:cNvPr id="96" name="Line 17"/>
          <p:cNvSpPr>
            <a:spLocks noChangeShapeType="1"/>
          </p:cNvSpPr>
          <p:nvPr/>
        </p:nvSpPr>
        <p:spPr bwMode="auto">
          <a:xfrm rot="16200000">
            <a:off x="2814373" y="2079891"/>
            <a:ext cx="1587" cy="1337733"/>
          </a:xfrm>
          <a:prstGeom prst="line">
            <a:avLst/>
          </a:prstGeom>
          <a:noFill/>
          <a:ln w="28575">
            <a:solidFill>
              <a:schemeClr val="tx2">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97" name="Line 18"/>
          <p:cNvSpPr>
            <a:spLocks noChangeShapeType="1"/>
          </p:cNvSpPr>
          <p:nvPr/>
        </p:nvSpPr>
        <p:spPr bwMode="auto">
          <a:xfrm>
            <a:off x="4231218" y="2976563"/>
            <a:ext cx="2116" cy="228600"/>
          </a:xfrm>
          <a:prstGeom prst="line">
            <a:avLst/>
          </a:prstGeom>
          <a:noFill/>
          <a:ln w="28575">
            <a:solidFill>
              <a:schemeClr val="accent1">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98" name="Line 19"/>
          <p:cNvSpPr>
            <a:spLocks noChangeShapeType="1"/>
          </p:cNvSpPr>
          <p:nvPr/>
        </p:nvSpPr>
        <p:spPr bwMode="auto">
          <a:xfrm flipH="1">
            <a:off x="4178300" y="4106863"/>
            <a:ext cx="2117" cy="228600"/>
          </a:xfrm>
          <a:prstGeom prst="line">
            <a:avLst/>
          </a:prstGeom>
          <a:noFill/>
          <a:ln w="28575">
            <a:solidFill>
              <a:schemeClr val="accent1">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99" name="AutoShape 20"/>
          <p:cNvSpPr>
            <a:spLocks noChangeArrowheads="1"/>
          </p:cNvSpPr>
          <p:nvPr/>
        </p:nvSpPr>
        <p:spPr bwMode="auto">
          <a:xfrm>
            <a:off x="596900" y="4865688"/>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200" dirty="0">
                <a:solidFill>
                  <a:srgbClr val="000000"/>
                </a:solidFill>
                <a:latin typeface="Albertus" pitchFamily="34" charset="0"/>
              </a:rPr>
              <a:t>RKA-SKPD</a:t>
            </a:r>
          </a:p>
        </p:txBody>
      </p:sp>
      <p:sp>
        <p:nvSpPr>
          <p:cNvPr id="100" name="Line 21"/>
          <p:cNvSpPr>
            <a:spLocks noChangeShapeType="1"/>
          </p:cNvSpPr>
          <p:nvPr/>
        </p:nvSpPr>
        <p:spPr bwMode="auto">
          <a:xfrm flipH="1">
            <a:off x="2146300" y="5122864"/>
            <a:ext cx="1219200" cy="1587"/>
          </a:xfrm>
          <a:prstGeom prst="line">
            <a:avLst/>
          </a:prstGeom>
          <a:noFill/>
          <a:ln w="28575">
            <a:solidFill>
              <a:schemeClr val="tx2">
                <a:lumMod val="50000"/>
              </a:schemeClr>
            </a:solidFill>
            <a:prstDash val="dash"/>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14357" name="AutoShape 22"/>
          <p:cNvSpPr>
            <a:spLocks noChangeArrowheads="1"/>
          </p:cNvSpPr>
          <p:nvPr/>
        </p:nvSpPr>
        <p:spPr bwMode="auto">
          <a:xfrm>
            <a:off x="6356351" y="3209925"/>
            <a:ext cx="1422400" cy="622300"/>
          </a:xfrm>
          <a:prstGeom prst="wedgeRoundRectCallout">
            <a:avLst>
              <a:gd name="adj1" fmla="val -84889"/>
              <a:gd name="adj2" fmla="val -35458"/>
              <a:gd name="adj3" fmla="val 16667"/>
            </a:avLst>
          </a:prstGeom>
          <a:solidFill>
            <a:srgbClr val="FFFF66"/>
          </a:solidFill>
          <a:ln w="9525">
            <a:solidFill>
              <a:srgbClr val="FFFF00"/>
            </a:solidFill>
            <a:miter lim="800000"/>
            <a:headEnd/>
            <a:tailEnd/>
          </a:ln>
        </p:spPr>
        <p:txBody>
          <a:bodyPr anchor="ctr" anchorCtr="1"/>
          <a:lstStyle/>
          <a:p>
            <a:pPr algn="ctr">
              <a:lnSpc>
                <a:spcPct val="90000"/>
              </a:lnSpc>
            </a:pPr>
            <a:r>
              <a:rPr lang="en-US" sz="1100">
                <a:solidFill>
                  <a:srgbClr val="000000"/>
                </a:solidFill>
                <a:latin typeface="Albertus" pitchFamily="34" charset="0"/>
              </a:rPr>
              <a:t>Dibahas bersama DPRD</a:t>
            </a:r>
          </a:p>
        </p:txBody>
      </p:sp>
      <p:sp>
        <p:nvSpPr>
          <p:cNvPr id="14358" name="Text Box 23"/>
          <p:cNvSpPr txBox="1">
            <a:spLocks noChangeArrowheads="1"/>
          </p:cNvSpPr>
          <p:nvPr/>
        </p:nvSpPr>
        <p:spPr bwMode="auto">
          <a:xfrm>
            <a:off x="4169834" y="1960563"/>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5 tahun</a:t>
            </a:r>
          </a:p>
        </p:txBody>
      </p:sp>
      <p:sp>
        <p:nvSpPr>
          <p:cNvPr id="14359" name="Text Box 24"/>
          <p:cNvSpPr txBox="1">
            <a:spLocks noChangeArrowheads="1"/>
          </p:cNvSpPr>
          <p:nvPr/>
        </p:nvSpPr>
        <p:spPr bwMode="auto">
          <a:xfrm>
            <a:off x="505884" y="2243138"/>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5 tahun</a:t>
            </a:r>
          </a:p>
        </p:txBody>
      </p:sp>
      <p:sp>
        <p:nvSpPr>
          <p:cNvPr id="14360" name="Text Box 25"/>
          <p:cNvSpPr txBox="1">
            <a:spLocks noChangeArrowheads="1"/>
          </p:cNvSpPr>
          <p:nvPr/>
        </p:nvSpPr>
        <p:spPr bwMode="auto">
          <a:xfrm>
            <a:off x="419101" y="3008313"/>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1 tahun</a:t>
            </a:r>
          </a:p>
        </p:txBody>
      </p:sp>
      <p:sp>
        <p:nvSpPr>
          <p:cNvPr id="14361" name="Text Box 26"/>
          <p:cNvSpPr txBox="1">
            <a:spLocks noChangeArrowheads="1"/>
          </p:cNvSpPr>
          <p:nvPr/>
        </p:nvSpPr>
        <p:spPr bwMode="auto">
          <a:xfrm>
            <a:off x="2351617" y="3043238"/>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1 tahun</a:t>
            </a:r>
          </a:p>
        </p:txBody>
      </p:sp>
      <p:sp>
        <p:nvSpPr>
          <p:cNvPr id="106" name="AutoShape 27"/>
          <p:cNvSpPr>
            <a:spLocks noChangeArrowheads="1"/>
          </p:cNvSpPr>
          <p:nvPr/>
        </p:nvSpPr>
        <p:spPr bwMode="auto">
          <a:xfrm>
            <a:off x="7073900" y="2532063"/>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dirty="0">
                <a:solidFill>
                  <a:srgbClr val="000000"/>
                </a:solidFill>
                <a:latin typeface="Albertus" pitchFamily="34" charset="0"/>
              </a:rPr>
              <a:t>RKP </a:t>
            </a:r>
          </a:p>
        </p:txBody>
      </p:sp>
      <p:sp>
        <p:nvSpPr>
          <p:cNvPr id="107" name="Line 28"/>
          <p:cNvSpPr>
            <a:spLocks noChangeShapeType="1"/>
          </p:cNvSpPr>
          <p:nvPr/>
        </p:nvSpPr>
        <p:spPr bwMode="auto">
          <a:xfrm>
            <a:off x="7816851" y="1955800"/>
            <a:ext cx="0" cy="576263"/>
          </a:xfrm>
          <a:prstGeom prst="line">
            <a:avLst/>
          </a:prstGeom>
          <a:noFill/>
          <a:ln w="28575">
            <a:solidFill>
              <a:schemeClr val="tx2">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108" name="AutoShape 29"/>
          <p:cNvSpPr>
            <a:spLocks noChangeArrowheads="1"/>
          </p:cNvSpPr>
          <p:nvPr/>
        </p:nvSpPr>
        <p:spPr bwMode="auto">
          <a:xfrm>
            <a:off x="7048500" y="1476375"/>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a:solidFill>
                  <a:srgbClr val="000000"/>
                </a:solidFill>
                <a:latin typeface="Albertus" pitchFamily="34" charset="0"/>
              </a:rPr>
              <a:t>RPJMN</a:t>
            </a:r>
          </a:p>
        </p:txBody>
      </p:sp>
      <p:sp>
        <p:nvSpPr>
          <p:cNvPr id="109" name="AutoShape 30"/>
          <p:cNvSpPr>
            <a:spLocks noChangeArrowheads="1"/>
          </p:cNvSpPr>
          <p:nvPr/>
        </p:nvSpPr>
        <p:spPr bwMode="auto">
          <a:xfrm>
            <a:off x="2620433" y="4335463"/>
            <a:ext cx="3149600" cy="431800"/>
          </a:xfrm>
          <a:prstGeom prst="flowChartDocument">
            <a:avLst/>
          </a:prstGeom>
          <a:solidFill>
            <a:schemeClr val="accent6">
              <a:lumMod val="40000"/>
              <a:lumOff val="60000"/>
            </a:schemeClr>
          </a:solidFill>
          <a:ln w="9525" algn="ctr">
            <a:noFill/>
            <a:miter lim="800000"/>
            <a:headEnd/>
            <a:tailEnd/>
          </a:ln>
          <a:effectLst>
            <a:prstShdw prst="shdw17" dist="17961" dir="2700000">
              <a:schemeClr val="tx1">
                <a:gamma/>
                <a:shade val="60000"/>
                <a:invGamma/>
              </a:schemeClr>
            </a:prstShdw>
          </a:effectLst>
        </p:spPr>
        <p:txBody>
          <a:bodyPr anchor="ctr"/>
          <a:lstStyle/>
          <a:p>
            <a:pPr algn="ctr" fontAlgn="auto">
              <a:spcBef>
                <a:spcPts val="0"/>
              </a:spcBef>
              <a:spcAft>
                <a:spcPts val="0"/>
              </a:spcAft>
              <a:defRPr/>
            </a:pPr>
            <a:r>
              <a:rPr lang="en-US" sz="1000" dirty="0">
                <a:solidFill>
                  <a:srgbClr val="000000"/>
                </a:solidFill>
                <a:latin typeface="Albertus" pitchFamily="34" charset="0"/>
              </a:rPr>
              <a:t>NOTA KESEPAKATAN PIMPINAN DPRD DGN KDH </a:t>
            </a:r>
          </a:p>
        </p:txBody>
      </p:sp>
      <p:sp>
        <p:nvSpPr>
          <p:cNvPr id="14366" name="Text Box 31"/>
          <p:cNvSpPr txBox="1">
            <a:spLocks noChangeArrowheads="1"/>
          </p:cNvSpPr>
          <p:nvPr/>
        </p:nvSpPr>
        <p:spPr bwMode="auto">
          <a:xfrm>
            <a:off x="3164417" y="2286001"/>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1 tahun</a:t>
            </a:r>
          </a:p>
        </p:txBody>
      </p:sp>
      <p:sp>
        <p:nvSpPr>
          <p:cNvPr id="14367" name="Text Box 32"/>
          <p:cNvSpPr txBox="1">
            <a:spLocks noChangeArrowheads="1"/>
          </p:cNvSpPr>
          <p:nvPr/>
        </p:nvSpPr>
        <p:spPr bwMode="auto">
          <a:xfrm>
            <a:off x="6915151" y="2243138"/>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1 tahun</a:t>
            </a:r>
          </a:p>
        </p:txBody>
      </p:sp>
      <p:sp>
        <p:nvSpPr>
          <p:cNvPr id="14368" name="Text Box 33"/>
          <p:cNvSpPr txBox="1">
            <a:spLocks noChangeArrowheads="1"/>
          </p:cNvSpPr>
          <p:nvPr/>
        </p:nvSpPr>
        <p:spPr bwMode="auto">
          <a:xfrm>
            <a:off x="6887634" y="1892301"/>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5 tahun</a:t>
            </a:r>
          </a:p>
        </p:txBody>
      </p:sp>
      <p:sp>
        <p:nvSpPr>
          <p:cNvPr id="113" name="AutoShape 35"/>
          <p:cNvSpPr>
            <a:spLocks noChangeArrowheads="1"/>
          </p:cNvSpPr>
          <p:nvPr/>
        </p:nvSpPr>
        <p:spPr bwMode="auto">
          <a:xfrm>
            <a:off x="3462867" y="803275"/>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a:solidFill>
                  <a:srgbClr val="000000"/>
                </a:solidFill>
                <a:latin typeface="Albertus" pitchFamily="34" charset="0"/>
              </a:rPr>
              <a:t>RPJPD</a:t>
            </a:r>
          </a:p>
        </p:txBody>
      </p:sp>
      <p:sp>
        <p:nvSpPr>
          <p:cNvPr id="114" name="AutoShape 36"/>
          <p:cNvSpPr>
            <a:spLocks noChangeArrowheads="1"/>
          </p:cNvSpPr>
          <p:nvPr/>
        </p:nvSpPr>
        <p:spPr bwMode="auto">
          <a:xfrm>
            <a:off x="7054851" y="795338"/>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a:solidFill>
                  <a:srgbClr val="000000"/>
                </a:solidFill>
                <a:latin typeface="Albertus" pitchFamily="34" charset="0"/>
              </a:rPr>
              <a:t>RPJPN</a:t>
            </a:r>
          </a:p>
        </p:txBody>
      </p:sp>
      <p:sp>
        <p:nvSpPr>
          <p:cNvPr id="14371" name="Text Box 37"/>
          <p:cNvSpPr txBox="1">
            <a:spLocks noChangeArrowheads="1"/>
          </p:cNvSpPr>
          <p:nvPr/>
        </p:nvSpPr>
        <p:spPr bwMode="auto">
          <a:xfrm>
            <a:off x="2635251" y="1212851"/>
            <a:ext cx="6783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20 tahun</a:t>
            </a:r>
          </a:p>
        </p:txBody>
      </p:sp>
      <p:sp>
        <p:nvSpPr>
          <p:cNvPr id="14372" name="Text Box 38"/>
          <p:cNvSpPr txBox="1">
            <a:spLocks noChangeArrowheads="1"/>
          </p:cNvSpPr>
          <p:nvPr/>
        </p:nvSpPr>
        <p:spPr bwMode="auto">
          <a:xfrm>
            <a:off x="8530167" y="1239838"/>
            <a:ext cx="6783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20 tahun</a:t>
            </a:r>
          </a:p>
        </p:txBody>
      </p:sp>
      <p:cxnSp>
        <p:nvCxnSpPr>
          <p:cNvPr id="117" name="AutoShape 39"/>
          <p:cNvCxnSpPr>
            <a:cxnSpLocks noChangeShapeType="1"/>
            <a:endCxn id="88" idx="0"/>
          </p:cNvCxnSpPr>
          <p:nvPr/>
        </p:nvCxnSpPr>
        <p:spPr bwMode="auto">
          <a:xfrm rot="10800000" flipV="1">
            <a:off x="1384301" y="1697038"/>
            <a:ext cx="2046817" cy="133350"/>
          </a:xfrm>
          <a:prstGeom prst="bentConnector2">
            <a:avLst/>
          </a:prstGeom>
          <a:noFill/>
          <a:ln w="28575">
            <a:solidFill>
              <a:schemeClr val="tx2">
                <a:lumMod val="50000"/>
              </a:schemeClr>
            </a:solidFill>
            <a:miter lim="800000"/>
            <a:headEnd type="triangle" w="med" len="med"/>
            <a:tailEnd/>
          </a:ln>
        </p:spPr>
      </p:cxnSp>
      <p:cxnSp>
        <p:nvCxnSpPr>
          <p:cNvPr id="118" name="AutoShape 40"/>
          <p:cNvCxnSpPr>
            <a:cxnSpLocks noChangeShapeType="1"/>
            <a:stCxn id="114" idx="2"/>
            <a:endCxn id="108" idx="0"/>
          </p:cNvCxnSpPr>
          <p:nvPr/>
        </p:nvCxnSpPr>
        <p:spPr bwMode="auto">
          <a:xfrm flipH="1">
            <a:off x="7810501" y="1252539"/>
            <a:ext cx="6351" cy="223837"/>
          </a:xfrm>
          <a:prstGeom prst="straightConnector1">
            <a:avLst/>
          </a:prstGeom>
          <a:noFill/>
          <a:ln w="28575">
            <a:solidFill>
              <a:schemeClr val="accent1">
                <a:lumMod val="50000"/>
              </a:schemeClr>
            </a:solidFill>
            <a:round/>
            <a:headEnd type="triangle" w="med" len="med"/>
            <a:tailEnd/>
          </a:ln>
        </p:spPr>
      </p:cxnSp>
      <p:cxnSp>
        <p:nvCxnSpPr>
          <p:cNvPr id="119" name="AutoShape 41"/>
          <p:cNvCxnSpPr>
            <a:cxnSpLocks noChangeShapeType="1"/>
            <a:stCxn id="99" idx="2"/>
            <a:endCxn id="14351" idx="2"/>
          </p:cNvCxnSpPr>
          <p:nvPr/>
        </p:nvCxnSpPr>
        <p:spPr bwMode="auto">
          <a:xfrm rot="16200000" flipH="1">
            <a:off x="1910822" y="4770968"/>
            <a:ext cx="517525" cy="1621367"/>
          </a:xfrm>
          <a:prstGeom prst="bentConnector2">
            <a:avLst/>
          </a:prstGeom>
          <a:noFill/>
          <a:ln w="28575">
            <a:solidFill>
              <a:schemeClr val="tx2">
                <a:lumMod val="50000"/>
              </a:schemeClr>
            </a:solidFill>
            <a:miter lim="800000"/>
            <a:headEnd/>
            <a:tailEnd type="triangle" w="med" len="med"/>
          </a:ln>
        </p:spPr>
      </p:cxnSp>
      <p:cxnSp>
        <p:nvCxnSpPr>
          <p:cNvPr id="120" name="AutoShape 42"/>
          <p:cNvCxnSpPr>
            <a:cxnSpLocks noChangeShapeType="1"/>
            <a:stCxn id="91" idx="0"/>
            <a:endCxn id="92" idx="0"/>
          </p:cNvCxnSpPr>
          <p:nvPr/>
        </p:nvCxnSpPr>
        <p:spPr bwMode="auto">
          <a:xfrm rot="5400000" flipV="1">
            <a:off x="4177507" y="2469357"/>
            <a:ext cx="1587" cy="1930400"/>
          </a:xfrm>
          <a:prstGeom prst="bentConnector3">
            <a:avLst>
              <a:gd name="adj1" fmla="val -14400005"/>
            </a:avLst>
          </a:prstGeom>
          <a:noFill/>
          <a:ln w="28575">
            <a:solidFill>
              <a:schemeClr val="tx2">
                <a:lumMod val="50000"/>
              </a:schemeClr>
            </a:solidFill>
            <a:miter lim="800000"/>
            <a:headEnd type="triangle" w="med" len="med"/>
            <a:tailEnd type="triangle" w="med" len="med"/>
          </a:ln>
        </p:spPr>
      </p:cxnSp>
      <p:cxnSp>
        <p:nvCxnSpPr>
          <p:cNvPr id="121" name="AutoShape 43"/>
          <p:cNvCxnSpPr>
            <a:cxnSpLocks noChangeShapeType="1"/>
            <a:stCxn id="91" idx="2"/>
            <a:endCxn id="92" idx="2"/>
          </p:cNvCxnSpPr>
          <p:nvPr/>
        </p:nvCxnSpPr>
        <p:spPr bwMode="auto">
          <a:xfrm rot="16200000" flipH="1">
            <a:off x="4177507" y="2926557"/>
            <a:ext cx="1587" cy="1930400"/>
          </a:xfrm>
          <a:prstGeom prst="bentConnector3">
            <a:avLst>
              <a:gd name="adj1" fmla="val 14400005"/>
            </a:avLst>
          </a:prstGeom>
          <a:noFill/>
          <a:ln w="28575">
            <a:solidFill>
              <a:schemeClr val="tx2">
                <a:lumMod val="50000"/>
              </a:schemeClr>
            </a:solidFill>
            <a:miter lim="800000"/>
            <a:headEnd/>
            <a:tailEnd/>
          </a:ln>
        </p:spPr>
      </p:cxnSp>
      <p:sp>
        <p:nvSpPr>
          <p:cNvPr id="122" name="Line 44"/>
          <p:cNvSpPr>
            <a:spLocks noChangeShapeType="1"/>
          </p:cNvSpPr>
          <p:nvPr/>
        </p:nvSpPr>
        <p:spPr bwMode="auto">
          <a:xfrm>
            <a:off x="10168467" y="2316163"/>
            <a:ext cx="2117" cy="273050"/>
          </a:xfrm>
          <a:prstGeom prst="line">
            <a:avLst/>
          </a:prstGeom>
          <a:noFill/>
          <a:ln w="28575">
            <a:solidFill>
              <a:schemeClr val="accent1">
                <a:lumMod val="50000"/>
              </a:schemeClr>
            </a:solidFill>
            <a:round/>
            <a:headEnd type="triangle" w="med" len="med"/>
            <a:tailEn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123" name="AutoShape 45"/>
          <p:cNvSpPr>
            <a:spLocks noChangeArrowheads="1"/>
          </p:cNvSpPr>
          <p:nvPr/>
        </p:nvSpPr>
        <p:spPr bwMode="auto">
          <a:xfrm>
            <a:off x="9395884" y="1876425"/>
            <a:ext cx="1524000" cy="457200"/>
          </a:xfrm>
          <a:prstGeom prst="roundRect">
            <a:avLst>
              <a:gd name="adj" fmla="val 16667"/>
            </a:avLst>
          </a:prstGeom>
          <a:solidFill>
            <a:schemeClr val="accent6">
              <a:lumMod val="20000"/>
              <a:lumOff val="80000"/>
            </a:schemeClr>
          </a:solidFill>
          <a:ln w="9525">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dirty="0" err="1">
                <a:solidFill>
                  <a:srgbClr val="000000"/>
                </a:solidFill>
                <a:latin typeface="Albertus" pitchFamily="34" charset="0"/>
              </a:rPr>
              <a:t>Renstra</a:t>
            </a:r>
            <a:endParaRPr lang="en-US" sz="1400" dirty="0">
              <a:solidFill>
                <a:srgbClr val="000000"/>
              </a:solidFill>
              <a:latin typeface="Albertus" pitchFamily="34" charset="0"/>
            </a:endParaRPr>
          </a:p>
          <a:p>
            <a:pPr algn="ctr" fontAlgn="auto">
              <a:spcBef>
                <a:spcPts val="0"/>
              </a:spcBef>
              <a:spcAft>
                <a:spcPts val="0"/>
              </a:spcAft>
              <a:defRPr/>
            </a:pPr>
            <a:r>
              <a:rPr lang="en-US" sz="1400" dirty="0">
                <a:solidFill>
                  <a:srgbClr val="000000"/>
                </a:solidFill>
                <a:latin typeface="Albertus" pitchFamily="34" charset="0"/>
              </a:rPr>
              <a:t>K/L </a:t>
            </a:r>
          </a:p>
        </p:txBody>
      </p:sp>
      <p:sp>
        <p:nvSpPr>
          <p:cNvPr id="124" name="AutoShape 46"/>
          <p:cNvSpPr>
            <a:spLocks noChangeArrowheads="1"/>
          </p:cNvSpPr>
          <p:nvPr/>
        </p:nvSpPr>
        <p:spPr bwMode="auto">
          <a:xfrm>
            <a:off x="9395884" y="2565400"/>
            <a:ext cx="1524000" cy="457200"/>
          </a:xfrm>
          <a:prstGeom prst="roundRect">
            <a:avLst>
              <a:gd name="adj" fmla="val 16667"/>
            </a:avLst>
          </a:prstGeom>
          <a:solidFill>
            <a:schemeClr val="accent6">
              <a:lumMod val="20000"/>
              <a:lumOff val="80000"/>
            </a:schemeClr>
          </a:solidFill>
          <a:ln w="9525" algn="ctr">
            <a:noFill/>
            <a:round/>
            <a:headEnd/>
            <a:tailEnd/>
          </a:ln>
          <a:effectLst>
            <a:prstShdw prst="shdw17" dist="17961" dir="2700000">
              <a:srgbClr val="7A8E99"/>
            </a:prstShdw>
          </a:effectLst>
        </p:spPr>
        <p:txBody>
          <a:bodyPr wrap="none" anchor="ctr"/>
          <a:lstStyle/>
          <a:p>
            <a:pPr algn="ctr" fontAlgn="auto">
              <a:spcBef>
                <a:spcPts val="0"/>
              </a:spcBef>
              <a:spcAft>
                <a:spcPts val="0"/>
              </a:spcAft>
              <a:defRPr/>
            </a:pPr>
            <a:r>
              <a:rPr lang="en-US" sz="1400">
                <a:solidFill>
                  <a:srgbClr val="000000"/>
                </a:solidFill>
                <a:latin typeface="Albertus" pitchFamily="34" charset="0"/>
              </a:rPr>
              <a:t>Renja</a:t>
            </a:r>
          </a:p>
          <a:p>
            <a:pPr algn="ctr" fontAlgn="auto">
              <a:spcBef>
                <a:spcPts val="0"/>
              </a:spcBef>
              <a:spcAft>
                <a:spcPts val="0"/>
              </a:spcAft>
              <a:defRPr/>
            </a:pPr>
            <a:r>
              <a:rPr lang="en-US" sz="1400">
                <a:solidFill>
                  <a:srgbClr val="000000"/>
                </a:solidFill>
                <a:latin typeface="Albertus" pitchFamily="34" charset="0"/>
              </a:rPr>
              <a:t>K/L</a:t>
            </a:r>
            <a:endParaRPr lang="en-US" sz="1400" dirty="0">
              <a:solidFill>
                <a:srgbClr val="000000"/>
              </a:solidFill>
              <a:latin typeface="Albertus" pitchFamily="34" charset="0"/>
            </a:endParaRPr>
          </a:p>
        </p:txBody>
      </p:sp>
      <p:sp>
        <p:nvSpPr>
          <p:cNvPr id="14381" name="Text Box 47"/>
          <p:cNvSpPr txBox="1">
            <a:spLocks noChangeArrowheads="1"/>
          </p:cNvSpPr>
          <p:nvPr/>
        </p:nvSpPr>
        <p:spPr bwMode="auto">
          <a:xfrm>
            <a:off x="9281584" y="2289176"/>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5 tahun</a:t>
            </a:r>
          </a:p>
        </p:txBody>
      </p:sp>
      <p:cxnSp>
        <p:nvCxnSpPr>
          <p:cNvPr id="126" name="AutoShape 48"/>
          <p:cNvCxnSpPr>
            <a:cxnSpLocks noChangeShapeType="1"/>
            <a:stCxn id="108" idx="3"/>
            <a:endCxn id="123" idx="0"/>
          </p:cNvCxnSpPr>
          <p:nvPr/>
        </p:nvCxnSpPr>
        <p:spPr bwMode="auto">
          <a:xfrm>
            <a:off x="8572500" y="1704975"/>
            <a:ext cx="1585384" cy="171450"/>
          </a:xfrm>
          <a:prstGeom prst="bentConnector2">
            <a:avLst/>
          </a:prstGeom>
          <a:noFill/>
          <a:ln w="28575">
            <a:solidFill>
              <a:schemeClr val="tx2">
                <a:lumMod val="50000"/>
              </a:schemeClr>
            </a:solidFill>
            <a:miter lim="800000"/>
            <a:headEnd type="triangle" w="med" len="med"/>
            <a:tailEnd/>
          </a:ln>
        </p:spPr>
      </p:cxnSp>
      <p:sp>
        <p:nvSpPr>
          <p:cNvPr id="14383" name="Text Box 49"/>
          <p:cNvSpPr txBox="1">
            <a:spLocks noChangeArrowheads="1"/>
          </p:cNvSpPr>
          <p:nvPr/>
        </p:nvSpPr>
        <p:spPr bwMode="auto">
          <a:xfrm>
            <a:off x="9271001" y="3005138"/>
            <a:ext cx="6078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a:solidFill>
                  <a:srgbClr val="000000"/>
                </a:solidFill>
                <a:latin typeface="Albertus" pitchFamily="34" charset="0"/>
              </a:rPr>
              <a:t>1 tahun</a:t>
            </a:r>
          </a:p>
        </p:txBody>
      </p:sp>
      <p:cxnSp>
        <p:nvCxnSpPr>
          <p:cNvPr id="128" name="AutoShape 50"/>
          <p:cNvCxnSpPr>
            <a:cxnSpLocks noChangeShapeType="1"/>
          </p:cNvCxnSpPr>
          <p:nvPr/>
        </p:nvCxnSpPr>
        <p:spPr bwMode="auto">
          <a:xfrm flipH="1">
            <a:off x="1394884" y="2992439"/>
            <a:ext cx="25400" cy="1889125"/>
          </a:xfrm>
          <a:prstGeom prst="straightConnector1">
            <a:avLst/>
          </a:prstGeom>
          <a:noFill/>
          <a:ln w="28575">
            <a:solidFill>
              <a:schemeClr val="tx2">
                <a:lumMod val="50000"/>
              </a:schemeClr>
            </a:solidFill>
            <a:round/>
            <a:headEnd/>
            <a:tailEnd type="triangle" w="med" len="med"/>
          </a:ln>
        </p:spPr>
      </p:cxnSp>
      <p:sp>
        <p:nvSpPr>
          <p:cNvPr id="129" name="Line 51"/>
          <p:cNvSpPr>
            <a:spLocks noChangeShapeType="1"/>
          </p:cNvSpPr>
          <p:nvPr/>
        </p:nvSpPr>
        <p:spPr bwMode="auto">
          <a:xfrm flipH="1">
            <a:off x="8631767" y="2751138"/>
            <a:ext cx="709084" cy="0"/>
          </a:xfrm>
          <a:prstGeom prst="line">
            <a:avLst/>
          </a:prstGeom>
          <a:noFill/>
          <a:ln w="28575">
            <a:solidFill>
              <a:schemeClr val="tx2">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14386" name="Text Box 52"/>
          <p:cNvSpPr txBox="1">
            <a:spLocks noChangeArrowheads="1"/>
          </p:cNvSpPr>
          <p:nvPr/>
        </p:nvSpPr>
        <p:spPr bwMode="auto">
          <a:xfrm>
            <a:off x="6053836" y="4669594"/>
            <a:ext cx="34794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a:solidFill>
                  <a:srgbClr val="000000"/>
                </a:solidFill>
                <a:latin typeface="Candara" pitchFamily="34" charset="0"/>
              </a:rPr>
              <a:t>KUA </a:t>
            </a:r>
            <a:r>
              <a:rPr lang="id-ID" sz="1400">
                <a:solidFill>
                  <a:srgbClr val="000000"/>
                </a:solidFill>
                <a:latin typeface="Candara" pitchFamily="34" charset="0"/>
              </a:rPr>
              <a:t> </a:t>
            </a:r>
            <a:r>
              <a:rPr lang="en-US" sz="1400">
                <a:solidFill>
                  <a:srgbClr val="000000"/>
                </a:solidFill>
                <a:latin typeface="Candara" pitchFamily="34" charset="0"/>
              </a:rPr>
              <a:t>= Kebijakan </a:t>
            </a:r>
            <a:r>
              <a:rPr lang="id-ID" sz="1400">
                <a:solidFill>
                  <a:srgbClr val="000000"/>
                </a:solidFill>
                <a:latin typeface="Candara" pitchFamily="34" charset="0"/>
              </a:rPr>
              <a:t>U</a:t>
            </a:r>
            <a:r>
              <a:rPr lang="en-US" sz="1400">
                <a:solidFill>
                  <a:srgbClr val="000000"/>
                </a:solidFill>
                <a:latin typeface="Candara" pitchFamily="34" charset="0"/>
              </a:rPr>
              <a:t>mum </a:t>
            </a:r>
            <a:r>
              <a:rPr lang="id-ID" sz="1400">
                <a:solidFill>
                  <a:srgbClr val="000000"/>
                </a:solidFill>
                <a:latin typeface="Candara" pitchFamily="34" charset="0"/>
              </a:rPr>
              <a:t>APBD</a:t>
            </a:r>
            <a:endParaRPr lang="en-US" sz="1400">
              <a:solidFill>
                <a:srgbClr val="000000"/>
              </a:solidFill>
              <a:latin typeface="Candara" pitchFamily="34" charset="0"/>
            </a:endParaRPr>
          </a:p>
        </p:txBody>
      </p:sp>
      <p:sp>
        <p:nvSpPr>
          <p:cNvPr id="14387" name="Text Box 53"/>
          <p:cNvSpPr txBox="1">
            <a:spLocks noChangeArrowheads="1"/>
          </p:cNvSpPr>
          <p:nvPr/>
        </p:nvSpPr>
        <p:spPr bwMode="auto">
          <a:xfrm>
            <a:off x="6026318" y="4885494"/>
            <a:ext cx="52512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a:solidFill>
                  <a:srgbClr val="000000"/>
                </a:solidFill>
                <a:latin typeface="Candara" pitchFamily="34" charset="0"/>
              </a:rPr>
              <a:t>PPAS</a:t>
            </a:r>
            <a:r>
              <a:rPr lang="id-ID" sz="1400">
                <a:solidFill>
                  <a:srgbClr val="000000"/>
                </a:solidFill>
                <a:latin typeface="Candara" pitchFamily="34" charset="0"/>
              </a:rPr>
              <a:t> </a:t>
            </a:r>
            <a:r>
              <a:rPr lang="en-US" sz="1400">
                <a:solidFill>
                  <a:srgbClr val="000000"/>
                </a:solidFill>
                <a:latin typeface="Candara" pitchFamily="34" charset="0"/>
              </a:rPr>
              <a:t>= Prioritas </a:t>
            </a:r>
            <a:r>
              <a:rPr lang="id-ID" sz="1400">
                <a:solidFill>
                  <a:srgbClr val="000000"/>
                </a:solidFill>
                <a:latin typeface="Candara" pitchFamily="34" charset="0"/>
              </a:rPr>
              <a:t> &amp; Plafon A</a:t>
            </a:r>
            <a:r>
              <a:rPr lang="en-US" sz="1400">
                <a:solidFill>
                  <a:srgbClr val="000000"/>
                </a:solidFill>
                <a:latin typeface="Candara" pitchFamily="34" charset="0"/>
              </a:rPr>
              <a:t>nggaran </a:t>
            </a:r>
            <a:r>
              <a:rPr lang="id-ID" sz="1400">
                <a:solidFill>
                  <a:srgbClr val="000000"/>
                </a:solidFill>
                <a:latin typeface="Candara" pitchFamily="34" charset="0"/>
              </a:rPr>
              <a:t>S</a:t>
            </a:r>
            <a:r>
              <a:rPr lang="en-US" sz="1400">
                <a:solidFill>
                  <a:srgbClr val="000000"/>
                </a:solidFill>
                <a:latin typeface="Candara" pitchFamily="34" charset="0"/>
              </a:rPr>
              <a:t>ementara</a:t>
            </a:r>
          </a:p>
        </p:txBody>
      </p:sp>
      <p:sp>
        <p:nvSpPr>
          <p:cNvPr id="14388" name="Text Box 54"/>
          <p:cNvSpPr txBox="1">
            <a:spLocks noChangeArrowheads="1"/>
          </p:cNvSpPr>
          <p:nvPr/>
        </p:nvSpPr>
        <p:spPr bwMode="auto">
          <a:xfrm>
            <a:off x="6009385" y="5174419"/>
            <a:ext cx="33398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a:solidFill>
                  <a:srgbClr val="000000"/>
                </a:solidFill>
                <a:latin typeface="Candara" pitchFamily="34" charset="0"/>
              </a:rPr>
              <a:t>TAPD</a:t>
            </a:r>
            <a:r>
              <a:rPr lang="id-ID" sz="1400">
                <a:solidFill>
                  <a:srgbClr val="000000"/>
                </a:solidFill>
                <a:latin typeface="Candara" pitchFamily="34" charset="0"/>
              </a:rPr>
              <a:t> </a:t>
            </a:r>
            <a:r>
              <a:rPr lang="en-US" sz="1400">
                <a:solidFill>
                  <a:srgbClr val="000000"/>
                </a:solidFill>
                <a:latin typeface="Candara" pitchFamily="34" charset="0"/>
              </a:rPr>
              <a:t>= Tim </a:t>
            </a:r>
            <a:r>
              <a:rPr lang="id-ID" sz="1400">
                <a:solidFill>
                  <a:srgbClr val="000000"/>
                </a:solidFill>
                <a:latin typeface="Candara" pitchFamily="34" charset="0"/>
              </a:rPr>
              <a:t>A</a:t>
            </a:r>
            <a:r>
              <a:rPr lang="en-US" sz="1400">
                <a:solidFill>
                  <a:srgbClr val="000000"/>
                </a:solidFill>
                <a:latin typeface="Candara" pitchFamily="34" charset="0"/>
              </a:rPr>
              <a:t>nggaran </a:t>
            </a:r>
            <a:r>
              <a:rPr lang="id-ID" sz="1400">
                <a:solidFill>
                  <a:srgbClr val="000000"/>
                </a:solidFill>
                <a:latin typeface="Candara" pitchFamily="34" charset="0"/>
              </a:rPr>
              <a:t>P</a:t>
            </a:r>
            <a:r>
              <a:rPr lang="en-US" sz="1400">
                <a:solidFill>
                  <a:srgbClr val="000000"/>
                </a:solidFill>
                <a:latin typeface="Candara" pitchFamily="34" charset="0"/>
              </a:rPr>
              <a:t>emda</a:t>
            </a:r>
          </a:p>
        </p:txBody>
      </p:sp>
      <p:sp>
        <p:nvSpPr>
          <p:cNvPr id="14389" name="Text Box 55"/>
          <p:cNvSpPr txBox="1">
            <a:spLocks noChangeArrowheads="1"/>
          </p:cNvSpPr>
          <p:nvPr/>
        </p:nvSpPr>
        <p:spPr bwMode="auto">
          <a:xfrm>
            <a:off x="6578601" y="1239839"/>
            <a:ext cx="8226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pedoman</a:t>
            </a:r>
          </a:p>
        </p:txBody>
      </p:sp>
      <p:sp>
        <p:nvSpPr>
          <p:cNvPr id="14390" name="Text Box 56"/>
          <p:cNvSpPr txBox="1">
            <a:spLocks noChangeArrowheads="1"/>
          </p:cNvSpPr>
          <p:nvPr/>
        </p:nvSpPr>
        <p:spPr bwMode="auto">
          <a:xfrm>
            <a:off x="8813800" y="1585913"/>
            <a:ext cx="184731"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id-ID">
              <a:solidFill>
                <a:srgbClr val="000000"/>
              </a:solidFill>
            </a:endParaRPr>
          </a:p>
        </p:txBody>
      </p:sp>
      <p:sp>
        <p:nvSpPr>
          <p:cNvPr id="14391" name="Text Box 57"/>
          <p:cNvSpPr txBox="1">
            <a:spLocks noChangeArrowheads="1"/>
          </p:cNvSpPr>
          <p:nvPr/>
        </p:nvSpPr>
        <p:spPr bwMode="auto">
          <a:xfrm>
            <a:off x="7717367" y="2079626"/>
            <a:ext cx="8899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dijabarkan</a:t>
            </a:r>
          </a:p>
        </p:txBody>
      </p:sp>
      <p:sp>
        <p:nvSpPr>
          <p:cNvPr id="14392" name="Text Box 58"/>
          <p:cNvSpPr txBox="1">
            <a:spLocks noChangeArrowheads="1"/>
          </p:cNvSpPr>
          <p:nvPr/>
        </p:nvSpPr>
        <p:spPr bwMode="auto">
          <a:xfrm>
            <a:off x="8832852" y="1409701"/>
            <a:ext cx="8226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pedoman</a:t>
            </a:r>
          </a:p>
        </p:txBody>
      </p:sp>
      <p:sp>
        <p:nvSpPr>
          <p:cNvPr id="14393" name="Text Box 59"/>
          <p:cNvSpPr txBox="1">
            <a:spLocks noChangeArrowheads="1"/>
          </p:cNvSpPr>
          <p:nvPr/>
        </p:nvSpPr>
        <p:spPr bwMode="auto">
          <a:xfrm>
            <a:off x="8659284" y="2854326"/>
            <a:ext cx="5501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diacu</a:t>
            </a:r>
          </a:p>
        </p:txBody>
      </p:sp>
      <p:sp>
        <p:nvSpPr>
          <p:cNvPr id="14394" name="Text Box 60"/>
          <p:cNvSpPr txBox="1">
            <a:spLocks noChangeArrowheads="1"/>
          </p:cNvSpPr>
          <p:nvPr/>
        </p:nvSpPr>
        <p:spPr bwMode="auto">
          <a:xfrm>
            <a:off x="10342034" y="2286001"/>
            <a:ext cx="8226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pedoman</a:t>
            </a:r>
          </a:p>
        </p:txBody>
      </p:sp>
      <p:sp>
        <p:nvSpPr>
          <p:cNvPr id="139" name="Line 61"/>
          <p:cNvSpPr>
            <a:spLocks noChangeShapeType="1"/>
          </p:cNvSpPr>
          <p:nvPr/>
        </p:nvSpPr>
        <p:spPr bwMode="auto">
          <a:xfrm flipH="1">
            <a:off x="4993218" y="1697038"/>
            <a:ext cx="2044700" cy="0"/>
          </a:xfrm>
          <a:prstGeom prst="line">
            <a:avLst/>
          </a:prstGeom>
          <a:noFill/>
          <a:ln w="28575">
            <a:solidFill>
              <a:schemeClr val="tx2">
                <a:lumMod val="50000"/>
              </a:schemeClr>
            </a:solidFill>
            <a:prstDash val="dash"/>
            <a:round/>
            <a:headEnd type="triangle" w="med" len="med"/>
            <a:tailEn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140" name="Line 62"/>
          <p:cNvSpPr>
            <a:spLocks noChangeShapeType="1"/>
          </p:cNvSpPr>
          <p:nvPr/>
        </p:nvSpPr>
        <p:spPr bwMode="auto">
          <a:xfrm flipH="1">
            <a:off x="5008034" y="2711450"/>
            <a:ext cx="2044700" cy="0"/>
          </a:xfrm>
          <a:prstGeom prst="line">
            <a:avLst/>
          </a:prstGeom>
          <a:noFill/>
          <a:ln w="28575">
            <a:solidFill>
              <a:schemeClr val="tx2">
                <a:lumMod val="50000"/>
              </a:schemeClr>
            </a:solidFill>
            <a:prstDash val="dash"/>
            <a:round/>
            <a:headEnd type="triangle" w="med" len="me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14397" name="Text Box 63"/>
          <p:cNvSpPr txBox="1">
            <a:spLocks noChangeArrowheads="1"/>
          </p:cNvSpPr>
          <p:nvPr/>
        </p:nvSpPr>
        <p:spPr bwMode="auto">
          <a:xfrm>
            <a:off x="4341284" y="1219201"/>
            <a:ext cx="8226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pedoman</a:t>
            </a:r>
          </a:p>
        </p:txBody>
      </p:sp>
      <p:sp>
        <p:nvSpPr>
          <p:cNvPr id="14398" name="Text Box 64"/>
          <p:cNvSpPr txBox="1">
            <a:spLocks noChangeArrowheads="1"/>
          </p:cNvSpPr>
          <p:nvPr/>
        </p:nvSpPr>
        <p:spPr bwMode="auto">
          <a:xfrm>
            <a:off x="1919818" y="1438276"/>
            <a:ext cx="8226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pedoman</a:t>
            </a:r>
          </a:p>
        </p:txBody>
      </p:sp>
      <p:sp>
        <p:nvSpPr>
          <p:cNvPr id="14399" name="Text Box 65"/>
          <p:cNvSpPr txBox="1">
            <a:spLocks noChangeArrowheads="1"/>
          </p:cNvSpPr>
          <p:nvPr/>
        </p:nvSpPr>
        <p:spPr bwMode="auto">
          <a:xfrm>
            <a:off x="3166534" y="2057401"/>
            <a:ext cx="8899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dijabarkan</a:t>
            </a:r>
          </a:p>
        </p:txBody>
      </p:sp>
      <p:sp>
        <p:nvSpPr>
          <p:cNvPr id="14400" name="Text Box 66"/>
          <p:cNvSpPr txBox="1">
            <a:spLocks noChangeArrowheads="1"/>
          </p:cNvSpPr>
          <p:nvPr/>
        </p:nvSpPr>
        <p:spPr bwMode="auto">
          <a:xfrm>
            <a:off x="2368551" y="2705101"/>
            <a:ext cx="5501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diacu</a:t>
            </a:r>
          </a:p>
        </p:txBody>
      </p:sp>
      <p:sp>
        <p:nvSpPr>
          <p:cNvPr id="14401" name="Text Box 67"/>
          <p:cNvSpPr txBox="1">
            <a:spLocks noChangeArrowheads="1"/>
          </p:cNvSpPr>
          <p:nvPr/>
        </p:nvSpPr>
        <p:spPr bwMode="auto">
          <a:xfrm>
            <a:off x="1579034" y="2257426"/>
            <a:ext cx="8226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pedoman</a:t>
            </a:r>
          </a:p>
        </p:txBody>
      </p:sp>
      <p:sp>
        <p:nvSpPr>
          <p:cNvPr id="14402" name="Text Box 68"/>
          <p:cNvSpPr txBox="1">
            <a:spLocks noChangeArrowheads="1"/>
          </p:cNvSpPr>
          <p:nvPr/>
        </p:nvSpPr>
        <p:spPr bwMode="auto">
          <a:xfrm>
            <a:off x="5092700" y="2305050"/>
            <a:ext cx="184731"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id-ID">
              <a:solidFill>
                <a:srgbClr val="000000"/>
              </a:solidFill>
            </a:endParaRPr>
          </a:p>
        </p:txBody>
      </p:sp>
      <p:sp>
        <p:nvSpPr>
          <p:cNvPr id="14403" name="Text Box 69"/>
          <p:cNvSpPr txBox="1">
            <a:spLocks noChangeArrowheads="1"/>
          </p:cNvSpPr>
          <p:nvPr/>
        </p:nvSpPr>
        <p:spPr bwMode="auto">
          <a:xfrm>
            <a:off x="4701118" y="2182813"/>
            <a:ext cx="2662767" cy="38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100">
                <a:solidFill>
                  <a:srgbClr val="FF0000"/>
                </a:solidFill>
                <a:latin typeface="Albertus" pitchFamily="34" charset="0"/>
                <a:cs typeface="Times New Roman" pitchFamily="18" charset="0"/>
              </a:rPr>
              <a:t>Diserasikan </a:t>
            </a:r>
            <a:r>
              <a:rPr lang="id-ID" sz="1100">
                <a:solidFill>
                  <a:srgbClr val="FF0000"/>
                </a:solidFill>
                <a:latin typeface="Albertus" pitchFamily="34" charset="0"/>
                <a:cs typeface="Times New Roman" pitchFamily="18" charset="0"/>
              </a:rPr>
              <a:t>dg </a:t>
            </a:r>
          </a:p>
          <a:p>
            <a:pPr algn="ctr" eaLnBrk="1" hangingPunct="1"/>
            <a:r>
              <a:rPr lang="en-US" sz="1100">
                <a:solidFill>
                  <a:srgbClr val="FF0000"/>
                </a:solidFill>
                <a:latin typeface="Albertus" pitchFamily="34" charset="0"/>
                <a:cs typeface="Times New Roman" pitchFamily="18" charset="0"/>
              </a:rPr>
              <a:t>Musrenbang</a:t>
            </a:r>
          </a:p>
        </p:txBody>
      </p:sp>
      <p:sp>
        <p:nvSpPr>
          <p:cNvPr id="14404" name="Text Box 70"/>
          <p:cNvSpPr txBox="1">
            <a:spLocks noChangeArrowheads="1"/>
          </p:cNvSpPr>
          <p:nvPr/>
        </p:nvSpPr>
        <p:spPr bwMode="auto">
          <a:xfrm>
            <a:off x="5268384" y="793750"/>
            <a:ext cx="184731"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id-ID">
              <a:solidFill>
                <a:srgbClr val="000000"/>
              </a:solidFill>
            </a:endParaRPr>
          </a:p>
        </p:txBody>
      </p:sp>
      <p:sp>
        <p:nvSpPr>
          <p:cNvPr id="14405" name="Text Box 71"/>
          <p:cNvSpPr txBox="1">
            <a:spLocks noChangeArrowheads="1"/>
          </p:cNvSpPr>
          <p:nvPr/>
        </p:nvSpPr>
        <p:spPr bwMode="auto">
          <a:xfrm>
            <a:off x="4993217" y="704851"/>
            <a:ext cx="2080683"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200">
                <a:solidFill>
                  <a:srgbClr val="FF0000"/>
                </a:solidFill>
                <a:latin typeface="Albertus" pitchFamily="34" charset="0"/>
                <a:cs typeface="Times New Roman" pitchFamily="18" charset="0"/>
              </a:rPr>
              <a:t>Diacu</a:t>
            </a:r>
          </a:p>
        </p:txBody>
      </p:sp>
      <p:sp>
        <p:nvSpPr>
          <p:cNvPr id="14406" name="Text Box 72"/>
          <p:cNvSpPr txBox="1">
            <a:spLocks noChangeArrowheads="1"/>
          </p:cNvSpPr>
          <p:nvPr/>
        </p:nvSpPr>
        <p:spPr bwMode="auto">
          <a:xfrm>
            <a:off x="5446184" y="1441450"/>
            <a:ext cx="184731"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id-ID">
              <a:solidFill>
                <a:srgbClr val="000000"/>
              </a:solidFill>
            </a:endParaRPr>
          </a:p>
        </p:txBody>
      </p:sp>
      <p:sp>
        <p:nvSpPr>
          <p:cNvPr id="14407" name="Text Box 73"/>
          <p:cNvSpPr txBox="1">
            <a:spLocks noChangeArrowheads="1"/>
          </p:cNvSpPr>
          <p:nvPr/>
        </p:nvSpPr>
        <p:spPr bwMode="auto">
          <a:xfrm>
            <a:off x="4993218" y="1409700"/>
            <a:ext cx="202776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200">
                <a:solidFill>
                  <a:srgbClr val="FF0000"/>
                </a:solidFill>
                <a:latin typeface="Albertus" pitchFamily="34" charset="0"/>
                <a:cs typeface="Times New Roman" pitchFamily="18" charset="0"/>
              </a:rPr>
              <a:t>Diperhatikan</a:t>
            </a:r>
          </a:p>
        </p:txBody>
      </p:sp>
      <p:sp>
        <p:nvSpPr>
          <p:cNvPr id="152" name="Line 74"/>
          <p:cNvSpPr>
            <a:spLocks noChangeShapeType="1"/>
          </p:cNvSpPr>
          <p:nvPr/>
        </p:nvSpPr>
        <p:spPr bwMode="auto">
          <a:xfrm>
            <a:off x="4231217" y="1941513"/>
            <a:ext cx="0" cy="576262"/>
          </a:xfrm>
          <a:prstGeom prst="line">
            <a:avLst/>
          </a:prstGeom>
          <a:noFill/>
          <a:ln w="28575">
            <a:solidFill>
              <a:schemeClr val="tx2">
                <a:lumMod val="50000"/>
              </a:schemeClr>
            </a:solidFill>
            <a:round/>
            <a:headEnd/>
            <a:tailEnd type="triangle" w="med" len="me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cxnSp>
        <p:nvCxnSpPr>
          <p:cNvPr id="153" name="AutoShape 75"/>
          <p:cNvCxnSpPr>
            <a:cxnSpLocks noChangeShapeType="1"/>
          </p:cNvCxnSpPr>
          <p:nvPr/>
        </p:nvCxnSpPr>
        <p:spPr bwMode="auto">
          <a:xfrm flipH="1">
            <a:off x="4246034" y="1257300"/>
            <a:ext cx="6351" cy="223838"/>
          </a:xfrm>
          <a:prstGeom prst="straightConnector1">
            <a:avLst/>
          </a:prstGeom>
          <a:noFill/>
          <a:ln w="28575">
            <a:solidFill>
              <a:schemeClr val="tx2">
                <a:lumMod val="50000"/>
              </a:schemeClr>
            </a:solidFill>
            <a:round/>
            <a:headEnd type="triangle" w="med" len="med"/>
            <a:tailEnd/>
          </a:ln>
        </p:spPr>
      </p:cxnSp>
      <p:sp>
        <p:nvSpPr>
          <p:cNvPr id="154" name="Line 76"/>
          <p:cNvSpPr>
            <a:spLocks noChangeShapeType="1"/>
          </p:cNvSpPr>
          <p:nvPr/>
        </p:nvSpPr>
        <p:spPr bwMode="auto">
          <a:xfrm>
            <a:off x="1394884" y="2273300"/>
            <a:ext cx="0" cy="273050"/>
          </a:xfrm>
          <a:prstGeom prst="line">
            <a:avLst/>
          </a:prstGeom>
          <a:noFill/>
          <a:ln w="28575">
            <a:solidFill>
              <a:schemeClr val="tx2">
                <a:lumMod val="50000"/>
              </a:schemeClr>
            </a:solidFill>
            <a:round/>
            <a:headEnd type="triangle" w="med" len="med"/>
            <a:tailEnd/>
          </a:ln>
          <a:effectLst/>
        </p:spPr>
        <p:txBody>
          <a:bodyPr/>
          <a:lstStyle/>
          <a:p>
            <a:pPr fontAlgn="auto">
              <a:spcBef>
                <a:spcPts val="0"/>
              </a:spcBef>
              <a:spcAft>
                <a:spcPts val="0"/>
              </a:spcAft>
              <a:defRPr/>
            </a:pPr>
            <a:endParaRPr lang="id-ID">
              <a:solidFill>
                <a:prstClr val="black"/>
              </a:solidFill>
              <a:effectLst>
                <a:outerShdw blurRad="38100" dist="38100" dir="2700000" algn="tl">
                  <a:srgbClr val="000000">
                    <a:alpha val="43137"/>
                  </a:srgbClr>
                </a:outerShdw>
              </a:effectLst>
              <a:latin typeface="Arial" charset="0"/>
            </a:endParaRPr>
          </a:p>
        </p:txBody>
      </p:sp>
      <p:sp>
        <p:nvSpPr>
          <p:cNvPr id="14411" name="Text Box 77"/>
          <p:cNvSpPr txBox="1">
            <a:spLocks noChangeArrowheads="1"/>
          </p:cNvSpPr>
          <p:nvPr/>
        </p:nvSpPr>
        <p:spPr bwMode="auto">
          <a:xfrm>
            <a:off x="6039019" y="5396668"/>
            <a:ext cx="484752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dirty="0">
                <a:solidFill>
                  <a:srgbClr val="000000"/>
                </a:solidFill>
                <a:latin typeface="Candara" pitchFamily="34" charset="0"/>
              </a:rPr>
              <a:t>RKA-SKPD= </a:t>
            </a:r>
            <a:r>
              <a:rPr lang="en-US" sz="1400" dirty="0" err="1">
                <a:solidFill>
                  <a:srgbClr val="000000"/>
                </a:solidFill>
                <a:latin typeface="Candara" pitchFamily="34" charset="0"/>
              </a:rPr>
              <a:t>Rencana</a:t>
            </a:r>
            <a:r>
              <a:rPr lang="en-US" sz="1400" dirty="0">
                <a:solidFill>
                  <a:srgbClr val="000000"/>
                </a:solidFill>
                <a:latin typeface="Candara" pitchFamily="34" charset="0"/>
              </a:rPr>
              <a:t> </a:t>
            </a:r>
            <a:r>
              <a:rPr lang="en-US" sz="1400" dirty="0" err="1">
                <a:solidFill>
                  <a:srgbClr val="000000"/>
                </a:solidFill>
                <a:latin typeface="Candara" pitchFamily="34" charset="0"/>
              </a:rPr>
              <a:t>kerja</a:t>
            </a:r>
            <a:r>
              <a:rPr lang="en-US" sz="1400" dirty="0">
                <a:solidFill>
                  <a:srgbClr val="000000"/>
                </a:solidFill>
                <a:latin typeface="Candara" pitchFamily="34" charset="0"/>
              </a:rPr>
              <a:t> </a:t>
            </a:r>
            <a:r>
              <a:rPr lang="en-US" sz="1400" dirty="0" err="1">
                <a:solidFill>
                  <a:srgbClr val="000000"/>
                </a:solidFill>
                <a:latin typeface="Candara" pitchFamily="34" charset="0"/>
              </a:rPr>
              <a:t>dan</a:t>
            </a:r>
            <a:r>
              <a:rPr lang="en-US" sz="1400" dirty="0">
                <a:solidFill>
                  <a:srgbClr val="000000"/>
                </a:solidFill>
                <a:latin typeface="Candara" pitchFamily="34" charset="0"/>
              </a:rPr>
              <a:t> </a:t>
            </a:r>
            <a:r>
              <a:rPr lang="id-ID" sz="1400" dirty="0">
                <a:solidFill>
                  <a:srgbClr val="000000"/>
                </a:solidFill>
                <a:latin typeface="Candara" pitchFamily="34" charset="0"/>
              </a:rPr>
              <a:t>A</a:t>
            </a:r>
            <a:r>
              <a:rPr lang="en-US" sz="1400" dirty="0" err="1" smtClean="0">
                <a:solidFill>
                  <a:srgbClr val="000000"/>
                </a:solidFill>
                <a:latin typeface="Candara" pitchFamily="34" charset="0"/>
              </a:rPr>
              <a:t>nggaran</a:t>
            </a:r>
            <a:r>
              <a:rPr lang="en-US" sz="1400" dirty="0" smtClean="0">
                <a:solidFill>
                  <a:srgbClr val="000000"/>
                </a:solidFill>
                <a:latin typeface="Candara" pitchFamily="34" charset="0"/>
              </a:rPr>
              <a:t> </a:t>
            </a:r>
            <a:endParaRPr lang="en-US" sz="1400" dirty="0">
              <a:solidFill>
                <a:srgbClr val="000000"/>
              </a:solidFill>
              <a:latin typeface="Candara" pitchFamily="34" charset="0"/>
            </a:endParaRPr>
          </a:p>
          <a:p>
            <a:pPr eaLnBrk="1" hangingPunct="1"/>
            <a:r>
              <a:rPr lang="en-US" sz="1400" dirty="0">
                <a:solidFill>
                  <a:srgbClr val="000000"/>
                </a:solidFill>
                <a:latin typeface="Candara" pitchFamily="34" charset="0"/>
              </a:rPr>
              <a:t>                  </a:t>
            </a:r>
            <a:r>
              <a:rPr lang="id-ID" sz="1400" dirty="0">
                <a:solidFill>
                  <a:srgbClr val="000000"/>
                </a:solidFill>
                <a:latin typeface="Candara" pitchFamily="34" charset="0"/>
              </a:rPr>
              <a:t>     </a:t>
            </a:r>
            <a:r>
              <a:rPr lang="en-US" sz="1400" dirty="0">
                <a:solidFill>
                  <a:srgbClr val="000000"/>
                </a:solidFill>
                <a:latin typeface="Candara" pitchFamily="34" charset="0"/>
              </a:rPr>
              <a:t> </a:t>
            </a:r>
            <a:r>
              <a:rPr lang="id-ID" sz="1400" dirty="0">
                <a:solidFill>
                  <a:srgbClr val="000000"/>
                </a:solidFill>
                <a:latin typeface="Candara" pitchFamily="34" charset="0"/>
              </a:rPr>
              <a:t>S</a:t>
            </a:r>
            <a:r>
              <a:rPr lang="en-US" sz="1400" dirty="0" err="1">
                <a:solidFill>
                  <a:srgbClr val="000000"/>
                </a:solidFill>
                <a:latin typeface="Candara" pitchFamily="34" charset="0"/>
              </a:rPr>
              <a:t>atuan</a:t>
            </a:r>
            <a:r>
              <a:rPr lang="en-US" sz="1400" dirty="0">
                <a:solidFill>
                  <a:srgbClr val="000000"/>
                </a:solidFill>
                <a:latin typeface="Candara" pitchFamily="34" charset="0"/>
              </a:rPr>
              <a:t> </a:t>
            </a:r>
            <a:r>
              <a:rPr lang="id-ID" sz="1400" dirty="0">
                <a:solidFill>
                  <a:srgbClr val="000000"/>
                </a:solidFill>
                <a:latin typeface="Candara" pitchFamily="34" charset="0"/>
              </a:rPr>
              <a:t>K</a:t>
            </a:r>
            <a:r>
              <a:rPr lang="en-US" sz="1400" dirty="0" err="1">
                <a:solidFill>
                  <a:srgbClr val="000000"/>
                </a:solidFill>
                <a:latin typeface="Candara" pitchFamily="34" charset="0"/>
              </a:rPr>
              <a:t>erja</a:t>
            </a:r>
            <a:r>
              <a:rPr lang="en-US" sz="1400" dirty="0">
                <a:solidFill>
                  <a:srgbClr val="000000"/>
                </a:solidFill>
                <a:latin typeface="Candara" pitchFamily="34" charset="0"/>
              </a:rPr>
              <a:t> </a:t>
            </a:r>
            <a:r>
              <a:rPr lang="id-ID" sz="1400" dirty="0">
                <a:solidFill>
                  <a:srgbClr val="000000"/>
                </a:solidFill>
                <a:latin typeface="Candara" pitchFamily="34" charset="0"/>
              </a:rPr>
              <a:t>P</a:t>
            </a:r>
            <a:r>
              <a:rPr lang="en-US" sz="1400" dirty="0" err="1">
                <a:solidFill>
                  <a:srgbClr val="000000"/>
                </a:solidFill>
                <a:latin typeface="Candara" pitchFamily="34" charset="0"/>
              </a:rPr>
              <a:t>erangkat</a:t>
            </a:r>
            <a:r>
              <a:rPr lang="en-US" sz="1400" dirty="0">
                <a:solidFill>
                  <a:srgbClr val="000000"/>
                </a:solidFill>
                <a:latin typeface="Candara" pitchFamily="34" charset="0"/>
              </a:rPr>
              <a:t> </a:t>
            </a:r>
            <a:r>
              <a:rPr lang="id-ID" sz="1400" dirty="0">
                <a:solidFill>
                  <a:srgbClr val="000000"/>
                </a:solidFill>
                <a:latin typeface="Candara" pitchFamily="34" charset="0"/>
              </a:rPr>
              <a:t>D</a:t>
            </a:r>
            <a:r>
              <a:rPr lang="en-US" sz="1400" dirty="0" err="1">
                <a:solidFill>
                  <a:srgbClr val="000000"/>
                </a:solidFill>
                <a:latin typeface="Candara" pitchFamily="34" charset="0"/>
              </a:rPr>
              <a:t>aerah</a:t>
            </a:r>
            <a:endParaRPr lang="en-US" sz="1400" dirty="0">
              <a:solidFill>
                <a:srgbClr val="000000"/>
              </a:solidFill>
              <a:latin typeface="Candara" pitchFamily="34" charset="0"/>
            </a:endParaRPr>
          </a:p>
        </p:txBody>
      </p:sp>
      <p:sp>
        <p:nvSpPr>
          <p:cNvPr id="156" name="AutoShape 15"/>
          <p:cNvSpPr>
            <a:spLocks noChangeArrowheads="1"/>
          </p:cNvSpPr>
          <p:nvPr/>
        </p:nvSpPr>
        <p:spPr bwMode="auto">
          <a:xfrm>
            <a:off x="150284" y="6283325"/>
            <a:ext cx="1524000" cy="457200"/>
          </a:xfrm>
          <a:prstGeom prst="roundRect">
            <a:avLst>
              <a:gd name="adj" fmla="val 16667"/>
            </a:avLst>
          </a:prstGeom>
          <a:solidFill>
            <a:schemeClr val="accent3">
              <a:lumMod val="20000"/>
              <a:lumOff val="80000"/>
            </a:schemeClr>
          </a:solidFill>
          <a:ln w="9525">
            <a:noFill/>
            <a:round/>
            <a:headEnd/>
            <a:tailEnd/>
          </a:ln>
          <a:effectLst>
            <a:prstShdw prst="shdw17" dist="17961" dir="2700000">
              <a:srgbClr val="995C99"/>
            </a:prstShdw>
          </a:effectLst>
        </p:spPr>
        <p:txBody>
          <a:bodyPr wrap="none" anchor="ctr"/>
          <a:lstStyle/>
          <a:p>
            <a:pPr algn="ctr" fontAlgn="auto">
              <a:spcBef>
                <a:spcPts val="0"/>
              </a:spcBef>
              <a:spcAft>
                <a:spcPts val="0"/>
              </a:spcAft>
              <a:defRPr/>
            </a:pPr>
            <a:r>
              <a:rPr lang="en-US" sz="1200" dirty="0">
                <a:solidFill>
                  <a:srgbClr val="000000"/>
                </a:solidFill>
                <a:latin typeface="Albertus" pitchFamily="34" charset="0"/>
              </a:rPr>
              <a:t>PERDA</a:t>
            </a:r>
          </a:p>
          <a:p>
            <a:pPr algn="ctr" fontAlgn="auto">
              <a:spcBef>
                <a:spcPts val="0"/>
              </a:spcBef>
              <a:spcAft>
                <a:spcPts val="0"/>
              </a:spcAft>
              <a:defRPr/>
            </a:pPr>
            <a:r>
              <a:rPr lang="en-US" sz="1200" dirty="0">
                <a:solidFill>
                  <a:srgbClr val="000000"/>
                </a:solidFill>
                <a:latin typeface="Albertus" pitchFamily="34" charset="0"/>
              </a:rPr>
              <a:t>APBD</a:t>
            </a:r>
          </a:p>
        </p:txBody>
      </p:sp>
      <p:sp>
        <p:nvSpPr>
          <p:cNvPr id="14413" name="Text Box 59"/>
          <p:cNvSpPr txBox="1">
            <a:spLocks noChangeArrowheads="1"/>
          </p:cNvSpPr>
          <p:nvPr/>
        </p:nvSpPr>
        <p:spPr bwMode="auto">
          <a:xfrm>
            <a:off x="1769534" y="6292851"/>
            <a:ext cx="1428751"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dievaluasi</a:t>
            </a:r>
          </a:p>
        </p:txBody>
      </p:sp>
      <p:sp>
        <p:nvSpPr>
          <p:cNvPr id="14414" name="Text Box 59"/>
          <p:cNvSpPr txBox="1">
            <a:spLocks noChangeArrowheads="1"/>
          </p:cNvSpPr>
          <p:nvPr/>
        </p:nvSpPr>
        <p:spPr bwMode="auto">
          <a:xfrm>
            <a:off x="4912785" y="6211888"/>
            <a:ext cx="200024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latin typeface="Albertus" pitchFamily="34" charset="0"/>
              </a:rPr>
              <a:t>Dibahas dan disetujui oleh DPRD</a:t>
            </a:r>
          </a:p>
        </p:txBody>
      </p:sp>
      <p:cxnSp>
        <p:nvCxnSpPr>
          <p:cNvPr id="159" name="AutoShape 48"/>
          <p:cNvCxnSpPr>
            <a:cxnSpLocks noChangeShapeType="1"/>
          </p:cNvCxnSpPr>
          <p:nvPr/>
        </p:nvCxnSpPr>
        <p:spPr bwMode="auto">
          <a:xfrm flipV="1">
            <a:off x="1674284" y="6569075"/>
            <a:ext cx="1631949" cy="33338"/>
          </a:xfrm>
          <a:prstGeom prst="bentConnector3">
            <a:avLst>
              <a:gd name="adj1" fmla="val 50000"/>
            </a:avLst>
          </a:prstGeom>
          <a:noFill/>
          <a:ln w="28575">
            <a:solidFill>
              <a:schemeClr val="tx2">
                <a:lumMod val="50000"/>
              </a:schemeClr>
            </a:solidFill>
            <a:miter lim="800000"/>
            <a:headEnd type="triangle" w="med" len="med"/>
            <a:tailEnd/>
          </a:ln>
        </p:spPr>
      </p:cxnSp>
      <p:sp>
        <p:nvSpPr>
          <p:cNvPr id="93" name="Rectangle 92"/>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95" name="Rectangle 94"/>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PROSES PERENCANAAN DAN PENGANGGARAN</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22659525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457200" y="1143000"/>
            <a:ext cx="10754784" cy="4648200"/>
          </a:xfrm>
          <a:prstGeom prst="rect">
            <a:avLst/>
          </a:prstGeom>
          <a:noFill/>
          <a:ln>
            <a:noFill/>
            <a:headEnd/>
            <a:tailEnd/>
          </a:ln>
        </p:spPr>
        <p:style>
          <a:lnRef idx="1">
            <a:schemeClr val="accent6"/>
          </a:lnRef>
          <a:fillRef idx="2">
            <a:schemeClr val="accent6"/>
          </a:fillRef>
          <a:effectRef idx="1">
            <a:schemeClr val="accent6"/>
          </a:effectRef>
          <a:fontRef idx="minor">
            <a:schemeClr val="dk1"/>
          </a:fontRef>
        </p:style>
        <p:txBody>
          <a:bodyPr/>
          <a:lstStyle/>
          <a:p>
            <a:pPr marL="457200" indent="-457200" algn="just" fontAlgn="auto">
              <a:spcBef>
                <a:spcPct val="50000"/>
              </a:spcBef>
              <a:spcAft>
                <a:spcPts val="0"/>
              </a:spcAft>
              <a:buClr>
                <a:schemeClr val="tx1"/>
              </a:buClr>
              <a:buFont typeface="Wingdings" pitchFamily="2" charset="2"/>
              <a:buChar char="§"/>
              <a:tabLst>
                <a:tab pos="449263" algn="l"/>
              </a:tabLst>
              <a:defRPr/>
            </a:pPr>
            <a:r>
              <a:rPr lang="en-US" sz="3200" dirty="0" err="1">
                <a:latin typeface="Agency FB" pitchFamily="34" charset="0"/>
              </a:rPr>
              <a:t>Semua</a:t>
            </a:r>
            <a:r>
              <a:rPr lang="en-US" sz="3200" dirty="0">
                <a:latin typeface="Agency FB" pitchFamily="34" charset="0"/>
              </a:rPr>
              <a:t> </a:t>
            </a:r>
            <a:r>
              <a:rPr lang="en-US" sz="3200" dirty="0" err="1">
                <a:latin typeface="Agency FB" pitchFamily="34" charset="0"/>
              </a:rPr>
              <a:t>penerimaan</a:t>
            </a:r>
            <a:r>
              <a:rPr lang="en-US" sz="3200" dirty="0">
                <a:latin typeface="Agency FB" pitchFamily="34" charset="0"/>
              </a:rPr>
              <a:t> </a:t>
            </a:r>
            <a:r>
              <a:rPr lang="en-US" sz="3200" dirty="0" err="1">
                <a:latin typeface="Agency FB" pitchFamily="34" charset="0"/>
              </a:rPr>
              <a:t>baik</a:t>
            </a:r>
            <a:r>
              <a:rPr lang="en-US" sz="3200" dirty="0">
                <a:latin typeface="Agency FB" pitchFamily="34" charset="0"/>
              </a:rPr>
              <a:t> </a:t>
            </a:r>
            <a:r>
              <a:rPr lang="en-US" sz="3200" dirty="0" err="1">
                <a:latin typeface="Agency FB" pitchFamily="34" charset="0"/>
              </a:rPr>
              <a:t>dalam</a:t>
            </a:r>
            <a:r>
              <a:rPr lang="en-US" sz="3200" dirty="0">
                <a:latin typeface="Agency FB" pitchFamily="34" charset="0"/>
              </a:rPr>
              <a:t> </a:t>
            </a:r>
            <a:r>
              <a:rPr lang="en-US" sz="3200" dirty="0" err="1">
                <a:latin typeface="Agency FB" pitchFamily="34" charset="0"/>
              </a:rPr>
              <a:t>bentuk</a:t>
            </a:r>
            <a:r>
              <a:rPr lang="en-US" sz="3200" dirty="0">
                <a:latin typeface="Agency FB" pitchFamily="34" charset="0"/>
              </a:rPr>
              <a:t> </a:t>
            </a:r>
            <a:r>
              <a:rPr lang="en-US" sz="3200" dirty="0" err="1">
                <a:latin typeface="Agency FB" pitchFamily="34" charset="0"/>
              </a:rPr>
              <a:t>uang</a:t>
            </a:r>
            <a:r>
              <a:rPr lang="en-US" sz="3200" dirty="0">
                <a:latin typeface="Agency FB" pitchFamily="34" charset="0"/>
              </a:rPr>
              <a:t>, </a:t>
            </a:r>
            <a:r>
              <a:rPr lang="en-US" sz="3200" dirty="0" err="1">
                <a:latin typeface="Agency FB" pitchFamily="34" charset="0"/>
              </a:rPr>
              <a:t>maupun</a:t>
            </a:r>
            <a:r>
              <a:rPr lang="en-US" sz="3200" dirty="0">
                <a:latin typeface="Agency FB" pitchFamily="34" charset="0"/>
              </a:rPr>
              <a:t> </a:t>
            </a:r>
            <a:r>
              <a:rPr lang="en-US" sz="3200" dirty="0" err="1">
                <a:latin typeface="Agency FB" pitchFamily="34" charset="0"/>
              </a:rPr>
              <a:t>barang</a:t>
            </a:r>
            <a:r>
              <a:rPr lang="en-US" sz="3200" dirty="0">
                <a:latin typeface="Agency FB" pitchFamily="34" charset="0"/>
              </a:rPr>
              <a:t> </a:t>
            </a:r>
            <a:r>
              <a:rPr lang="en-US" sz="3200" dirty="0" err="1">
                <a:latin typeface="Agency FB" pitchFamily="34" charset="0"/>
              </a:rPr>
              <a:t>dan</a:t>
            </a:r>
            <a:r>
              <a:rPr lang="en-US" sz="3200" dirty="0">
                <a:latin typeface="Agency FB" pitchFamily="34" charset="0"/>
              </a:rPr>
              <a:t>/</a:t>
            </a:r>
            <a:r>
              <a:rPr lang="en-US" sz="3200" dirty="0" err="1">
                <a:latin typeface="Agency FB" pitchFamily="34" charset="0"/>
              </a:rPr>
              <a:t>atau</a:t>
            </a:r>
            <a:r>
              <a:rPr lang="en-US" sz="3200" dirty="0">
                <a:latin typeface="Agency FB" pitchFamily="34" charset="0"/>
              </a:rPr>
              <a:t> </a:t>
            </a:r>
            <a:r>
              <a:rPr lang="en-US" sz="3200" dirty="0" err="1">
                <a:latin typeface="Agency FB" pitchFamily="34" charset="0"/>
              </a:rPr>
              <a:t>jasa</a:t>
            </a:r>
            <a:r>
              <a:rPr lang="en-US" sz="3200" dirty="0">
                <a:latin typeface="Agency FB" pitchFamily="34" charset="0"/>
              </a:rPr>
              <a:t> </a:t>
            </a:r>
            <a:r>
              <a:rPr lang="en-US" sz="3200" dirty="0" err="1">
                <a:latin typeface="Agency FB" pitchFamily="34" charset="0"/>
              </a:rPr>
              <a:t>dianggarkan</a:t>
            </a:r>
            <a:r>
              <a:rPr lang="en-US" sz="3200" dirty="0">
                <a:latin typeface="Agency FB" pitchFamily="34" charset="0"/>
              </a:rPr>
              <a:t> </a:t>
            </a:r>
            <a:r>
              <a:rPr lang="en-US" sz="3200" dirty="0" err="1">
                <a:latin typeface="Agency FB" pitchFamily="34" charset="0"/>
              </a:rPr>
              <a:t>dalam</a:t>
            </a:r>
            <a:r>
              <a:rPr lang="en-US" sz="3200" dirty="0">
                <a:latin typeface="Agency FB" pitchFamily="34" charset="0"/>
              </a:rPr>
              <a:t> APBD;</a:t>
            </a:r>
          </a:p>
          <a:p>
            <a:pPr marL="457200" indent="-457200" algn="just" fontAlgn="auto">
              <a:spcBef>
                <a:spcPct val="50000"/>
              </a:spcBef>
              <a:spcAft>
                <a:spcPts val="0"/>
              </a:spcAft>
              <a:buClr>
                <a:schemeClr val="tx1"/>
              </a:buClr>
              <a:buFont typeface="Wingdings" pitchFamily="2" charset="2"/>
              <a:buChar char="§"/>
              <a:tabLst>
                <a:tab pos="449263" algn="l"/>
              </a:tabLst>
              <a:defRPr/>
            </a:pPr>
            <a:r>
              <a:rPr lang="en-US" sz="3200" dirty="0" err="1">
                <a:latin typeface="Agency FB" pitchFamily="34" charset="0"/>
              </a:rPr>
              <a:t>Seluruh</a:t>
            </a:r>
            <a:r>
              <a:rPr lang="en-US" sz="3200" dirty="0">
                <a:latin typeface="Agency FB" pitchFamily="34" charset="0"/>
              </a:rPr>
              <a:t> </a:t>
            </a:r>
            <a:r>
              <a:rPr lang="en-US" sz="3200" dirty="0" err="1">
                <a:latin typeface="Agency FB" pitchFamily="34" charset="0"/>
              </a:rPr>
              <a:t>pendapatan</a:t>
            </a:r>
            <a:r>
              <a:rPr lang="en-US" sz="3200" dirty="0">
                <a:latin typeface="Agency FB" pitchFamily="34" charset="0"/>
              </a:rPr>
              <a:t>, </a:t>
            </a:r>
            <a:r>
              <a:rPr lang="en-US" sz="3200" dirty="0" err="1">
                <a:latin typeface="Agency FB" pitchFamily="34" charset="0"/>
              </a:rPr>
              <a:t>belanja</a:t>
            </a:r>
            <a:r>
              <a:rPr lang="en-US" sz="3200" dirty="0">
                <a:latin typeface="Agency FB" pitchFamily="34" charset="0"/>
              </a:rPr>
              <a:t> </a:t>
            </a:r>
            <a:r>
              <a:rPr lang="en-US" sz="3200" dirty="0" err="1">
                <a:latin typeface="Agency FB" pitchFamily="34" charset="0"/>
              </a:rPr>
              <a:t>dan</a:t>
            </a:r>
            <a:r>
              <a:rPr lang="en-US" sz="3200" dirty="0">
                <a:latin typeface="Agency FB" pitchFamily="34" charset="0"/>
              </a:rPr>
              <a:t> </a:t>
            </a:r>
            <a:r>
              <a:rPr lang="en-US" sz="3200" dirty="0" err="1">
                <a:latin typeface="Agency FB" pitchFamily="34" charset="0"/>
              </a:rPr>
              <a:t>pembiayaan</a:t>
            </a:r>
            <a:r>
              <a:rPr lang="en-US" sz="3200" dirty="0">
                <a:latin typeface="Agency FB" pitchFamily="34" charset="0"/>
              </a:rPr>
              <a:t> </a:t>
            </a:r>
            <a:r>
              <a:rPr lang="en-US" sz="3200" dirty="0" err="1">
                <a:latin typeface="Agency FB" pitchFamily="34" charset="0"/>
              </a:rPr>
              <a:t>dianggarkan</a:t>
            </a:r>
            <a:r>
              <a:rPr lang="en-US" sz="3200" dirty="0">
                <a:latin typeface="Agency FB" pitchFamily="34" charset="0"/>
              </a:rPr>
              <a:t> </a:t>
            </a:r>
            <a:r>
              <a:rPr lang="en-US" sz="3200" dirty="0" err="1">
                <a:latin typeface="Agency FB" pitchFamily="34" charset="0"/>
              </a:rPr>
              <a:t>secara</a:t>
            </a:r>
            <a:r>
              <a:rPr lang="en-US" sz="3200" dirty="0">
                <a:latin typeface="Agency FB" pitchFamily="34" charset="0"/>
              </a:rPr>
              <a:t> </a:t>
            </a:r>
            <a:r>
              <a:rPr lang="en-US" sz="3200" dirty="0" err="1">
                <a:latin typeface="Agency FB" pitchFamily="34" charset="0"/>
              </a:rPr>
              <a:t>bruto</a:t>
            </a:r>
            <a:r>
              <a:rPr lang="en-US" sz="3200" dirty="0">
                <a:latin typeface="Agency FB" pitchFamily="34" charset="0"/>
              </a:rPr>
              <a:t>;</a:t>
            </a:r>
          </a:p>
          <a:p>
            <a:pPr marL="457200" indent="-457200" algn="just" fontAlgn="auto">
              <a:spcBef>
                <a:spcPct val="50000"/>
              </a:spcBef>
              <a:spcAft>
                <a:spcPts val="0"/>
              </a:spcAft>
              <a:buClr>
                <a:schemeClr val="tx1"/>
              </a:buClr>
              <a:buFont typeface="Wingdings" pitchFamily="2" charset="2"/>
              <a:buChar char="§"/>
              <a:tabLst>
                <a:tab pos="449263" algn="l"/>
              </a:tabLst>
              <a:defRPr/>
            </a:pPr>
            <a:r>
              <a:rPr lang="en-US" sz="3200" dirty="0" err="1">
                <a:latin typeface="Agency FB" pitchFamily="34" charset="0"/>
              </a:rPr>
              <a:t>Jumlah</a:t>
            </a:r>
            <a:r>
              <a:rPr lang="en-US" sz="3200" dirty="0">
                <a:latin typeface="Agency FB" pitchFamily="34" charset="0"/>
              </a:rPr>
              <a:t> </a:t>
            </a:r>
            <a:r>
              <a:rPr lang="en-US" sz="3200" dirty="0" err="1">
                <a:latin typeface="Agency FB" pitchFamily="34" charset="0"/>
              </a:rPr>
              <a:t>pendapatan</a:t>
            </a:r>
            <a:r>
              <a:rPr lang="en-US" sz="3200" dirty="0">
                <a:latin typeface="Agency FB" pitchFamily="34" charset="0"/>
              </a:rPr>
              <a:t> </a:t>
            </a:r>
            <a:r>
              <a:rPr lang="en-US" sz="3200" dirty="0" err="1">
                <a:latin typeface="Agency FB" pitchFamily="34" charset="0"/>
              </a:rPr>
              <a:t>merupakan</a:t>
            </a:r>
            <a:r>
              <a:rPr lang="en-US" sz="3200" dirty="0">
                <a:latin typeface="Agency FB" pitchFamily="34" charset="0"/>
              </a:rPr>
              <a:t> </a:t>
            </a:r>
            <a:r>
              <a:rPr lang="en-US" sz="3200" dirty="0" err="1">
                <a:latin typeface="Agency FB" pitchFamily="34" charset="0"/>
              </a:rPr>
              <a:t>perkiraan</a:t>
            </a:r>
            <a:r>
              <a:rPr lang="en-US" sz="3200" dirty="0">
                <a:latin typeface="Agency FB" pitchFamily="34" charset="0"/>
              </a:rPr>
              <a:t> </a:t>
            </a:r>
            <a:r>
              <a:rPr lang="en-US" sz="3200" dirty="0" err="1">
                <a:latin typeface="Agency FB" pitchFamily="34" charset="0"/>
              </a:rPr>
              <a:t>terukur</a:t>
            </a:r>
            <a:r>
              <a:rPr lang="en-US" sz="3200" dirty="0">
                <a:latin typeface="Agency FB" pitchFamily="34" charset="0"/>
              </a:rPr>
              <a:t> </a:t>
            </a:r>
            <a:r>
              <a:rPr lang="en-US" sz="3200" dirty="0" err="1">
                <a:latin typeface="Agency FB" pitchFamily="34" charset="0"/>
              </a:rPr>
              <a:t>dan</a:t>
            </a:r>
            <a:r>
              <a:rPr lang="en-US" sz="3200" dirty="0">
                <a:latin typeface="Agency FB" pitchFamily="34" charset="0"/>
              </a:rPr>
              <a:t> </a:t>
            </a:r>
            <a:r>
              <a:rPr lang="en-US" sz="3200" dirty="0" err="1">
                <a:latin typeface="Agency FB" pitchFamily="34" charset="0"/>
              </a:rPr>
              <a:t>dpt</a:t>
            </a:r>
            <a:r>
              <a:rPr lang="en-US" sz="3200" dirty="0">
                <a:latin typeface="Agency FB" pitchFamily="34" charset="0"/>
              </a:rPr>
              <a:t> </a:t>
            </a:r>
            <a:r>
              <a:rPr lang="en-US" sz="3200" dirty="0" err="1">
                <a:latin typeface="Agency FB" pitchFamily="34" charset="0"/>
              </a:rPr>
              <a:t>dicapai</a:t>
            </a:r>
            <a:r>
              <a:rPr lang="en-US" sz="3200" dirty="0">
                <a:latin typeface="Agency FB" pitchFamily="34" charset="0"/>
              </a:rPr>
              <a:t> </a:t>
            </a:r>
            <a:r>
              <a:rPr lang="en-US" sz="3200" dirty="0" err="1">
                <a:latin typeface="Agency FB" pitchFamily="34" charset="0"/>
              </a:rPr>
              <a:t>serta</a:t>
            </a:r>
            <a:r>
              <a:rPr lang="en-US" sz="3200" dirty="0">
                <a:latin typeface="Agency FB" pitchFamily="34" charset="0"/>
              </a:rPr>
              <a:t> </a:t>
            </a:r>
            <a:r>
              <a:rPr lang="en-US" sz="3200" dirty="0" err="1">
                <a:latin typeface="Agency FB" pitchFamily="34" charset="0"/>
              </a:rPr>
              <a:t>berdasarkan</a:t>
            </a:r>
            <a:r>
              <a:rPr lang="en-US" sz="3200" dirty="0">
                <a:latin typeface="Agency FB" pitchFamily="34" charset="0"/>
              </a:rPr>
              <a:t> </a:t>
            </a:r>
            <a:r>
              <a:rPr lang="en-US" sz="3200" dirty="0" err="1">
                <a:latin typeface="Agency FB" pitchFamily="34" charset="0"/>
              </a:rPr>
              <a:t>ketentuan</a:t>
            </a:r>
            <a:r>
              <a:rPr lang="en-US" sz="3200" dirty="0">
                <a:latin typeface="Agency FB" pitchFamily="34" charset="0"/>
              </a:rPr>
              <a:t> </a:t>
            </a:r>
            <a:r>
              <a:rPr lang="en-US" sz="3200" dirty="0" err="1">
                <a:latin typeface="Agency FB" pitchFamily="34" charset="0"/>
              </a:rPr>
              <a:t>peraturan</a:t>
            </a:r>
            <a:r>
              <a:rPr lang="en-US" sz="3200" dirty="0">
                <a:latin typeface="Agency FB" pitchFamily="34" charset="0"/>
              </a:rPr>
              <a:t> </a:t>
            </a:r>
            <a:r>
              <a:rPr lang="en-US" sz="3200" dirty="0" err="1">
                <a:latin typeface="Agency FB" pitchFamily="34" charset="0"/>
              </a:rPr>
              <a:t>perundang-undangan</a:t>
            </a:r>
            <a:r>
              <a:rPr lang="en-US" sz="3200" dirty="0">
                <a:latin typeface="Agency FB" pitchFamily="34" charset="0"/>
              </a:rPr>
              <a:t>; </a:t>
            </a:r>
            <a:r>
              <a:rPr lang="en-US" sz="3200" dirty="0" err="1">
                <a:latin typeface="Agency FB" pitchFamily="34" charset="0"/>
              </a:rPr>
              <a:t>dan</a:t>
            </a:r>
            <a:endParaRPr lang="en-US" sz="3200" dirty="0">
              <a:latin typeface="Agency FB" pitchFamily="34" charset="0"/>
            </a:endParaRPr>
          </a:p>
          <a:p>
            <a:pPr marL="457200" indent="-457200" algn="just" fontAlgn="auto">
              <a:spcBef>
                <a:spcPct val="50000"/>
              </a:spcBef>
              <a:spcAft>
                <a:spcPts val="0"/>
              </a:spcAft>
              <a:buClr>
                <a:schemeClr val="tx1"/>
              </a:buClr>
              <a:buFont typeface="Wingdings" pitchFamily="2" charset="2"/>
              <a:buChar char="§"/>
              <a:tabLst>
                <a:tab pos="449263" algn="l"/>
              </a:tabLst>
              <a:defRPr/>
            </a:pPr>
            <a:r>
              <a:rPr lang="en-US" sz="3200" dirty="0" err="1">
                <a:latin typeface="Agency FB" pitchFamily="34" charset="0"/>
              </a:rPr>
              <a:t>Penganggaran</a:t>
            </a:r>
            <a:r>
              <a:rPr lang="en-US" sz="3200" dirty="0">
                <a:latin typeface="Agency FB" pitchFamily="34" charset="0"/>
              </a:rPr>
              <a:t> </a:t>
            </a:r>
            <a:r>
              <a:rPr lang="en-US" sz="3200" dirty="0" err="1">
                <a:latin typeface="Agency FB" pitchFamily="34" charset="0"/>
              </a:rPr>
              <a:t>pengeluaran</a:t>
            </a:r>
            <a:r>
              <a:rPr lang="en-US" sz="3200" dirty="0">
                <a:latin typeface="Agency FB" pitchFamily="34" charset="0"/>
              </a:rPr>
              <a:t> </a:t>
            </a:r>
            <a:r>
              <a:rPr lang="en-US" sz="3200" dirty="0" err="1">
                <a:latin typeface="Agency FB" pitchFamily="34" charset="0"/>
              </a:rPr>
              <a:t>harus</a:t>
            </a:r>
            <a:r>
              <a:rPr lang="en-US" sz="3200" dirty="0">
                <a:latin typeface="Agency FB" pitchFamily="34" charset="0"/>
              </a:rPr>
              <a:t> </a:t>
            </a:r>
            <a:r>
              <a:rPr lang="en-US" sz="3200" dirty="0" err="1">
                <a:latin typeface="Agency FB" pitchFamily="34" charset="0"/>
              </a:rPr>
              <a:t>didukung</a:t>
            </a:r>
            <a:r>
              <a:rPr lang="en-US" sz="3200" dirty="0">
                <a:latin typeface="Agency FB" pitchFamily="34" charset="0"/>
              </a:rPr>
              <a:t> </a:t>
            </a:r>
            <a:r>
              <a:rPr lang="en-US" sz="3200" dirty="0" err="1">
                <a:latin typeface="Agency FB" pitchFamily="34" charset="0"/>
              </a:rPr>
              <a:t>dengan</a:t>
            </a:r>
            <a:r>
              <a:rPr lang="en-US" sz="3200" dirty="0">
                <a:latin typeface="Agency FB" pitchFamily="34" charset="0"/>
              </a:rPr>
              <a:t> </a:t>
            </a:r>
            <a:r>
              <a:rPr lang="en-US" sz="3200" dirty="0" err="1">
                <a:latin typeface="Agency FB" pitchFamily="34" charset="0"/>
              </a:rPr>
              <a:t>adanya</a:t>
            </a:r>
            <a:r>
              <a:rPr lang="en-US" sz="3200" dirty="0">
                <a:latin typeface="Agency FB" pitchFamily="34" charset="0"/>
              </a:rPr>
              <a:t> </a:t>
            </a:r>
            <a:r>
              <a:rPr lang="en-US" sz="3200" dirty="0" err="1">
                <a:latin typeface="Agency FB" pitchFamily="34" charset="0"/>
              </a:rPr>
              <a:t>kepastian</a:t>
            </a:r>
            <a:r>
              <a:rPr lang="en-US" sz="3200" dirty="0">
                <a:latin typeface="Agency FB" pitchFamily="34" charset="0"/>
              </a:rPr>
              <a:t> </a:t>
            </a:r>
            <a:r>
              <a:rPr lang="en-US" sz="3200" dirty="0" err="1">
                <a:latin typeface="Agency FB" pitchFamily="34" charset="0"/>
              </a:rPr>
              <a:t>tersedianya</a:t>
            </a:r>
            <a:r>
              <a:rPr lang="en-US" sz="3200" dirty="0">
                <a:latin typeface="Agency FB" pitchFamily="34" charset="0"/>
              </a:rPr>
              <a:t> </a:t>
            </a:r>
            <a:r>
              <a:rPr lang="en-US" sz="3200" dirty="0" err="1">
                <a:latin typeface="Agency FB" pitchFamily="34" charset="0"/>
              </a:rPr>
              <a:t>penerimaan</a:t>
            </a:r>
            <a:r>
              <a:rPr lang="en-US" sz="3200" dirty="0">
                <a:latin typeface="Agency FB" pitchFamily="34" charset="0"/>
              </a:rPr>
              <a:t> </a:t>
            </a:r>
            <a:r>
              <a:rPr lang="en-US" sz="3200" dirty="0" err="1">
                <a:latin typeface="Agency FB" pitchFamily="34" charset="0"/>
              </a:rPr>
              <a:t>dalam</a:t>
            </a:r>
            <a:r>
              <a:rPr lang="en-US" sz="3200" dirty="0">
                <a:latin typeface="Agency FB" pitchFamily="34" charset="0"/>
              </a:rPr>
              <a:t> </a:t>
            </a:r>
            <a:r>
              <a:rPr lang="en-US" sz="3200" dirty="0" err="1">
                <a:latin typeface="Agency FB" pitchFamily="34" charset="0"/>
              </a:rPr>
              <a:t>jumlah</a:t>
            </a:r>
            <a:r>
              <a:rPr lang="en-US" sz="3200" dirty="0">
                <a:latin typeface="Agency FB" pitchFamily="34" charset="0"/>
              </a:rPr>
              <a:t> </a:t>
            </a:r>
            <a:r>
              <a:rPr lang="en-US" sz="3200" dirty="0" err="1">
                <a:latin typeface="Agency FB" pitchFamily="34" charset="0"/>
              </a:rPr>
              <a:t>cukup</a:t>
            </a:r>
            <a:r>
              <a:rPr lang="en-US" sz="3200" dirty="0">
                <a:latin typeface="Agency FB" pitchFamily="34" charset="0"/>
              </a:rPr>
              <a:t> </a:t>
            </a:r>
            <a:r>
              <a:rPr lang="en-US" sz="3200" dirty="0" err="1">
                <a:latin typeface="Agency FB" pitchFamily="34" charset="0"/>
              </a:rPr>
              <a:t>dan</a:t>
            </a:r>
            <a:r>
              <a:rPr lang="en-US" sz="3200" dirty="0">
                <a:latin typeface="Agency FB" pitchFamily="34" charset="0"/>
              </a:rPr>
              <a:t> </a:t>
            </a:r>
            <a:r>
              <a:rPr lang="en-US" sz="3200" dirty="0" err="1">
                <a:latin typeface="Agency FB" pitchFamily="34" charset="0"/>
              </a:rPr>
              <a:t>harus</a:t>
            </a:r>
            <a:r>
              <a:rPr lang="en-US" sz="3200" dirty="0">
                <a:latin typeface="Agency FB" pitchFamily="34" charset="0"/>
              </a:rPr>
              <a:t> </a:t>
            </a:r>
            <a:r>
              <a:rPr lang="en-US" sz="3200" dirty="0" err="1">
                <a:latin typeface="Agency FB" pitchFamily="34" charset="0"/>
              </a:rPr>
              <a:t>didukung</a:t>
            </a:r>
            <a:r>
              <a:rPr lang="en-US" sz="3200" dirty="0">
                <a:latin typeface="Agency FB" pitchFamily="34" charset="0"/>
              </a:rPr>
              <a:t> </a:t>
            </a:r>
            <a:r>
              <a:rPr lang="en-US" sz="3200" dirty="0" err="1">
                <a:latin typeface="Agency FB" pitchFamily="34" charset="0"/>
              </a:rPr>
              <a:t>dengan</a:t>
            </a:r>
            <a:r>
              <a:rPr lang="en-US" sz="3200" dirty="0">
                <a:latin typeface="Agency FB" pitchFamily="34" charset="0"/>
              </a:rPr>
              <a:t> </a:t>
            </a:r>
            <a:r>
              <a:rPr lang="en-US" sz="3200" dirty="0" err="1">
                <a:latin typeface="Agency FB" pitchFamily="34" charset="0"/>
              </a:rPr>
              <a:t>dasar</a:t>
            </a:r>
            <a:r>
              <a:rPr lang="en-US" sz="3200" dirty="0">
                <a:latin typeface="Agency FB" pitchFamily="34" charset="0"/>
              </a:rPr>
              <a:t> </a:t>
            </a:r>
            <a:r>
              <a:rPr lang="en-US" sz="3200" dirty="0" err="1">
                <a:latin typeface="Agency FB" pitchFamily="34" charset="0"/>
              </a:rPr>
              <a:t>hukum</a:t>
            </a:r>
            <a:r>
              <a:rPr lang="en-US" sz="3200" dirty="0">
                <a:latin typeface="Agency FB" pitchFamily="34" charset="0"/>
              </a:rPr>
              <a:t> yang </a:t>
            </a:r>
            <a:r>
              <a:rPr lang="en-US" sz="3200" dirty="0" err="1">
                <a:latin typeface="Agency FB" pitchFamily="34" charset="0"/>
              </a:rPr>
              <a:t>melandasinya</a:t>
            </a:r>
            <a:r>
              <a:rPr lang="en-US" sz="3200" dirty="0">
                <a:latin typeface="Agency FB" pitchFamily="34" charset="0"/>
              </a:rPr>
              <a:t>.</a:t>
            </a:r>
          </a:p>
        </p:txBody>
      </p:sp>
      <p:sp>
        <p:nvSpPr>
          <p:cNvPr id="15" name="Rectangle 14"/>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6" name="Rectangle 15"/>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PRINSIP PENGANGGARAN</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42630137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800" y="1143000"/>
            <a:ext cx="11633200" cy="510540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anchor="ctr"/>
          <a:lstStyle/>
          <a:p>
            <a:pPr marL="342900" indent="-342900" algn="just">
              <a:lnSpc>
                <a:spcPct val="75000"/>
              </a:lnSpc>
              <a:spcBef>
                <a:spcPct val="60000"/>
              </a:spcBef>
              <a:buSzPct val="90000"/>
              <a:buFont typeface="Wingdings" pitchFamily="2" charset="2"/>
              <a:buChar char="§"/>
              <a:defRPr/>
            </a:pPr>
            <a:r>
              <a:rPr lang="pt-BR" sz="2800" dirty="0">
                <a:solidFill>
                  <a:srgbClr val="000000"/>
                </a:solidFill>
                <a:latin typeface="Agency FB" pitchFamily="34" charset="0"/>
              </a:rPr>
              <a:t>Fungsi otorisasi mengandung arti bahwa APBD menjadi dasar untuk melaksanakan pendapatan dan belanja pada tahun yang bersangkutan.</a:t>
            </a:r>
          </a:p>
          <a:p>
            <a:pPr marL="342900" indent="-342900" algn="just">
              <a:lnSpc>
                <a:spcPct val="75000"/>
              </a:lnSpc>
              <a:spcBef>
                <a:spcPct val="60000"/>
              </a:spcBef>
              <a:buSzPct val="90000"/>
              <a:buFont typeface="Wingdings" pitchFamily="2" charset="2"/>
              <a:buChar char="§"/>
              <a:defRPr/>
            </a:pPr>
            <a:r>
              <a:rPr lang="pt-BR" sz="2800" dirty="0">
                <a:solidFill>
                  <a:srgbClr val="000000"/>
                </a:solidFill>
                <a:latin typeface="Agency FB" pitchFamily="34" charset="0"/>
              </a:rPr>
              <a:t>Fungsi perencanaan mengandung arti bahwa APBD menjadi pedoman bagi manajemen dalam merencanakan kegiatan pada tahun yang bersangkutan.</a:t>
            </a:r>
          </a:p>
          <a:p>
            <a:pPr marL="342900" indent="-342900" algn="just">
              <a:lnSpc>
                <a:spcPct val="75000"/>
              </a:lnSpc>
              <a:spcBef>
                <a:spcPct val="60000"/>
              </a:spcBef>
              <a:buSzPct val="90000"/>
              <a:buFont typeface="Wingdings" pitchFamily="2" charset="2"/>
              <a:buChar char="§"/>
              <a:defRPr/>
            </a:pPr>
            <a:r>
              <a:rPr lang="pt-BR" sz="2800" dirty="0">
                <a:solidFill>
                  <a:srgbClr val="000000"/>
                </a:solidFill>
                <a:latin typeface="Agency FB" pitchFamily="34" charset="0"/>
              </a:rPr>
              <a:t>Fungsi pengawasan mengandung arti bahwa APBD menjadi pedoman untuk menilai apakah kegiatan penyelenggaraan pemerintahan daerah sesuai dengan ketentuan yang telah ditetapkan.</a:t>
            </a:r>
          </a:p>
          <a:p>
            <a:pPr marL="342900" indent="-342900" algn="just">
              <a:lnSpc>
                <a:spcPct val="75000"/>
              </a:lnSpc>
              <a:spcBef>
                <a:spcPct val="60000"/>
              </a:spcBef>
              <a:buSzPct val="90000"/>
              <a:buFont typeface="Wingdings" pitchFamily="2" charset="2"/>
              <a:buChar char="§"/>
              <a:defRPr/>
            </a:pPr>
            <a:r>
              <a:rPr lang="pt-BR" sz="2800" dirty="0">
                <a:solidFill>
                  <a:srgbClr val="000000"/>
                </a:solidFill>
                <a:latin typeface="Agency FB" pitchFamily="34" charset="0"/>
              </a:rPr>
              <a:t>Fungsi alokasi mengandung arti bahwa APBD harus diarahkan untuk menciptakan lapangan kerja/mengurangi pengangguran dan pemborosan sumber daya, serta meningkatkan efisiensi dan efektivitas perekonomian.</a:t>
            </a:r>
          </a:p>
          <a:p>
            <a:pPr marL="342900" indent="-342900" algn="just">
              <a:lnSpc>
                <a:spcPct val="75000"/>
              </a:lnSpc>
              <a:spcBef>
                <a:spcPct val="60000"/>
              </a:spcBef>
              <a:buSzPct val="90000"/>
              <a:buFont typeface="Wingdings" pitchFamily="2" charset="2"/>
              <a:buChar char="§"/>
              <a:defRPr/>
            </a:pPr>
            <a:r>
              <a:rPr lang="pt-BR" sz="2800" dirty="0">
                <a:solidFill>
                  <a:srgbClr val="000000"/>
                </a:solidFill>
                <a:latin typeface="Agency FB" pitchFamily="34" charset="0"/>
              </a:rPr>
              <a:t>Fungsi distribusi mengandung arti bahwa kebijakan APBD harus memperhatikan rasa keadilan dan kepatutan.</a:t>
            </a:r>
          </a:p>
          <a:p>
            <a:pPr marL="342900" indent="-342900" algn="just">
              <a:lnSpc>
                <a:spcPct val="75000"/>
              </a:lnSpc>
              <a:spcBef>
                <a:spcPct val="60000"/>
              </a:spcBef>
              <a:buSzPct val="90000"/>
              <a:buFont typeface="Wingdings" pitchFamily="2" charset="2"/>
              <a:buChar char="§"/>
              <a:defRPr/>
            </a:pPr>
            <a:r>
              <a:rPr lang="pt-BR" sz="2800" dirty="0">
                <a:solidFill>
                  <a:srgbClr val="000000"/>
                </a:solidFill>
                <a:latin typeface="Agency FB" pitchFamily="34" charset="0"/>
              </a:rPr>
              <a:t>Fungsi stabilisasi mengandung arti bahwa APBD menjadi alat untuk memelihara dan mengupayakan keseimbangan fundamental perekonomian daerah.</a:t>
            </a:r>
            <a:endParaRPr lang="en-US" sz="2800" dirty="0">
              <a:solidFill>
                <a:srgbClr val="000000"/>
              </a:solidFill>
              <a:latin typeface="Agency FB" pitchFamily="34" charset="0"/>
            </a:endParaRPr>
          </a:p>
        </p:txBody>
      </p:sp>
      <p:sp>
        <p:nvSpPr>
          <p:cNvPr id="6" name="Slide Number Placeholder 5"/>
          <p:cNvSpPr>
            <a:spLocks noGrp="1"/>
          </p:cNvSpPr>
          <p:nvPr>
            <p:ph type="sldNum" sz="quarter" idx="12"/>
          </p:nvPr>
        </p:nvSpPr>
        <p:spPr/>
        <p:txBody>
          <a:bodyPr/>
          <a:lstStyle/>
          <a:p>
            <a:pPr>
              <a:defRPr/>
            </a:pPr>
            <a:fld id="{7F2C1A65-4C3C-4BA3-99E8-2D276C405883}" type="slidenum">
              <a:rPr lang="en-US" smtClean="0"/>
              <a:pPr>
                <a:defRPr/>
              </a:pPr>
              <a:t>32</a:t>
            </a:fld>
            <a:endParaRPr lang="en-US"/>
          </a:p>
        </p:txBody>
      </p:sp>
      <p:sp>
        <p:nvSpPr>
          <p:cNvPr id="7" name="Rectangle 6"/>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8" name="Rectangle 7"/>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FUNGSI APBD</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41593332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4908711" y="228600"/>
            <a:ext cx="2258484" cy="68580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id-ID" sz="2800" b="1" dirty="0">
                <a:solidFill>
                  <a:srgbClr val="FFFF00"/>
                </a:solidFill>
                <a:latin typeface="Bookman Old Style" pitchFamily="18" charset="0"/>
              </a:rPr>
              <a:t>A P B D </a:t>
            </a:r>
            <a:endParaRPr lang="en-US" sz="2800" b="1" dirty="0">
              <a:solidFill>
                <a:srgbClr val="FFFF00"/>
              </a:solidFill>
              <a:latin typeface="Bookman Old Style" pitchFamily="18" charset="0"/>
            </a:endParaRPr>
          </a:p>
        </p:txBody>
      </p:sp>
      <p:sp>
        <p:nvSpPr>
          <p:cNvPr id="6" name="Rounded Rectangle 5"/>
          <p:cNvSpPr/>
          <p:nvPr/>
        </p:nvSpPr>
        <p:spPr>
          <a:xfrm>
            <a:off x="476253" y="1289050"/>
            <a:ext cx="3181349" cy="53975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id-ID" b="1" dirty="0">
                <a:solidFill>
                  <a:srgbClr val="FFFF00"/>
                </a:solidFill>
                <a:latin typeface="Bookman Old Style" pitchFamily="18" charset="0"/>
              </a:rPr>
              <a:t>PENDAPATAN</a:t>
            </a:r>
            <a:endParaRPr lang="en-US" b="1" dirty="0">
              <a:solidFill>
                <a:srgbClr val="FFFF00"/>
              </a:solidFill>
              <a:latin typeface="Bookman Old Style" pitchFamily="18" charset="0"/>
            </a:endParaRPr>
          </a:p>
        </p:txBody>
      </p:sp>
      <p:sp>
        <p:nvSpPr>
          <p:cNvPr id="7" name="Rounded Rectangle 6"/>
          <p:cNvSpPr/>
          <p:nvPr/>
        </p:nvSpPr>
        <p:spPr>
          <a:xfrm>
            <a:off x="4271457" y="1289050"/>
            <a:ext cx="3551767" cy="539750"/>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r>
              <a:rPr lang="id-ID" b="1" dirty="0">
                <a:solidFill>
                  <a:srgbClr val="FFFF00"/>
                </a:solidFill>
                <a:latin typeface="Bookman Old Style" pitchFamily="18" charset="0"/>
              </a:rPr>
              <a:t>BELANJA</a:t>
            </a:r>
            <a:endParaRPr lang="en-US" b="1" dirty="0">
              <a:solidFill>
                <a:srgbClr val="FFFF00"/>
              </a:solidFill>
              <a:latin typeface="Bookman Old Style" pitchFamily="18" charset="0"/>
            </a:endParaRPr>
          </a:p>
        </p:txBody>
      </p:sp>
      <p:sp>
        <p:nvSpPr>
          <p:cNvPr id="13" name="Isosceles Triangle 12"/>
          <p:cNvSpPr/>
          <p:nvPr/>
        </p:nvSpPr>
        <p:spPr>
          <a:xfrm rot="10800000">
            <a:off x="624418" y="1905001"/>
            <a:ext cx="2829983" cy="112713"/>
          </a:xfrm>
          <a:prstGeom prst="triangle">
            <a:avLst/>
          </a:prstGeom>
        </p:spPr>
        <p:style>
          <a:lnRef idx="2">
            <a:schemeClr val="dk1"/>
          </a:lnRef>
          <a:fillRef idx="1">
            <a:schemeClr val="lt1"/>
          </a:fillRef>
          <a:effectRef idx="0">
            <a:schemeClr val="dk1"/>
          </a:effectRef>
          <a:fontRef idx="minor">
            <a:schemeClr val="dk1"/>
          </a:fontRef>
        </p:style>
        <p:txBody>
          <a:bodyPr anchor="ctr"/>
          <a:lstStyle/>
          <a:p>
            <a:pPr algn="ctr">
              <a:defRPr/>
            </a:pPr>
            <a:endParaRPr lang="id-ID">
              <a:solidFill>
                <a:prstClr val="black"/>
              </a:solidFill>
              <a:latin typeface="Bookman Old Style" pitchFamily="18" charset="0"/>
            </a:endParaRPr>
          </a:p>
        </p:txBody>
      </p:sp>
      <p:sp>
        <p:nvSpPr>
          <p:cNvPr id="14" name="Isosceles Triangle 13"/>
          <p:cNvSpPr/>
          <p:nvPr/>
        </p:nvSpPr>
        <p:spPr>
          <a:xfrm rot="10800000">
            <a:off x="8834967" y="1905001"/>
            <a:ext cx="2829984" cy="112713"/>
          </a:xfrm>
          <a:prstGeom prst="triangle">
            <a:avLst/>
          </a:prstGeom>
        </p:spPr>
        <p:style>
          <a:lnRef idx="2">
            <a:schemeClr val="dk1"/>
          </a:lnRef>
          <a:fillRef idx="1">
            <a:schemeClr val="lt1"/>
          </a:fillRef>
          <a:effectRef idx="0">
            <a:schemeClr val="dk1"/>
          </a:effectRef>
          <a:fontRef idx="minor">
            <a:schemeClr val="dk1"/>
          </a:fontRef>
        </p:style>
        <p:txBody>
          <a:bodyPr anchor="ctr"/>
          <a:lstStyle/>
          <a:p>
            <a:pPr algn="ctr">
              <a:defRPr/>
            </a:pPr>
            <a:endParaRPr lang="id-ID">
              <a:solidFill>
                <a:prstClr val="black"/>
              </a:solidFill>
              <a:latin typeface="Bookman Old Style" pitchFamily="18" charset="0"/>
            </a:endParaRPr>
          </a:p>
        </p:txBody>
      </p:sp>
      <p:cxnSp>
        <p:nvCxnSpPr>
          <p:cNvPr id="27" name="Elbow Connector 26"/>
          <p:cNvCxnSpPr/>
          <p:nvPr/>
        </p:nvCxnSpPr>
        <p:spPr>
          <a:xfrm rot="5400000">
            <a:off x="3866092" y="-883709"/>
            <a:ext cx="374650" cy="3970867"/>
          </a:xfrm>
          <a:prstGeom prst="bentConnector3">
            <a:avLst>
              <a:gd name="adj1" fmla="val 50000"/>
            </a:avLst>
          </a:prstGeom>
          <a:ln>
            <a:tailEnd type="arrow"/>
          </a:ln>
        </p:spPr>
        <p:style>
          <a:lnRef idx="3">
            <a:schemeClr val="dk1"/>
          </a:lnRef>
          <a:fillRef idx="0">
            <a:schemeClr val="dk1"/>
          </a:fillRef>
          <a:effectRef idx="2">
            <a:schemeClr val="dk1"/>
          </a:effectRef>
          <a:fontRef idx="minor">
            <a:schemeClr val="tx1"/>
          </a:fontRef>
        </p:style>
      </p:cxnSp>
      <p:sp>
        <p:nvSpPr>
          <p:cNvPr id="29" name="Rounded Rectangle 28"/>
          <p:cNvSpPr/>
          <p:nvPr/>
        </p:nvSpPr>
        <p:spPr>
          <a:xfrm>
            <a:off x="8496311" y="1306514"/>
            <a:ext cx="3467100" cy="526006"/>
          </a:xfrm>
          <a:prstGeom prst="roundRect">
            <a:avLst/>
          </a:prstGeom>
        </p:spPr>
        <p:style>
          <a:lnRef idx="0">
            <a:schemeClr val="accent5"/>
          </a:lnRef>
          <a:fillRef idx="3">
            <a:schemeClr val="accent5"/>
          </a:fillRef>
          <a:effectRef idx="3">
            <a:schemeClr val="accent5"/>
          </a:effectRef>
          <a:fontRef idx="minor">
            <a:schemeClr val="lt1"/>
          </a:fontRef>
        </p:style>
        <p:txBody>
          <a:bodyPr anchor="ctr"/>
          <a:lstStyle/>
          <a:p>
            <a:pPr algn="ctr">
              <a:defRPr/>
            </a:pPr>
            <a:r>
              <a:rPr lang="id-ID" b="1" dirty="0">
                <a:solidFill>
                  <a:srgbClr val="FFFF00"/>
                </a:solidFill>
                <a:latin typeface="Bookman Old Style" pitchFamily="18" charset="0"/>
              </a:rPr>
              <a:t>PEMBIAYAAN </a:t>
            </a:r>
            <a:endParaRPr lang="en-US" b="1" dirty="0">
              <a:solidFill>
                <a:srgbClr val="FFFF00"/>
              </a:solidFill>
              <a:latin typeface="Bookman Old Style" pitchFamily="18" charset="0"/>
            </a:endParaRPr>
          </a:p>
        </p:txBody>
      </p:sp>
      <p:sp>
        <p:nvSpPr>
          <p:cNvPr id="60" name="Isosceles Triangle 59"/>
          <p:cNvSpPr/>
          <p:nvPr/>
        </p:nvSpPr>
        <p:spPr>
          <a:xfrm rot="10800000">
            <a:off x="4656667" y="1905001"/>
            <a:ext cx="2829984" cy="112713"/>
          </a:xfrm>
          <a:prstGeom prst="triangle">
            <a:avLst/>
          </a:prstGeom>
        </p:spPr>
        <p:style>
          <a:lnRef idx="2">
            <a:schemeClr val="dk1"/>
          </a:lnRef>
          <a:fillRef idx="1">
            <a:schemeClr val="lt1"/>
          </a:fillRef>
          <a:effectRef idx="0">
            <a:schemeClr val="dk1"/>
          </a:effectRef>
          <a:fontRef idx="minor">
            <a:schemeClr val="dk1"/>
          </a:fontRef>
        </p:style>
        <p:txBody>
          <a:bodyPr anchor="ctr"/>
          <a:lstStyle/>
          <a:p>
            <a:pPr algn="ctr">
              <a:defRPr/>
            </a:pPr>
            <a:endParaRPr lang="id-ID">
              <a:solidFill>
                <a:prstClr val="black"/>
              </a:solidFill>
              <a:latin typeface="Bookman Old Style" pitchFamily="18" charset="0"/>
            </a:endParaRPr>
          </a:p>
        </p:txBody>
      </p:sp>
      <p:cxnSp>
        <p:nvCxnSpPr>
          <p:cNvPr id="56" name="Elbow Connector 55"/>
          <p:cNvCxnSpPr/>
          <p:nvPr/>
        </p:nvCxnSpPr>
        <p:spPr>
          <a:xfrm rot="16200000" flipH="1">
            <a:off x="5855759" y="1097492"/>
            <a:ext cx="374650" cy="8467"/>
          </a:xfrm>
          <a:prstGeom prst="bentConnector3">
            <a:avLst>
              <a:gd name="adj1" fmla="val 50000"/>
            </a:avLst>
          </a:prstGeom>
          <a:ln>
            <a:tailEnd type="arrow"/>
          </a:ln>
        </p:spPr>
        <p:style>
          <a:lnRef idx="2">
            <a:schemeClr val="dk1"/>
          </a:lnRef>
          <a:fillRef idx="0">
            <a:schemeClr val="dk1"/>
          </a:fillRef>
          <a:effectRef idx="1">
            <a:schemeClr val="dk1"/>
          </a:effectRef>
          <a:fontRef idx="minor">
            <a:schemeClr val="tx1"/>
          </a:fontRef>
        </p:style>
      </p:cxnSp>
      <p:cxnSp>
        <p:nvCxnSpPr>
          <p:cNvPr id="57" name="Elbow Connector 56"/>
          <p:cNvCxnSpPr/>
          <p:nvPr/>
        </p:nvCxnSpPr>
        <p:spPr>
          <a:xfrm rot="16200000" flipH="1">
            <a:off x="7938294" y="-985043"/>
            <a:ext cx="392113" cy="4191000"/>
          </a:xfrm>
          <a:prstGeom prst="bentConnector3">
            <a:avLst>
              <a:gd name="adj1" fmla="val 50000"/>
            </a:avLst>
          </a:prstGeom>
          <a:ln>
            <a:tailEnd type="arrow"/>
          </a:ln>
        </p:spPr>
        <p:style>
          <a:lnRef idx="2">
            <a:schemeClr val="dk1"/>
          </a:lnRef>
          <a:fillRef idx="0">
            <a:schemeClr val="dk1"/>
          </a:fillRef>
          <a:effectRef idx="1">
            <a:schemeClr val="dk1"/>
          </a:effectRef>
          <a:fontRef idx="minor">
            <a:schemeClr val="tx1"/>
          </a:fontRef>
        </p:style>
      </p:cxnSp>
      <p:graphicFrame>
        <p:nvGraphicFramePr>
          <p:cNvPr id="21" name="Table 20"/>
          <p:cNvGraphicFramePr>
            <a:graphicFrameLocks noGrp="1"/>
          </p:cNvGraphicFramePr>
          <p:nvPr/>
        </p:nvGraphicFramePr>
        <p:xfrm>
          <a:off x="266701" y="2057400"/>
          <a:ext cx="3543300" cy="4724400"/>
        </p:xfrm>
        <a:graphic>
          <a:graphicData uri="http://schemas.openxmlformats.org/drawingml/2006/table">
            <a:tbl>
              <a:tblPr firstRow="1" bandRow="1">
                <a:tableStyleId>{5C22544A-7EE6-4342-B048-85BDC9FD1C3A}</a:tableStyleId>
              </a:tblPr>
              <a:tblGrid>
                <a:gridCol w="3543300"/>
              </a:tblGrid>
              <a:tr h="298377">
                <a:tc>
                  <a:txBody>
                    <a:bodyPr/>
                    <a:lstStyle/>
                    <a:p>
                      <a:pPr marL="0"/>
                      <a:r>
                        <a:rPr lang="id-ID" sz="1600" dirty="0" smtClean="0">
                          <a:latin typeface="Bookman Old Style" pitchFamily="18" charset="0"/>
                        </a:rPr>
                        <a:t>PAD</a:t>
                      </a:r>
                      <a:endParaRPr lang="id-ID" sz="1600" dirty="0">
                        <a:latin typeface="Bookman Old Style" pitchFamily="18" charset="0"/>
                      </a:endParaRPr>
                    </a:p>
                  </a:txBody>
                  <a:tcPr marL="121887" marR="121887">
                    <a:solidFill>
                      <a:schemeClr val="tx2">
                        <a:lumMod val="60000"/>
                        <a:lumOff val="40000"/>
                      </a:schemeClr>
                    </a:solidFill>
                  </a:tcPr>
                </a:tc>
              </a:tr>
              <a:tr h="298377">
                <a:tc>
                  <a:txBody>
                    <a:bodyPr/>
                    <a:lstStyle/>
                    <a:p>
                      <a:pPr marL="0" indent="-285750">
                        <a:buFont typeface="Wingdings" pitchFamily="2" charset="2"/>
                        <a:buChar char="Ø"/>
                      </a:pPr>
                      <a:r>
                        <a:rPr lang="id-ID" sz="1500" dirty="0" smtClean="0">
                          <a:latin typeface="Bookman Old Style" pitchFamily="18" charset="0"/>
                        </a:rPr>
                        <a:t>Pajak Daerah</a:t>
                      </a:r>
                      <a:endParaRPr lang="id-ID" sz="1500" dirty="0">
                        <a:latin typeface="Bookman Old Style" pitchFamily="18" charset="0"/>
                      </a:endParaRPr>
                    </a:p>
                  </a:txBody>
                  <a:tcPr marL="121887" marR="121887"/>
                </a:tc>
              </a:tr>
              <a:tr h="298377">
                <a:tc>
                  <a:txBody>
                    <a:bodyPr/>
                    <a:lstStyle/>
                    <a:p>
                      <a:pPr marL="0" indent="-285750">
                        <a:buFont typeface="Wingdings" pitchFamily="2" charset="2"/>
                        <a:buChar char="Ø"/>
                      </a:pPr>
                      <a:r>
                        <a:rPr lang="id-ID" sz="1500" dirty="0" smtClean="0">
                          <a:latin typeface="Bookman Old Style" pitchFamily="18" charset="0"/>
                        </a:rPr>
                        <a:t>Retribusi Daerah </a:t>
                      </a:r>
                      <a:endParaRPr lang="id-ID" sz="1500" dirty="0">
                        <a:latin typeface="Bookman Old Style" pitchFamily="18" charset="0"/>
                      </a:endParaRPr>
                    </a:p>
                  </a:txBody>
                  <a:tcPr marL="121887" marR="121887"/>
                </a:tc>
              </a:tr>
              <a:tr h="515007">
                <a:tc>
                  <a:txBody>
                    <a:bodyPr/>
                    <a:lstStyle/>
                    <a:p>
                      <a:pPr marL="0" indent="-268288">
                        <a:buFont typeface="Wingdings" pitchFamily="2" charset="2"/>
                        <a:buChar char="Ø"/>
                      </a:pPr>
                      <a:r>
                        <a:rPr lang="id-ID" sz="1500" dirty="0" smtClean="0">
                          <a:latin typeface="Bookman Old Style" pitchFamily="18" charset="0"/>
                        </a:rPr>
                        <a:t>Hsl Pengelolaan Keyaan yg Dipisahkan</a:t>
                      </a:r>
                      <a:endParaRPr lang="id-ID" sz="1500" dirty="0">
                        <a:latin typeface="Bookman Old Style" pitchFamily="18" charset="0"/>
                      </a:endParaRPr>
                    </a:p>
                  </a:txBody>
                  <a:tcPr marL="121887" marR="121887"/>
                </a:tc>
              </a:tr>
              <a:tr h="298377">
                <a:tc>
                  <a:txBody>
                    <a:bodyPr/>
                    <a:lstStyle/>
                    <a:p>
                      <a:pPr marL="0" indent="-285750">
                        <a:buFont typeface="Wingdings" pitchFamily="2" charset="2"/>
                        <a:buChar char="Ø"/>
                      </a:pPr>
                      <a:r>
                        <a:rPr lang="id-ID" sz="1500" dirty="0" smtClean="0">
                          <a:latin typeface="Bookman Old Style" pitchFamily="18" charset="0"/>
                        </a:rPr>
                        <a:t>Lain –lain PAD</a:t>
                      </a:r>
                      <a:r>
                        <a:rPr lang="id-ID" sz="1500" baseline="0" dirty="0" smtClean="0">
                          <a:latin typeface="Bookman Old Style" pitchFamily="18" charset="0"/>
                        </a:rPr>
                        <a:t> yg Sah</a:t>
                      </a:r>
                      <a:endParaRPr lang="id-ID" sz="1500" dirty="0">
                        <a:latin typeface="Bookman Old Style" pitchFamily="18" charset="0"/>
                      </a:endParaRPr>
                    </a:p>
                  </a:txBody>
                  <a:tcPr marL="121887" marR="121887"/>
                </a:tc>
              </a:tr>
              <a:tr h="298377">
                <a:tc>
                  <a:txBody>
                    <a:bodyPr/>
                    <a:lstStyle/>
                    <a:p>
                      <a:pPr marL="0" indent="0">
                        <a:buFont typeface="Wingdings" pitchFamily="2" charset="2"/>
                        <a:buNone/>
                      </a:pPr>
                      <a:r>
                        <a:rPr lang="id-ID" sz="1500" b="1" kern="1200" dirty="0" smtClean="0">
                          <a:solidFill>
                            <a:schemeClr val="lt1"/>
                          </a:solidFill>
                          <a:latin typeface="Bookman Old Style" pitchFamily="18" charset="0"/>
                          <a:ea typeface="+mn-ea"/>
                          <a:cs typeface="+mn-cs"/>
                        </a:rPr>
                        <a:t>DANA PERIMBANGAN </a:t>
                      </a:r>
                      <a:endParaRPr lang="id-ID" sz="1500" b="1" kern="1200" dirty="0">
                        <a:solidFill>
                          <a:schemeClr val="lt1"/>
                        </a:solidFill>
                        <a:latin typeface="Bookman Old Style" pitchFamily="18" charset="0"/>
                        <a:ea typeface="+mn-ea"/>
                        <a:cs typeface="+mn-cs"/>
                      </a:endParaRPr>
                    </a:p>
                  </a:txBody>
                  <a:tcPr marL="121887" marR="121887">
                    <a:solidFill>
                      <a:schemeClr val="tx2">
                        <a:lumMod val="60000"/>
                        <a:lumOff val="40000"/>
                      </a:schemeClr>
                    </a:solidFill>
                  </a:tcPr>
                </a:tc>
              </a:tr>
              <a:tr h="298377">
                <a:tc>
                  <a:txBody>
                    <a:bodyPr/>
                    <a:lstStyle/>
                    <a:p>
                      <a:pPr marL="0" indent="-285750">
                        <a:buFont typeface="Wingdings" pitchFamily="2" charset="2"/>
                        <a:buChar char="Ø"/>
                      </a:pPr>
                      <a:r>
                        <a:rPr lang="id-ID" sz="1500" dirty="0" smtClean="0">
                          <a:latin typeface="Bookman Old Style" pitchFamily="18" charset="0"/>
                        </a:rPr>
                        <a:t>DBH</a:t>
                      </a:r>
                      <a:endParaRPr lang="id-ID" sz="1500" dirty="0">
                        <a:latin typeface="Bookman Old Style" pitchFamily="18" charset="0"/>
                      </a:endParaRPr>
                    </a:p>
                  </a:txBody>
                  <a:tcPr marL="121887" marR="121887"/>
                </a:tc>
              </a:tr>
              <a:tr h="298377">
                <a:tc>
                  <a:txBody>
                    <a:bodyPr/>
                    <a:lstStyle/>
                    <a:p>
                      <a:pPr marL="0" indent="-285750">
                        <a:buFont typeface="Wingdings" pitchFamily="2" charset="2"/>
                        <a:buChar char="Ø"/>
                      </a:pPr>
                      <a:r>
                        <a:rPr lang="id-ID" sz="1500" dirty="0" smtClean="0">
                          <a:latin typeface="Bookman Old Style" pitchFamily="18" charset="0"/>
                        </a:rPr>
                        <a:t>DAU </a:t>
                      </a:r>
                      <a:endParaRPr lang="id-ID" sz="1500" dirty="0">
                        <a:latin typeface="Bookman Old Style" pitchFamily="18" charset="0"/>
                      </a:endParaRPr>
                    </a:p>
                  </a:txBody>
                  <a:tcPr marL="121887" marR="121887"/>
                </a:tc>
              </a:tr>
              <a:tr h="298377">
                <a:tc>
                  <a:txBody>
                    <a:bodyPr/>
                    <a:lstStyle/>
                    <a:p>
                      <a:pPr marL="0" indent="-285750">
                        <a:buFont typeface="Wingdings" pitchFamily="2" charset="2"/>
                        <a:buChar char="Ø"/>
                      </a:pPr>
                      <a:r>
                        <a:rPr lang="id-ID" sz="1500" dirty="0" smtClean="0">
                          <a:latin typeface="Bookman Old Style" pitchFamily="18" charset="0"/>
                        </a:rPr>
                        <a:t>DAK </a:t>
                      </a:r>
                      <a:endParaRPr lang="id-ID" sz="1500" dirty="0">
                        <a:latin typeface="Bookman Old Style" pitchFamily="18" charset="0"/>
                      </a:endParaRPr>
                    </a:p>
                  </a:txBody>
                  <a:tcPr marL="121887" marR="121887"/>
                </a:tc>
              </a:tr>
              <a:tr h="298377">
                <a:tc>
                  <a:txBody>
                    <a:bodyPr/>
                    <a:lstStyle/>
                    <a:p>
                      <a:pPr marL="0" indent="0">
                        <a:buFont typeface="Wingdings" pitchFamily="2" charset="2"/>
                        <a:buNone/>
                      </a:pPr>
                      <a:r>
                        <a:rPr lang="id-ID" sz="1500" b="1" kern="1200" dirty="0" smtClean="0">
                          <a:solidFill>
                            <a:schemeClr val="lt1"/>
                          </a:solidFill>
                          <a:latin typeface="Bookman Old Style" pitchFamily="18" charset="0"/>
                          <a:ea typeface="+mn-ea"/>
                          <a:cs typeface="+mn-cs"/>
                        </a:rPr>
                        <a:t>LAIN 2 PD YG SAH </a:t>
                      </a:r>
                      <a:endParaRPr lang="id-ID" sz="1500" b="1" kern="1200" dirty="0">
                        <a:solidFill>
                          <a:schemeClr val="lt1"/>
                        </a:solidFill>
                        <a:latin typeface="Bookman Old Style" pitchFamily="18" charset="0"/>
                        <a:ea typeface="+mn-ea"/>
                        <a:cs typeface="+mn-cs"/>
                      </a:endParaRPr>
                    </a:p>
                  </a:txBody>
                  <a:tcPr marL="121887" marR="121887">
                    <a:solidFill>
                      <a:schemeClr val="tx2">
                        <a:lumMod val="60000"/>
                        <a:lumOff val="40000"/>
                      </a:schemeClr>
                    </a:solidFill>
                  </a:tcPr>
                </a:tc>
              </a:tr>
              <a:tr h="298377">
                <a:tc>
                  <a:txBody>
                    <a:bodyPr/>
                    <a:lstStyle/>
                    <a:p>
                      <a:pPr marL="0" indent="-285750">
                        <a:buFont typeface="Wingdings" pitchFamily="2" charset="2"/>
                        <a:buChar char="Ø"/>
                      </a:pPr>
                      <a:r>
                        <a:rPr lang="id-ID" sz="1500" dirty="0" smtClean="0">
                          <a:latin typeface="Bookman Old Style" pitchFamily="18" charset="0"/>
                        </a:rPr>
                        <a:t>Hibah</a:t>
                      </a:r>
                      <a:endParaRPr lang="id-ID" sz="1500" dirty="0">
                        <a:latin typeface="Bookman Old Style" pitchFamily="18" charset="0"/>
                      </a:endParaRPr>
                    </a:p>
                  </a:txBody>
                  <a:tcPr marL="121887" marR="121887"/>
                </a:tc>
              </a:tr>
              <a:tr h="298377">
                <a:tc>
                  <a:txBody>
                    <a:bodyPr/>
                    <a:lstStyle/>
                    <a:p>
                      <a:pPr marL="0" indent="-285750">
                        <a:buFont typeface="Wingdings" pitchFamily="2" charset="2"/>
                        <a:buChar char="Ø"/>
                      </a:pPr>
                      <a:r>
                        <a:rPr lang="id-ID" sz="1500" dirty="0" smtClean="0">
                          <a:latin typeface="Bookman Old Style" pitchFamily="18" charset="0"/>
                        </a:rPr>
                        <a:t>Bantuan</a:t>
                      </a:r>
                      <a:r>
                        <a:rPr lang="id-ID" sz="1500" baseline="0" dirty="0" smtClean="0">
                          <a:latin typeface="Bookman Old Style" pitchFamily="18" charset="0"/>
                        </a:rPr>
                        <a:t> Keuangan</a:t>
                      </a:r>
                      <a:endParaRPr lang="id-ID" sz="1500" dirty="0">
                        <a:latin typeface="Bookman Old Style" pitchFamily="18" charset="0"/>
                      </a:endParaRPr>
                    </a:p>
                  </a:txBody>
                  <a:tcPr marL="121887" marR="121887"/>
                </a:tc>
              </a:tr>
              <a:tr h="298377">
                <a:tc>
                  <a:txBody>
                    <a:bodyPr/>
                    <a:lstStyle/>
                    <a:p>
                      <a:pPr marL="0" indent="-285750">
                        <a:buFont typeface="Wingdings" pitchFamily="2" charset="2"/>
                        <a:buChar char="Ø"/>
                      </a:pPr>
                      <a:r>
                        <a:rPr lang="id-ID" sz="1500" dirty="0" smtClean="0">
                          <a:latin typeface="Bookman Old Style" pitchFamily="18" charset="0"/>
                        </a:rPr>
                        <a:t>Dana Darurat</a:t>
                      </a:r>
                      <a:endParaRPr lang="id-ID" sz="1500" dirty="0">
                        <a:latin typeface="Bookman Old Style" pitchFamily="18" charset="0"/>
                      </a:endParaRPr>
                    </a:p>
                  </a:txBody>
                  <a:tcPr marL="121887" marR="121887"/>
                </a:tc>
              </a:tr>
              <a:tr h="298377">
                <a:tc>
                  <a:txBody>
                    <a:bodyPr/>
                    <a:lstStyle/>
                    <a:p>
                      <a:pPr marL="0" indent="-285750">
                        <a:buFont typeface="Wingdings" pitchFamily="2" charset="2"/>
                        <a:buChar char="Ø"/>
                      </a:pPr>
                      <a:r>
                        <a:rPr lang="id-ID" sz="1500" dirty="0" smtClean="0">
                          <a:latin typeface="Bookman Old Style" pitchFamily="18" charset="0"/>
                        </a:rPr>
                        <a:t>Dana Penyesuain</a:t>
                      </a:r>
                      <a:endParaRPr lang="id-ID" sz="1500" dirty="0">
                        <a:latin typeface="Bookman Old Style" pitchFamily="18" charset="0"/>
                      </a:endParaRPr>
                    </a:p>
                  </a:txBody>
                  <a:tcPr marL="121887" marR="121887"/>
                </a:tc>
              </a:tr>
            </a:tbl>
          </a:graphicData>
        </a:graphic>
      </p:graphicFrame>
      <p:graphicFrame>
        <p:nvGraphicFramePr>
          <p:cNvPr id="61" name="Table 60"/>
          <p:cNvGraphicFramePr>
            <a:graphicFrameLocks noGrp="1"/>
          </p:cNvGraphicFramePr>
          <p:nvPr/>
        </p:nvGraphicFramePr>
        <p:xfrm>
          <a:off x="4267201" y="2057401"/>
          <a:ext cx="3543300" cy="4648201"/>
        </p:xfrm>
        <a:graphic>
          <a:graphicData uri="http://schemas.openxmlformats.org/drawingml/2006/table">
            <a:tbl>
              <a:tblPr firstRow="1" bandRow="1">
                <a:tableStyleId>{F5AB1C69-6EDB-4FF4-983F-18BD219EF322}</a:tableStyleId>
              </a:tblPr>
              <a:tblGrid>
                <a:gridCol w="3543300"/>
              </a:tblGrid>
              <a:tr h="373213">
                <a:tc>
                  <a:txBody>
                    <a:bodyPr/>
                    <a:lstStyle/>
                    <a:p>
                      <a:pPr marL="0"/>
                      <a:r>
                        <a:rPr lang="id-ID" sz="1600" dirty="0" smtClean="0">
                          <a:latin typeface="Bookman Old Style" pitchFamily="18" charset="0"/>
                        </a:rPr>
                        <a:t>Belanja Tdk Langsung</a:t>
                      </a:r>
                      <a:endParaRPr lang="id-ID" sz="1600" dirty="0">
                        <a:latin typeface="Bookman Old Style" pitchFamily="18" charset="0"/>
                      </a:endParaRPr>
                    </a:p>
                  </a:txBody>
                  <a:tcPr marL="121887" marR="121887">
                    <a:solidFill>
                      <a:schemeClr val="accent3">
                        <a:lumMod val="75000"/>
                      </a:schemeClr>
                    </a:solidFill>
                  </a:tcPr>
                </a:tc>
              </a:tr>
              <a:tr h="356249">
                <a:tc>
                  <a:txBody>
                    <a:bodyPr/>
                    <a:lstStyle/>
                    <a:p>
                      <a:pPr marL="0" indent="-285750">
                        <a:buFont typeface="Wingdings" pitchFamily="2" charset="2"/>
                        <a:buChar char="Ø"/>
                      </a:pPr>
                      <a:r>
                        <a:rPr lang="id-ID" sz="1500" dirty="0" smtClean="0">
                          <a:latin typeface="Bookman Old Style" pitchFamily="18" charset="0"/>
                        </a:rPr>
                        <a:t>B. Pegawai</a:t>
                      </a:r>
                      <a:endParaRPr lang="id-ID" sz="1500" dirty="0">
                        <a:latin typeface="Bookman Old Style" pitchFamily="18" charset="0"/>
                      </a:endParaRPr>
                    </a:p>
                  </a:txBody>
                  <a:tcPr marL="121887" marR="121887"/>
                </a:tc>
              </a:tr>
              <a:tr h="356249">
                <a:tc>
                  <a:txBody>
                    <a:bodyPr/>
                    <a:lstStyle/>
                    <a:p>
                      <a:pPr marL="0" indent="-285750">
                        <a:buFont typeface="Wingdings" pitchFamily="2" charset="2"/>
                        <a:buChar char="Ø"/>
                      </a:pPr>
                      <a:r>
                        <a:rPr lang="id-ID" sz="1500" dirty="0" smtClean="0">
                          <a:latin typeface="Bookman Old Style" pitchFamily="18" charset="0"/>
                        </a:rPr>
                        <a:t>B. Bunga</a:t>
                      </a:r>
                      <a:endParaRPr lang="id-ID" sz="1500" dirty="0">
                        <a:latin typeface="Bookman Old Style" pitchFamily="18" charset="0"/>
                      </a:endParaRPr>
                    </a:p>
                  </a:txBody>
                  <a:tcPr marL="121887" marR="121887"/>
                </a:tc>
              </a:tr>
              <a:tr h="356249">
                <a:tc>
                  <a:txBody>
                    <a:bodyPr/>
                    <a:lstStyle/>
                    <a:p>
                      <a:pPr marL="0" indent="-268288">
                        <a:buFont typeface="Wingdings" pitchFamily="2" charset="2"/>
                        <a:buChar char="Ø"/>
                      </a:pPr>
                      <a:r>
                        <a:rPr lang="id-ID" sz="1500" dirty="0" smtClean="0">
                          <a:latin typeface="Bookman Old Style" pitchFamily="18" charset="0"/>
                        </a:rPr>
                        <a:t>B. Subsidi</a:t>
                      </a:r>
                      <a:endParaRPr lang="id-ID" sz="1500" dirty="0">
                        <a:latin typeface="Bookman Old Style" pitchFamily="18" charset="0"/>
                      </a:endParaRPr>
                    </a:p>
                  </a:txBody>
                  <a:tcPr marL="121887" marR="121887"/>
                </a:tc>
              </a:tr>
              <a:tr h="356249">
                <a:tc>
                  <a:txBody>
                    <a:bodyPr/>
                    <a:lstStyle/>
                    <a:p>
                      <a:pPr marL="0" indent="-285750">
                        <a:buFont typeface="Wingdings" pitchFamily="2" charset="2"/>
                        <a:buChar char="Ø"/>
                      </a:pPr>
                      <a:r>
                        <a:rPr lang="id-ID" sz="1500" dirty="0" smtClean="0">
                          <a:latin typeface="Bookman Old Style" pitchFamily="18" charset="0"/>
                        </a:rPr>
                        <a:t>B. Hibah</a:t>
                      </a:r>
                      <a:endParaRPr lang="id-ID" sz="1500" dirty="0">
                        <a:latin typeface="Bookman Old Style" pitchFamily="18" charset="0"/>
                      </a:endParaRPr>
                    </a:p>
                  </a:txBody>
                  <a:tcPr marL="121887" marR="121887"/>
                </a:tc>
              </a:tr>
              <a:tr h="356249">
                <a:tc>
                  <a:txBody>
                    <a:bodyPr/>
                    <a:lstStyle/>
                    <a:p>
                      <a:pPr marL="285750" indent="-285750">
                        <a:buFont typeface="Wingdings" pitchFamily="2" charset="2"/>
                        <a:buChar char="Ø"/>
                      </a:pPr>
                      <a:r>
                        <a:rPr lang="id-ID" sz="1500" kern="1200" dirty="0" smtClean="0">
                          <a:solidFill>
                            <a:schemeClr val="dk1"/>
                          </a:solidFill>
                          <a:latin typeface="Bookman Old Style" pitchFamily="18" charset="0"/>
                          <a:ea typeface="+mn-ea"/>
                          <a:cs typeface="+mn-cs"/>
                        </a:rPr>
                        <a:t>B. Bantuan Sosial</a:t>
                      </a:r>
                      <a:endParaRPr lang="id-ID" sz="1500" b="1" kern="1200" dirty="0">
                        <a:solidFill>
                          <a:schemeClr val="lt1"/>
                        </a:solidFill>
                        <a:latin typeface="Bookman Old Style" pitchFamily="18" charset="0"/>
                        <a:ea typeface="+mn-ea"/>
                        <a:cs typeface="+mn-cs"/>
                      </a:endParaRPr>
                    </a:p>
                  </a:txBody>
                  <a:tcPr marL="121887" marR="121887"/>
                </a:tc>
              </a:tr>
              <a:tr h="356249">
                <a:tc>
                  <a:txBody>
                    <a:bodyPr/>
                    <a:lstStyle/>
                    <a:p>
                      <a:pPr marL="0" indent="-285750">
                        <a:buFont typeface="Wingdings" pitchFamily="2" charset="2"/>
                        <a:buChar char="Ø"/>
                      </a:pPr>
                      <a:r>
                        <a:rPr lang="id-ID" sz="1500" dirty="0" smtClean="0">
                          <a:latin typeface="Bookman Old Style" pitchFamily="18" charset="0"/>
                        </a:rPr>
                        <a:t>B. Bagi Hasil </a:t>
                      </a:r>
                      <a:endParaRPr lang="id-ID" sz="1500" dirty="0">
                        <a:latin typeface="Bookman Old Style" pitchFamily="18" charset="0"/>
                      </a:endParaRPr>
                    </a:p>
                  </a:txBody>
                  <a:tcPr marL="121887" marR="121887"/>
                </a:tc>
              </a:tr>
              <a:tr h="356249">
                <a:tc>
                  <a:txBody>
                    <a:bodyPr/>
                    <a:lstStyle/>
                    <a:p>
                      <a:pPr marL="0" indent="-285750">
                        <a:buFont typeface="Wingdings" pitchFamily="2" charset="2"/>
                        <a:buChar char="Ø"/>
                      </a:pPr>
                      <a:r>
                        <a:rPr lang="id-ID" sz="1500" dirty="0" smtClean="0">
                          <a:latin typeface="Bookman Old Style" pitchFamily="18" charset="0"/>
                        </a:rPr>
                        <a:t>B. Bantuan Keuangan</a:t>
                      </a:r>
                      <a:endParaRPr lang="id-ID" sz="1500" dirty="0">
                        <a:latin typeface="Bookman Old Style" pitchFamily="18" charset="0"/>
                      </a:endParaRPr>
                    </a:p>
                  </a:txBody>
                  <a:tcPr marL="121887" marR="121887"/>
                </a:tc>
              </a:tr>
              <a:tr h="356249">
                <a:tc>
                  <a:txBody>
                    <a:bodyPr/>
                    <a:lstStyle/>
                    <a:p>
                      <a:pPr marL="0" indent="-285750">
                        <a:buFont typeface="Wingdings" pitchFamily="2" charset="2"/>
                        <a:buChar char="Ø"/>
                      </a:pPr>
                      <a:r>
                        <a:rPr lang="id-ID" sz="1500" dirty="0" smtClean="0">
                          <a:latin typeface="Bookman Old Style" pitchFamily="18" charset="0"/>
                        </a:rPr>
                        <a:t>B. Tidak Terduga</a:t>
                      </a:r>
                      <a:endParaRPr lang="id-ID" sz="1500" dirty="0">
                        <a:latin typeface="Bookman Old Style" pitchFamily="18" charset="0"/>
                      </a:endParaRPr>
                    </a:p>
                  </a:txBody>
                  <a:tcPr marL="121887" marR="121887"/>
                </a:tc>
              </a:tr>
              <a:tr h="356249">
                <a:tc>
                  <a:txBody>
                    <a:bodyPr/>
                    <a:lstStyle/>
                    <a:p>
                      <a:pPr marL="0" indent="0">
                        <a:buFont typeface="Wingdings" pitchFamily="2" charset="2"/>
                        <a:buNone/>
                      </a:pPr>
                      <a:r>
                        <a:rPr lang="id-ID" sz="1500" b="1" kern="1200" dirty="0" smtClean="0">
                          <a:solidFill>
                            <a:schemeClr val="bg1"/>
                          </a:solidFill>
                          <a:latin typeface="Bookman Old Style" pitchFamily="18" charset="0"/>
                        </a:rPr>
                        <a:t>Belanja Langsung</a:t>
                      </a:r>
                      <a:endParaRPr lang="id-ID" sz="1500" b="1" kern="1200" dirty="0">
                        <a:solidFill>
                          <a:schemeClr val="bg1"/>
                        </a:solidFill>
                        <a:latin typeface="Bookman Old Style" pitchFamily="18" charset="0"/>
                        <a:ea typeface="+mn-ea"/>
                        <a:cs typeface="+mn-cs"/>
                      </a:endParaRPr>
                    </a:p>
                  </a:txBody>
                  <a:tcPr marL="121887" marR="121887">
                    <a:solidFill>
                      <a:schemeClr val="accent3">
                        <a:lumMod val="75000"/>
                      </a:schemeClr>
                    </a:solidFill>
                  </a:tcPr>
                </a:tc>
              </a:tr>
              <a:tr h="356249">
                <a:tc>
                  <a:txBody>
                    <a:bodyPr/>
                    <a:lstStyle/>
                    <a:p>
                      <a:pPr marL="0" indent="-285750">
                        <a:buFont typeface="Wingdings" pitchFamily="2" charset="2"/>
                        <a:buChar char="Ø"/>
                      </a:pPr>
                      <a:r>
                        <a:rPr lang="id-ID" sz="1500" dirty="0" smtClean="0">
                          <a:latin typeface="Bookman Old Style" pitchFamily="18" charset="0"/>
                        </a:rPr>
                        <a:t>B. Pegawai</a:t>
                      </a:r>
                      <a:endParaRPr lang="id-ID" sz="1500" dirty="0">
                        <a:latin typeface="Bookman Old Style" pitchFamily="18" charset="0"/>
                      </a:endParaRPr>
                    </a:p>
                  </a:txBody>
                  <a:tcPr marL="121887" marR="121887"/>
                </a:tc>
              </a:tr>
              <a:tr h="356249">
                <a:tc>
                  <a:txBody>
                    <a:bodyPr/>
                    <a:lstStyle/>
                    <a:p>
                      <a:pPr marL="0" indent="-285750">
                        <a:buFont typeface="Wingdings" pitchFamily="2" charset="2"/>
                        <a:buChar char="Ø"/>
                      </a:pPr>
                      <a:r>
                        <a:rPr lang="id-ID" sz="1500" dirty="0" smtClean="0">
                          <a:latin typeface="Bookman Old Style" pitchFamily="18" charset="0"/>
                        </a:rPr>
                        <a:t>B. Barang &amp; Jasa</a:t>
                      </a:r>
                      <a:endParaRPr lang="id-ID" sz="1500" dirty="0">
                        <a:latin typeface="Bookman Old Style" pitchFamily="18" charset="0"/>
                      </a:endParaRPr>
                    </a:p>
                  </a:txBody>
                  <a:tcPr marL="121887" marR="121887"/>
                </a:tc>
              </a:tr>
              <a:tr h="356249">
                <a:tc>
                  <a:txBody>
                    <a:bodyPr/>
                    <a:lstStyle/>
                    <a:p>
                      <a:pPr marL="0" indent="-285750">
                        <a:buFont typeface="Wingdings" pitchFamily="2" charset="2"/>
                        <a:buChar char="Ø"/>
                      </a:pPr>
                      <a:r>
                        <a:rPr lang="id-ID" sz="1500" dirty="0" smtClean="0">
                          <a:latin typeface="Bookman Old Style" pitchFamily="18" charset="0"/>
                        </a:rPr>
                        <a:t>B. Modal</a:t>
                      </a:r>
                      <a:endParaRPr lang="id-ID" sz="1500" dirty="0">
                        <a:latin typeface="Bookman Old Style" pitchFamily="18" charset="0"/>
                      </a:endParaRPr>
                    </a:p>
                  </a:txBody>
                  <a:tcPr marL="121887" marR="121887"/>
                </a:tc>
              </a:tr>
            </a:tbl>
          </a:graphicData>
        </a:graphic>
      </p:graphicFrame>
      <p:graphicFrame>
        <p:nvGraphicFramePr>
          <p:cNvPr id="62" name="Table 61"/>
          <p:cNvGraphicFramePr>
            <a:graphicFrameLocks noGrp="1"/>
          </p:cNvGraphicFramePr>
          <p:nvPr>
            <p:extLst>
              <p:ext uri="{D42A27DB-BD31-4B8C-83A1-F6EECF244321}">
                <p14:modId xmlns:p14="http://schemas.microsoft.com/office/powerpoint/2010/main" val="3869093560"/>
              </p:ext>
            </p:extLst>
          </p:nvPr>
        </p:nvGraphicFramePr>
        <p:xfrm>
          <a:off x="8396818" y="2025650"/>
          <a:ext cx="3543300" cy="4676774"/>
        </p:xfrm>
        <a:graphic>
          <a:graphicData uri="http://schemas.openxmlformats.org/drawingml/2006/table">
            <a:tbl>
              <a:tblPr firstRow="1" bandRow="1">
                <a:tableStyleId>{7DF18680-E054-41AD-8BC1-D1AEF772440D}</a:tableStyleId>
              </a:tblPr>
              <a:tblGrid>
                <a:gridCol w="3543300"/>
              </a:tblGrid>
              <a:tr h="373216">
                <a:tc>
                  <a:txBody>
                    <a:bodyPr/>
                    <a:lstStyle/>
                    <a:p>
                      <a:pPr marL="0"/>
                      <a:r>
                        <a:rPr lang="id-ID" sz="1500" dirty="0" smtClean="0">
                          <a:latin typeface="Bookman Old Style" pitchFamily="18" charset="0"/>
                        </a:rPr>
                        <a:t>Penerimaan Pembiayaan </a:t>
                      </a:r>
                      <a:endParaRPr lang="id-ID" sz="1500" dirty="0">
                        <a:latin typeface="Bookman Old Style" pitchFamily="18" charset="0"/>
                      </a:endParaRPr>
                    </a:p>
                  </a:txBody>
                  <a:tcPr marL="121887" marR="121887"/>
                </a:tc>
              </a:tr>
              <a:tr h="356252">
                <a:tc>
                  <a:txBody>
                    <a:bodyPr/>
                    <a:lstStyle/>
                    <a:p>
                      <a:pPr marL="0" indent="0" algn="just">
                        <a:buFont typeface="Wingdings" pitchFamily="2" charset="2"/>
                        <a:buChar char="Ø"/>
                      </a:pPr>
                      <a:r>
                        <a:rPr lang="en-US" sz="1500" baseline="0" dirty="0" smtClean="0">
                          <a:latin typeface="Bookman Old Style" pitchFamily="18" charset="0"/>
                        </a:rPr>
                        <a:t>  </a:t>
                      </a:r>
                      <a:r>
                        <a:rPr lang="id-ID" sz="1500" baseline="0" dirty="0" smtClean="0">
                          <a:latin typeface="Bookman Old Style" pitchFamily="18" charset="0"/>
                        </a:rPr>
                        <a:t>SiLPA</a:t>
                      </a:r>
                      <a:endParaRPr lang="id-ID" sz="1500" dirty="0">
                        <a:latin typeface="Bookman Old Style" pitchFamily="18" charset="0"/>
                      </a:endParaRPr>
                    </a:p>
                  </a:txBody>
                  <a:tcPr marL="121887" marR="121887"/>
                </a:tc>
              </a:tr>
              <a:tr h="356252">
                <a:tc>
                  <a:txBody>
                    <a:bodyPr/>
                    <a:lstStyle/>
                    <a:p>
                      <a:pPr marL="0" indent="-285750">
                        <a:buFont typeface="Wingdings" pitchFamily="2" charset="2"/>
                        <a:buChar char="Ø"/>
                      </a:pPr>
                      <a:r>
                        <a:rPr lang="id-ID" sz="1500" dirty="0" smtClean="0">
                          <a:latin typeface="Bookman Old Style" pitchFamily="18" charset="0"/>
                        </a:rPr>
                        <a:t>Pencairan</a:t>
                      </a:r>
                      <a:r>
                        <a:rPr lang="id-ID" sz="1500" baseline="0" dirty="0" smtClean="0">
                          <a:latin typeface="Bookman Old Style" pitchFamily="18" charset="0"/>
                        </a:rPr>
                        <a:t> d. cadangan</a:t>
                      </a:r>
                      <a:endParaRPr lang="id-ID" sz="1500" dirty="0">
                        <a:latin typeface="Bookman Old Style" pitchFamily="18" charset="0"/>
                      </a:endParaRPr>
                    </a:p>
                  </a:txBody>
                  <a:tcPr marL="121887" marR="121887"/>
                </a:tc>
              </a:tr>
              <a:tr h="356252">
                <a:tc>
                  <a:txBody>
                    <a:bodyPr/>
                    <a:lstStyle/>
                    <a:p>
                      <a:pPr marL="0" indent="-268288">
                        <a:buFont typeface="Wingdings" pitchFamily="2" charset="2"/>
                        <a:buChar char="Ø"/>
                      </a:pPr>
                      <a:r>
                        <a:rPr lang="id-ID" sz="1500" baseline="0" dirty="0" smtClean="0">
                          <a:latin typeface="Bookman Old Style" pitchFamily="18" charset="0"/>
                        </a:rPr>
                        <a:t>Penj  yang dipisahkan</a:t>
                      </a:r>
                      <a:endParaRPr lang="id-ID" sz="1500" dirty="0">
                        <a:latin typeface="Bookman Old Style" pitchFamily="18" charset="0"/>
                      </a:endParaRPr>
                    </a:p>
                  </a:txBody>
                  <a:tcPr marL="121887" marR="121887"/>
                </a:tc>
              </a:tr>
              <a:tr h="356252">
                <a:tc>
                  <a:txBody>
                    <a:bodyPr/>
                    <a:lstStyle/>
                    <a:p>
                      <a:pPr marL="0" indent="-285750">
                        <a:buFont typeface="Wingdings" pitchFamily="2" charset="2"/>
                        <a:buChar char="Ø"/>
                      </a:pPr>
                      <a:r>
                        <a:rPr lang="id-ID" sz="1500" dirty="0" smtClean="0">
                          <a:latin typeface="Bookman Old Style" pitchFamily="18" charset="0"/>
                        </a:rPr>
                        <a:t>Penerimaan</a:t>
                      </a:r>
                      <a:r>
                        <a:rPr lang="id-ID" sz="1500" baseline="0" dirty="0" smtClean="0">
                          <a:latin typeface="Bookman Old Style" pitchFamily="18" charset="0"/>
                        </a:rPr>
                        <a:t> pinjaman </a:t>
                      </a:r>
                      <a:endParaRPr lang="id-ID" sz="1500" dirty="0">
                        <a:latin typeface="Bookman Old Style" pitchFamily="18" charset="0"/>
                      </a:endParaRPr>
                    </a:p>
                  </a:txBody>
                  <a:tcPr marL="121887" marR="121887"/>
                </a:tc>
              </a:tr>
              <a:tr h="548645">
                <a:tc>
                  <a:txBody>
                    <a:bodyPr/>
                    <a:lstStyle/>
                    <a:p>
                      <a:pPr marL="285750" indent="-285750">
                        <a:buFont typeface="Wingdings" pitchFamily="2" charset="2"/>
                        <a:buChar char="Ø"/>
                      </a:pPr>
                      <a:r>
                        <a:rPr lang="id-ID" sz="1500" b="0" kern="1200" dirty="0" smtClean="0">
                          <a:solidFill>
                            <a:schemeClr val="dk1"/>
                          </a:solidFill>
                          <a:latin typeface="Bookman Old Style" pitchFamily="18" charset="0"/>
                          <a:ea typeface="+mn-ea"/>
                          <a:cs typeface="+mn-cs"/>
                        </a:rPr>
                        <a:t>Penerimaan</a:t>
                      </a:r>
                      <a:r>
                        <a:rPr lang="id-ID" sz="1500" b="0" kern="1200" baseline="0" dirty="0" smtClean="0">
                          <a:solidFill>
                            <a:schemeClr val="dk1"/>
                          </a:solidFill>
                          <a:latin typeface="Bookman Old Style" pitchFamily="18" charset="0"/>
                          <a:ea typeface="+mn-ea"/>
                          <a:cs typeface="+mn-cs"/>
                        </a:rPr>
                        <a:t> kembali pemberian pinjaman</a:t>
                      </a:r>
                      <a:endParaRPr lang="id-ID" sz="1500" b="1" kern="1200" dirty="0">
                        <a:solidFill>
                          <a:schemeClr val="lt1"/>
                        </a:solidFill>
                        <a:latin typeface="Bookman Old Style" pitchFamily="18" charset="0"/>
                        <a:ea typeface="+mn-ea"/>
                        <a:cs typeface="+mn-cs"/>
                      </a:endParaRPr>
                    </a:p>
                  </a:txBody>
                  <a:tcPr marL="121887" marR="121887"/>
                </a:tc>
              </a:tr>
              <a:tr h="356252">
                <a:tc>
                  <a:txBody>
                    <a:bodyPr/>
                    <a:lstStyle/>
                    <a:p>
                      <a:pPr marL="0" indent="-285750">
                        <a:buFont typeface="Wingdings" pitchFamily="2" charset="2"/>
                        <a:buChar char="Ø"/>
                      </a:pPr>
                      <a:r>
                        <a:rPr lang="id-ID" sz="1500" dirty="0" smtClean="0">
                          <a:latin typeface="Bookman Old Style" pitchFamily="18" charset="0"/>
                        </a:rPr>
                        <a:t>Penerimaan piutang</a:t>
                      </a:r>
                      <a:endParaRPr lang="id-ID" sz="1500" dirty="0">
                        <a:latin typeface="Bookman Old Style" pitchFamily="18" charset="0"/>
                      </a:endParaRPr>
                    </a:p>
                  </a:txBody>
                  <a:tcPr marL="121887" marR="121887"/>
                </a:tc>
              </a:tr>
              <a:tr h="356252">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d-ID" sz="1500" dirty="0" smtClean="0">
                          <a:solidFill>
                            <a:schemeClr val="bg1"/>
                          </a:solidFill>
                          <a:latin typeface="Bookman Old Style" pitchFamily="18" charset="0"/>
                        </a:rPr>
                        <a:t>Penerimaan Pembiayaan </a:t>
                      </a:r>
                    </a:p>
                  </a:txBody>
                  <a:tcPr marL="121887" marR="121887">
                    <a:solidFill>
                      <a:schemeClr val="accent5"/>
                    </a:solidFill>
                  </a:tcPr>
                </a:tc>
              </a:tr>
              <a:tr h="548645">
                <a:tc>
                  <a:txBody>
                    <a:bodyPr/>
                    <a:lstStyle/>
                    <a:p>
                      <a:pPr marL="285750" indent="-285750">
                        <a:buFont typeface="Wingdings" pitchFamily="2" charset="2"/>
                        <a:buChar char="Ø"/>
                      </a:pPr>
                      <a:r>
                        <a:rPr lang="id-ID" sz="1500" dirty="0" smtClean="0">
                          <a:latin typeface="Bookman Old Style" pitchFamily="18" charset="0"/>
                        </a:rPr>
                        <a:t>Pembentukan</a:t>
                      </a:r>
                      <a:r>
                        <a:rPr lang="id-ID" sz="1500" baseline="0" dirty="0" smtClean="0">
                          <a:latin typeface="Bookman Old Style" pitchFamily="18" charset="0"/>
                        </a:rPr>
                        <a:t> dana cadangan</a:t>
                      </a:r>
                      <a:endParaRPr lang="id-ID" sz="1500" dirty="0">
                        <a:latin typeface="Bookman Old Style" pitchFamily="18" charset="0"/>
                      </a:endParaRPr>
                    </a:p>
                  </a:txBody>
                  <a:tcPr marL="121887" marR="121887"/>
                </a:tc>
              </a:tr>
              <a:tr h="356252">
                <a:tc>
                  <a:txBody>
                    <a:bodyPr/>
                    <a:lstStyle/>
                    <a:p>
                      <a:pPr marL="285750" indent="-285750">
                        <a:buFont typeface="Wingdings" pitchFamily="2" charset="2"/>
                        <a:buChar char="Ø"/>
                      </a:pPr>
                      <a:r>
                        <a:rPr lang="id-ID" sz="1500" b="0" kern="1200" dirty="0" smtClean="0">
                          <a:solidFill>
                            <a:schemeClr val="dk1"/>
                          </a:solidFill>
                          <a:latin typeface="Bookman Old Style" pitchFamily="18" charset="0"/>
                          <a:ea typeface="+mn-ea"/>
                          <a:cs typeface="+mn-cs"/>
                        </a:rPr>
                        <a:t>Penyertaan</a:t>
                      </a:r>
                      <a:r>
                        <a:rPr lang="id-ID" sz="1500" b="0" kern="1200" baseline="0" dirty="0" smtClean="0">
                          <a:solidFill>
                            <a:schemeClr val="dk1"/>
                          </a:solidFill>
                          <a:latin typeface="Bookman Old Style" pitchFamily="18" charset="0"/>
                          <a:ea typeface="+mn-ea"/>
                          <a:cs typeface="+mn-cs"/>
                        </a:rPr>
                        <a:t> modal</a:t>
                      </a:r>
                      <a:endParaRPr lang="id-ID" sz="1500" b="1" kern="1200" dirty="0">
                        <a:solidFill>
                          <a:schemeClr val="bg1"/>
                        </a:solidFill>
                        <a:latin typeface="Bookman Old Style" pitchFamily="18" charset="0"/>
                        <a:ea typeface="+mn-ea"/>
                        <a:cs typeface="+mn-cs"/>
                      </a:endParaRPr>
                    </a:p>
                  </a:txBody>
                  <a:tcPr marL="121887" marR="121887"/>
                </a:tc>
              </a:tr>
              <a:tr h="356252">
                <a:tc>
                  <a:txBody>
                    <a:bodyPr/>
                    <a:lstStyle/>
                    <a:p>
                      <a:pPr marL="0" indent="-285750">
                        <a:buFont typeface="Wingdings" pitchFamily="2" charset="2"/>
                        <a:buChar char="Ø"/>
                      </a:pPr>
                      <a:r>
                        <a:rPr lang="id-ID" sz="1500" dirty="0" smtClean="0">
                          <a:latin typeface="Bookman Old Style" pitchFamily="18" charset="0"/>
                        </a:rPr>
                        <a:t>Pembayaran</a:t>
                      </a:r>
                      <a:r>
                        <a:rPr lang="id-ID" sz="1500" baseline="0" dirty="0" smtClean="0">
                          <a:latin typeface="Bookman Old Style" pitchFamily="18" charset="0"/>
                        </a:rPr>
                        <a:t> hutang</a:t>
                      </a:r>
                      <a:endParaRPr lang="id-ID" sz="1500" dirty="0">
                        <a:latin typeface="Bookman Old Style" pitchFamily="18" charset="0"/>
                      </a:endParaRPr>
                    </a:p>
                  </a:txBody>
                  <a:tcPr marL="121887" marR="121887"/>
                </a:tc>
              </a:tr>
              <a:tr h="356252">
                <a:tc>
                  <a:txBody>
                    <a:bodyPr/>
                    <a:lstStyle/>
                    <a:p>
                      <a:pPr marL="0" indent="-285750">
                        <a:buFont typeface="Wingdings" pitchFamily="2" charset="2"/>
                        <a:buChar char="Ø"/>
                      </a:pPr>
                      <a:r>
                        <a:rPr lang="id-ID" sz="1500" dirty="0" smtClean="0">
                          <a:latin typeface="Bookman Old Style" pitchFamily="18" charset="0"/>
                        </a:rPr>
                        <a:t>Pemberian</a:t>
                      </a:r>
                      <a:r>
                        <a:rPr lang="id-ID" sz="1500" baseline="0" dirty="0" smtClean="0">
                          <a:latin typeface="Bookman Old Style" pitchFamily="18" charset="0"/>
                        </a:rPr>
                        <a:t> pinjaman</a:t>
                      </a:r>
                      <a:endParaRPr lang="id-ID" sz="1500" dirty="0">
                        <a:latin typeface="Bookman Old Style" pitchFamily="18" charset="0"/>
                      </a:endParaRPr>
                    </a:p>
                  </a:txBody>
                  <a:tcPr marL="121887" marR="121887"/>
                </a:tc>
              </a:tr>
            </a:tbl>
          </a:graphicData>
        </a:graphic>
      </p:graphicFrame>
      <p:sp>
        <p:nvSpPr>
          <p:cNvPr id="18" name="Rectangle 17"/>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9" name="Rectangle 18"/>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STRUKTUR APBD</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227784912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20412" y="2024063"/>
            <a:ext cx="10704787" cy="4191000"/>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anchor="ctr"/>
          <a:lstStyle/>
          <a:p>
            <a:pPr marL="457200" indent="-457200" algn="just" fontAlgn="auto">
              <a:spcBef>
                <a:spcPts val="0"/>
              </a:spcBef>
              <a:spcAft>
                <a:spcPts val="0"/>
              </a:spcAft>
              <a:buSzPct val="125000"/>
              <a:buFont typeface="Arial" pitchFamily="34" charset="0"/>
              <a:buChar char="•"/>
              <a:tabLst>
                <a:tab pos="292100" algn="l"/>
              </a:tabLst>
              <a:defRPr/>
            </a:pPr>
            <a:r>
              <a:rPr lang="en-US" sz="3200" dirty="0" err="1" smtClean="0">
                <a:solidFill>
                  <a:srgbClr val="FF0000"/>
                </a:solidFill>
                <a:latin typeface="Agency FB" pitchFamily="34" charset="0"/>
              </a:rPr>
              <a:t>Pasal</a:t>
            </a:r>
            <a:r>
              <a:rPr lang="en-US" sz="3200" dirty="0" smtClean="0">
                <a:solidFill>
                  <a:srgbClr val="FF0000"/>
                </a:solidFill>
                <a:latin typeface="Agency FB" pitchFamily="34" charset="0"/>
              </a:rPr>
              <a:t> 26 </a:t>
            </a:r>
            <a:r>
              <a:rPr lang="en-US" sz="3200" dirty="0" err="1" smtClean="0">
                <a:solidFill>
                  <a:srgbClr val="FF0000"/>
                </a:solidFill>
                <a:latin typeface="Agency FB" pitchFamily="34" charset="0"/>
              </a:rPr>
              <a:t>ayat</a:t>
            </a:r>
            <a:r>
              <a:rPr lang="en-US" sz="3200" dirty="0" smtClean="0">
                <a:solidFill>
                  <a:srgbClr val="FF0000"/>
                </a:solidFill>
                <a:latin typeface="Agency FB" pitchFamily="34" charset="0"/>
              </a:rPr>
              <a:t> (1): </a:t>
            </a:r>
            <a:r>
              <a:rPr lang="en-US" sz="3200" dirty="0" err="1" smtClean="0">
                <a:latin typeface="Agency FB" pitchFamily="34" charset="0"/>
              </a:rPr>
              <a:t>Belanja</a:t>
            </a:r>
            <a:r>
              <a:rPr lang="en-US" sz="3200" dirty="0" smtClean="0">
                <a:latin typeface="Agency FB" pitchFamily="34" charset="0"/>
              </a:rPr>
              <a:t> </a:t>
            </a:r>
            <a:r>
              <a:rPr lang="en-US" sz="3200" dirty="0">
                <a:latin typeface="Agency FB" pitchFamily="34" charset="0"/>
              </a:rPr>
              <a:t>Daerah </a:t>
            </a:r>
            <a:r>
              <a:rPr lang="en-US" sz="3200" dirty="0" err="1">
                <a:latin typeface="Agency FB" pitchFamily="34" charset="0"/>
              </a:rPr>
              <a:t>dipergunakan</a:t>
            </a:r>
            <a:r>
              <a:rPr lang="en-US" sz="3200" dirty="0">
                <a:latin typeface="Agency FB" pitchFamily="34" charset="0"/>
              </a:rPr>
              <a:t> </a:t>
            </a:r>
            <a:r>
              <a:rPr lang="en-US" sz="3200" dirty="0" err="1">
                <a:latin typeface="Agency FB" pitchFamily="34" charset="0"/>
              </a:rPr>
              <a:t>dalam</a:t>
            </a:r>
            <a:r>
              <a:rPr lang="en-US" sz="3200" dirty="0">
                <a:latin typeface="Agency FB" pitchFamily="34" charset="0"/>
              </a:rPr>
              <a:t> </a:t>
            </a:r>
            <a:r>
              <a:rPr lang="en-US" sz="3200" dirty="0" err="1">
                <a:latin typeface="Agency FB" pitchFamily="34" charset="0"/>
              </a:rPr>
              <a:t>rangka</a:t>
            </a:r>
            <a:r>
              <a:rPr lang="en-US" sz="3200" dirty="0">
                <a:latin typeface="Agency FB" pitchFamily="34" charset="0"/>
              </a:rPr>
              <a:t> </a:t>
            </a:r>
            <a:r>
              <a:rPr lang="en-US" sz="3200" dirty="0" err="1">
                <a:latin typeface="Agency FB" pitchFamily="34" charset="0"/>
              </a:rPr>
              <a:t>pelaksanaan</a:t>
            </a:r>
            <a:r>
              <a:rPr lang="en-US" sz="3200" dirty="0">
                <a:latin typeface="Agency FB" pitchFamily="34" charset="0"/>
              </a:rPr>
              <a:t> </a:t>
            </a:r>
            <a:r>
              <a:rPr lang="en-US" sz="3200" dirty="0" err="1">
                <a:latin typeface="Agency FB" pitchFamily="34" charset="0"/>
              </a:rPr>
              <a:t>urusan</a:t>
            </a:r>
            <a:r>
              <a:rPr lang="en-US" sz="3200" dirty="0">
                <a:latin typeface="Agency FB" pitchFamily="34" charset="0"/>
              </a:rPr>
              <a:t> </a:t>
            </a:r>
            <a:r>
              <a:rPr lang="en-US" sz="3200" dirty="0" err="1">
                <a:latin typeface="Agency FB" pitchFamily="34" charset="0"/>
              </a:rPr>
              <a:t>pemerintahan</a:t>
            </a:r>
            <a:r>
              <a:rPr lang="en-US" sz="3200" dirty="0">
                <a:latin typeface="Agency FB" pitchFamily="34" charset="0"/>
              </a:rPr>
              <a:t> yang </a:t>
            </a:r>
            <a:r>
              <a:rPr lang="en-US" sz="3200" dirty="0" err="1">
                <a:latin typeface="Agency FB" pitchFamily="34" charset="0"/>
              </a:rPr>
              <a:t>menjadi</a:t>
            </a:r>
            <a:r>
              <a:rPr lang="en-US" sz="3200" dirty="0">
                <a:latin typeface="Agency FB" pitchFamily="34" charset="0"/>
              </a:rPr>
              <a:t> </a:t>
            </a:r>
            <a:r>
              <a:rPr lang="en-US" sz="3200" dirty="0" err="1">
                <a:latin typeface="Agency FB" pitchFamily="34" charset="0"/>
              </a:rPr>
              <a:t>kewenangan</a:t>
            </a:r>
            <a:r>
              <a:rPr lang="en-US" sz="3200" dirty="0">
                <a:latin typeface="Agency FB" pitchFamily="34" charset="0"/>
              </a:rPr>
              <a:t> </a:t>
            </a:r>
            <a:r>
              <a:rPr lang="en-US" sz="3200" dirty="0" err="1">
                <a:latin typeface="Agency FB" pitchFamily="34" charset="0"/>
              </a:rPr>
              <a:t>provinsi</a:t>
            </a:r>
            <a:r>
              <a:rPr lang="en-US" sz="3200" dirty="0">
                <a:latin typeface="Agency FB" pitchFamily="34" charset="0"/>
              </a:rPr>
              <a:t> </a:t>
            </a:r>
            <a:r>
              <a:rPr lang="en-US" sz="3200" dirty="0" err="1">
                <a:latin typeface="Agency FB" pitchFamily="34" charset="0"/>
              </a:rPr>
              <a:t>atau</a:t>
            </a:r>
            <a:r>
              <a:rPr lang="en-US" sz="3200" dirty="0">
                <a:latin typeface="Agency FB" pitchFamily="34" charset="0"/>
              </a:rPr>
              <a:t> </a:t>
            </a:r>
            <a:r>
              <a:rPr lang="en-US" sz="3200" dirty="0" err="1">
                <a:latin typeface="Agency FB" pitchFamily="34" charset="0"/>
              </a:rPr>
              <a:t>kab</a:t>
            </a:r>
            <a:r>
              <a:rPr lang="en-US" sz="3200" dirty="0">
                <a:latin typeface="Agency FB" pitchFamily="34" charset="0"/>
              </a:rPr>
              <a:t>/</a:t>
            </a:r>
            <a:r>
              <a:rPr lang="en-US" sz="3200" dirty="0" err="1">
                <a:latin typeface="Agency FB" pitchFamily="34" charset="0"/>
              </a:rPr>
              <a:t>kota</a:t>
            </a:r>
            <a:r>
              <a:rPr lang="en-US" sz="3200" dirty="0">
                <a:latin typeface="Agency FB" pitchFamily="34" charset="0"/>
              </a:rPr>
              <a:t> yang </a:t>
            </a:r>
            <a:r>
              <a:rPr lang="en-US" sz="3200" dirty="0" err="1">
                <a:latin typeface="Agency FB" pitchFamily="34" charset="0"/>
              </a:rPr>
              <a:t>terdiri</a:t>
            </a:r>
            <a:r>
              <a:rPr lang="en-US" sz="3200" dirty="0">
                <a:latin typeface="Agency FB" pitchFamily="34" charset="0"/>
              </a:rPr>
              <a:t> </a:t>
            </a:r>
            <a:r>
              <a:rPr lang="en-US" sz="3200" dirty="0" err="1">
                <a:latin typeface="Agency FB" pitchFamily="34" charset="0"/>
              </a:rPr>
              <a:t>dari</a:t>
            </a:r>
            <a:r>
              <a:rPr lang="en-US" sz="3200" dirty="0">
                <a:latin typeface="Agency FB" pitchFamily="34" charset="0"/>
              </a:rPr>
              <a:t> </a:t>
            </a:r>
            <a:r>
              <a:rPr lang="en-US" sz="3200" dirty="0" err="1">
                <a:latin typeface="Agency FB" pitchFamily="34" charset="0"/>
              </a:rPr>
              <a:t>urusan</a:t>
            </a:r>
            <a:r>
              <a:rPr lang="en-US" sz="3200" dirty="0">
                <a:latin typeface="Agency FB" pitchFamily="34" charset="0"/>
              </a:rPr>
              <a:t> </a:t>
            </a:r>
            <a:r>
              <a:rPr lang="en-US" sz="3200" dirty="0" err="1">
                <a:latin typeface="Agency FB" pitchFamily="34" charset="0"/>
              </a:rPr>
              <a:t>wajib</a:t>
            </a:r>
            <a:r>
              <a:rPr lang="en-US" sz="3200" dirty="0">
                <a:latin typeface="Agency FB" pitchFamily="34" charset="0"/>
              </a:rPr>
              <a:t> </a:t>
            </a:r>
            <a:r>
              <a:rPr lang="en-US" sz="3200" dirty="0" err="1">
                <a:latin typeface="Agency FB" pitchFamily="34" charset="0"/>
              </a:rPr>
              <a:t>dan</a:t>
            </a:r>
            <a:r>
              <a:rPr lang="en-US" sz="3200" dirty="0">
                <a:latin typeface="Agency FB" pitchFamily="34" charset="0"/>
              </a:rPr>
              <a:t> </a:t>
            </a:r>
            <a:r>
              <a:rPr lang="en-US" sz="3200" dirty="0" err="1">
                <a:latin typeface="Agency FB" pitchFamily="34" charset="0"/>
              </a:rPr>
              <a:t>urusan</a:t>
            </a:r>
            <a:r>
              <a:rPr lang="en-US" sz="3200" dirty="0">
                <a:latin typeface="Agency FB" pitchFamily="34" charset="0"/>
              </a:rPr>
              <a:t> </a:t>
            </a:r>
            <a:r>
              <a:rPr lang="en-US" sz="3200" dirty="0" err="1">
                <a:latin typeface="Agency FB" pitchFamily="34" charset="0"/>
              </a:rPr>
              <a:t>pilihan</a:t>
            </a:r>
            <a:r>
              <a:rPr lang="en-US" sz="3200" dirty="0">
                <a:latin typeface="Agency FB" pitchFamily="34" charset="0"/>
              </a:rPr>
              <a:t> yang </a:t>
            </a:r>
            <a:r>
              <a:rPr lang="en-US" sz="3200" dirty="0" err="1">
                <a:latin typeface="Agency FB" pitchFamily="34" charset="0"/>
              </a:rPr>
              <a:t>ditetapkan</a:t>
            </a:r>
            <a:r>
              <a:rPr lang="en-US" sz="3200" dirty="0">
                <a:latin typeface="Agency FB" pitchFamily="34" charset="0"/>
              </a:rPr>
              <a:t> </a:t>
            </a:r>
            <a:r>
              <a:rPr lang="en-US" sz="3200" dirty="0" err="1">
                <a:latin typeface="Agency FB" pitchFamily="34" charset="0"/>
              </a:rPr>
              <a:t>dengan</a:t>
            </a:r>
            <a:r>
              <a:rPr lang="en-US" sz="3200" dirty="0">
                <a:latin typeface="Agency FB" pitchFamily="34" charset="0"/>
              </a:rPr>
              <a:t> </a:t>
            </a:r>
            <a:r>
              <a:rPr lang="en-US" sz="3200" dirty="0" err="1">
                <a:latin typeface="Agency FB" pitchFamily="34" charset="0"/>
              </a:rPr>
              <a:t>ketentuan</a:t>
            </a:r>
            <a:r>
              <a:rPr lang="en-US" sz="3200" dirty="0">
                <a:latin typeface="Agency FB" pitchFamily="34" charset="0"/>
              </a:rPr>
              <a:t> </a:t>
            </a:r>
            <a:r>
              <a:rPr lang="en-US" sz="3200" dirty="0" err="1">
                <a:latin typeface="Agency FB" pitchFamily="34" charset="0"/>
              </a:rPr>
              <a:t>perundang-undangan</a:t>
            </a:r>
            <a:r>
              <a:rPr lang="en-US" sz="3200" dirty="0">
                <a:latin typeface="Agency FB" pitchFamily="34" charset="0"/>
              </a:rPr>
              <a:t>.</a:t>
            </a:r>
          </a:p>
          <a:p>
            <a:pPr marL="457200" indent="-457200" algn="just" fontAlgn="auto">
              <a:spcBef>
                <a:spcPts val="1200"/>
              </a:spcBef>
              <a:spcAft>
                <a:spcPts val="0"/>
              </a:spcAft>
              <a:buSzPct val="125000"/>
              <a:buFont typeface="Arial" pitchFamily="34" charset="0"/>
              <a:buChar char="•"/>
              <a:tabLst>
                <a:tab pos="292100" algn="l"/>
              </a:tabLst>
              <a:defRPr/>
            </a:pPr>
            <a:r>
              <a:rPr lang="en-US" sz="3200" dirty="0" err="1" smtClean="0">
                <a:solidFill>
                  <a:srgbClr val="FF0000"/>
                </a:solidFill>
                <a:latin typeface="Agency FB" pitchFamily="34" charset="0"/>
              </a:rPr>
              <a:t>Pasal</a:t>
            </a:r>
            <a:r>
              <a:rPr lang="en-US" sz="3200" dirty="0" smtClean="0">
                <a:solidFill>
                  <a:srgbClr val="FF0000"/>
                </a:solidFill>
                <a:latin typeface="Agency FB" pitchFamily="34" charset="0"/>
              </a:rPr>
              <a:t> 27 </a:t>
            </a:r>
            <a:r>
              <a:rPr lang="en-US" sz="3200" dirty="0" err="1" smtClean="0">
                <a:solidFill>
                  <a:srgbClr val="FF0000"/>
                </a:solidFill>
                <a:latin typeface="Agency FB" pitchFamily="34" charset="0"/>
              </a:rPr>
              <a:t>ayat</a:t>
            </a:r>
            <a:r>
              <a:rPr lang="en-US" sz="3200" dirty="0" smtClean="0">
                <a:solidFill>
                  <a:srgbClr val="FF0000"/>
                </a:solidFill>
                <a:latin typeface="Agency FB" pitchFamily="34" charset="0"/>
              </a:rPr>
              <a:t> (1): </a:t>
            </a:r>
            <a:r>
              <a:rPr lang="en-US" sz="3200" dirty="0" err="1" smtClean="0">
                <a:latin typeface="Agency FB" pitchFamily="34" charset="0"/>
              </a:rPr>
              <a:t>Belanja</a:t>
            </a:r>
            <a:r>
              <a:rPr lang="en-US" sz="3200" dirty="0" smtClean="0">
                <a:latin typeface="Agency FB" pitchFamily="34" charset="0"/>
              </a:rPr>
              <a:t> </a:t>
            </a:r>
            <a:r>
              <a:rPr lang="en-US" sz="3200" dirty="0">
                <a:latin typeface="Agency FB" pitchFamily="34" charset="0"/>
              </a:rPr>
              <a:t>Daerah </a:t>
            </a:r>
            <a:r>
              <a:rPr lang="id-ID" sz="3200" dirty="0">
                <a:latin typeface="Agency FB" pitchFamily="34" charset="0"/>
              </a:rPr>
              <a:t>diklasifikasikan menurut </a:t>
            </a:r>
            <a:r>
              <a:rPr lang="id-ID" sz="3200" b="1" dirty="0">
                <a:latin typeface="Agency FB" pitchFamily="34" charset="0"/>
              </a:rPr>
              <a:t>organisasi, </a:t>
            </a:r>
            <a:r>
              <a:rPr lang="id-ID" sz="3200" dirty="0">
                <a:latin typeface="Agency FB" pitchFamily="34" charset="0"/>
              </a:rPr>
              <a:t>fungsi, program dan kegiatan (disesuaikan dg urusan), serta jenis belanja</a:t>
            </a:r>
            <a:r>
              <a:rPr lang="en-US" sz="3200" dirty="0" smtClean="0">
                <a:latin typeface="Agency FB" pitchFamily="34" charset="0"/>
              </a:rPr>
              <a:t>.</a:t>
            </a:r>
          </a:p>
          <a:p>
            <a:pPr marL="457200" indent="-457200" algn="just" fontAlgn="auto">
              <a:spcBef>
                <a:spcPts val="1200"/>
              </a:spcBef>
              <a:spcAft>
                <a:spcPts val="0"/>
              </a:spcAft>
              <a:buSzPct val="125000"/>
              <a:buFont typeface="Arial" pitchFamily="34" charset="0"/>
              <a:buChar char="•"/>
              <a:tabLst>
                <a:tab pos="292100" algn="l"/>
              </a:tabLst>
              <a:defRPr/>
            </a:pPr>
            <a:r>
              <a:rPr lang="en-US" sz="3200" dirty="0" err="1" smtClean="0">
                <a:solidFill>
                  <a:srgbClr val="FF0000"/>
                </a:solidFill>
                <a:latin typeface="Agency FB" pitchFamily="34" charset="0"/>
              </a:rPr>
              <a:t>Pasal</a:t>
            </a:r>
            <a:r>
              <a:rPr lang="en-US" sz="3200" dirty="0" smtClean="0">
                <a:solidFill>
                  <a:srgbClr val="FF0000"/>
                </a:solidFill>
                <a:latin typeface="Agency FB" pitchFamily="34" charset="0"/>
              </a:rPr>
              <a:t> 27 </a:t>
            </a:r>
            <a:r>
              <a:rPr lang="en-US" sz="3200" dirty="0" err="1" smtClean="0">
                <a:solidFill>
                  <a:srgbClr val="FF0000"/>
                </a:solidFill>
                <a:latin typeface="Agency FB" pitchFamily="34" charset="0"/>
              </a:rPr>
              <a:t>ayat</a:t>
            </a:r>
            <a:r>
              <a:rPr lang="en-US" sz="3200" dirty="0" smtClean="0">
                <a:solidFill>
                  <a:srgbClr val="FF0000"/>
                </a:solidFill>
                <a:latin typeface="Agency FB" pitchFamily="34" charset="0"/>
              </a:rPr>
              <a:t> (2): </a:t>
            </a:r>
            <a:r>
              <a:rPr lang="en-US" sz="3200" dirty="0" err="1" smtClean="0">
                <a:latin typeface="Agency FB" pitchFamily="34" charset="0"/>
              </a:rPr>
              <a:t>Klasifikasi</a:t>
            </a:r>
            <a:r>
              <a:rPr lang="en-US" sz="3200" dirty="0" smtClean="0">
                <a:latin typeface="Agency FB" pitchFamily="34" charset="0"/>
              </a:rPr>
              <a:t> </a:t>
            </a:r>
            <a:r>
              <a:rPr lang="en-US" sz="3200" dirty="0" err="1">
                <a:latin typeface="Agency FB" pitchFamily="34" charset="0"/>
              </a:rPr>
              <a:t>belanja</a:t>
            </a:r>
            <a:r>
              <a:rPr lang="en-US" sz="3200" dirty="0">
                <a:latin typeface="Agency FB" pitchFamily="34" charset="0"/>
              </a:rPr>
              <a:t> </a:t>
            </a:r>
            <a:r>
              <a:rPr lang="en-US" sz="3200" dirty="0" err="1">
                <a:latin typeface="Agency FB" pitchFamily="34" charset="0"/>
              </a:rPr>
              <a:t>menurut</a:t>
            </a:r>
            <a:r>
              <a:rPr lang="en-US" sz="3200" dirty="0">
                <a:latin typeface="Agency FB" pitchFamily="34" charset="0"/>
              </a:rPr>
              <a:t> </a:t>
            </a:r>
            <a:r>
              <a:rPr lang="en-US" sz="3200" dirty="0" err="1">
                <a:latin typeface="Agency FB" pitchFamily="34" charset="0"/>
              </a:rPr>
              <a:t>organisasi</a:t>
            </a:r>
            <a:r>
              <a:rPr lang="en-US" sz="3200" dirty="0">
                <a:latin typeface="Agency FB" pitchFamily="34" charset="0"/>
              </a:rPr>
              <a:t> </a:t>
            </a:r>
            <a:r>
              <a:rPr lang="en-US" sz="3200" dirty="0" err="1">
                <a:latin typeface="Agency FB" pitchFamily="34" charset="0"/>
              </a:rPr>
              <a:t>disesuaikan</a:t>
            </a:r>
            <a:r>
              <a:rPr lang="en-US" sz="3200" dirty="0">
                <a:latin typeface="Agency FB" pitchFamily="34" charset="0"/>
              </a:rPr>
              <a:t> </a:t>
            </a:r>
            <a:r>
              <a:rPr lang="en-US" sz="3200" dirty="0" err="1">
                <a:latin typeface="Agency FB" pitchFamily="34" charset="0"/>
              </a:rPr>
              <a:t>dengan</a:t>
            </a:r>
            <a:r>
              <a:rPr lang="en-US" sz="3200" dirty="0">
                <a:latin typeface="Agency FB" pitchFamily="34" charset="0"/>
              </a:rPr>
              <a:t> </a:t>
            </a:r>
            <a:r>
              <a:rPr lang="en-US" sz="3200" dirty="0" err="1">
                <a:latin typeface="Agency FB" pitchFamily="34" charset="0"/>
              </a:rPr>
              <a:t>susunan</a:t>
            </a:r>
            <a:r>
              <a:rPr lang="en-US" sz="3200" dirty="0">
                <a:latin typeface="Agency FB" pitchFamily="34" charset="0"/>
              </a:rPr>
              <a:t> </a:t>
            </a:r>
            <a:r>
              <a:rPr lang="en-US" sz="3200" dirty="0" err="1">
                <a:latin typeface="Agency FB" pitchFamily="34" charset="0"/>
              </a:rPr>
              <a:t>organisasi</a:t>
            </a:r>
            <a:r>
              <a:rPr lang="en-US" sz="3200" dirty="0">
                <a:latin typeface="Agency FB" pitchFamily="34" charset="0"/>
              </a:rPr>
              <a:t> </a:t>
            </a:r>
            <a:r>
              <a:rPr lang="en-US" sz="3200" dirty="0" err="1">
                <a:latin typeface="Agency FB" pitchFamily="34" charset="0"/>
              </a:rPr>
              <a:t>pemerintah</a:t>
            </a:r>
            <a:r>
              <a:rPr lang="en-US" sz="3200" dirty="0">
                <a:latin typeface="Agency FB" pitchFamily="34" charset="0"/>
              </a:rPr>
              <a:t> </a:t>
            </a:r>
            <a:r>
              <a:rPr lang="en-US" sz="3200" dirty="0" err="1">
                <a:latin typeface="Agency FB" pitchFamily="34" charset="0"/>
              </a:rPr>
              <a:t>daerah</a:t>
            </a:r>
            <a:r>
              <a:rPr lang="en-US" sz="3200" dirty="0">
                <a:latin typeface="Agency FB" pitchFamily="34" charset="0"/>
              </a:rPr>
              <a:t>.</a:t>
            </a:r>
            <a:endParaRPr lang="en-GB" sz="3200" dirty="0">
              <a:latin typeface="Agency FB" pitchFamily="34" charset="0"/>
            </a:endParaRPr>
          </a:p>
        </p:txBody>
      </p:sp>
      <p:sp>
        <p:nvSpPr>
          <p:cNvPr id="15" name="Rectangle 14"/>
          <p:cNvSpPr/>
          <p:nvPr/>
        </p:nvSpPr>
        <p:spPr>
          <a:xfrm>
            <a:off x="152400" y="1386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6" name="Rectangle 15"/>
          <p:cNvSpPr/>
          <p:nvPr/>
        </p:nvSpPr>
        <p:spPr>
          <a:xfrm>
            <a:off x="177800" y="76200"/>
            <a:ext cx="12471400" cy="707886"/>
          </a:xfrm>
          <a:prstGeom prst="rect">
            <a:avLst/>
          </a:prstGeom>
          <a:noFill/>
        </p:spPr>
        <p:txBody>
          <a:bodyPr vert="horz" wrap="square" lIns="91440" tIns="45720" rIns="91440" bIns="45720" rtlCol="0" anchor="ctr">
            <a:spAutoFit/>
          </a:bodyPr>
          <a:lstStyle/>
          <a:p>
            <a:pPr>
              <a:spcBef>
                <a:spcPct val="0"/>
              </a:spcBef>
            </a:pPr>
            <a:r>
              <a:rPr lang="id-ID" sz="4000" b="1" dirty="0">
                <a:solidFill>
                  <a:srgbClr val="002060"/>
                </a:solidFill>
                <a:latin typeface="DilleniaUPC" pitchFamily="18" charset="-34"/>
                <a:cs typeface="DilleniaUPC" pitchFamily="18" charset="-34"/>
              </a:rPr>
              <a:t>DASAR HUKUM </a:t>
            </a:r>
            <a:r>
              <a:rPr lang="en-US" sz="4000" b="1" dirty="0" smtClean="0">
                <a:solidFill>
                  <a:srgbClr val="002060"/>
                </a:solidFill>
                <a:latin typeface="DilleniaUPC" pitchFamily="18" charset="-34"/>
                <a:cs typeface="DilleniaUPC" pitchFamily="18" charset="-34"/>
              </a:rPr>
              <a:t>BELANJA DAERAH</a:t>
            </a:r>
            <a:endParaRPr lang="id-ID" sz="4000" b="1" dirty="0">
              <a:solidFill>
                <a:srgbClr val="002060"/>
              </a:solidFill>
              <a:latin typeface="DilleniaUPC" pitchFamily="18" charset="-34"/>
              <a:cs typeface="DilleniaUPC" pitchFamily="18" charset="-34"/>
            </a:endParaRPr>
          </a:p>
        </p:txBody>
      </p:sp>
      <p:sp>
        <p:nvSpPr>
          <p:cNvPr id="17" name="Rectangle 16"/>
          <p:cNvSpPr/>
          <p:nvPr/>
        </p:nvSpPr>
        <p:spPr>
          <a:xfrm>
            <a:off x="152400" y="1163784"/>
            <a:ext cx="11353800" cy="436416"/>
          </a:xfrm>
          <a:prstGeom prst="rect">
            <a:avLst/>
          </a:prstGeom>
          <a:solidFill>
            <a:srgbClr val="4F81BD">
              <a:lumMod val="40000"/>
              <a:lumOff val="60000"/>
            </a:srgbClr>
          </a:solidFill>
          <a:ln w="25400" cap="flat" cmpd="sng" algn="ctr">
            <a:noFill/>
            <a:prstDash val="solid"/>
          </a:ln>
          <a:effectLst/>
        </p:spPr>
        <p:txBody>
          <a:bodyPr rtlCol="0" anchor="ctr"/>
          <a:lstStyle/>
          <a:p>
            <a:r>
              <a:rPr lang="en-US" sz="3600" b="1" dirty="0" smtClean="0">
                <a:solidFill>
                  <a:srgbClr val="002060"/>
                </a:solidFill>
                <a:latin typeface="DilleniaUPC" pitchFamily="18" charset="-34"/>
                <a:cs typeface="DilleniaUPC" pitchFamily="18" charset="-34"/>
              </a:rPr>
              <a:t>PP 58 </a:t>
            </a:r>
            <a:r>
              <a:rPr lang="en-US" sz="3600" b="1" dirty="0" err="1" smtClean="0">
                <a:solidFill>
                  <a:srgbClr val="002060"/>
                </a:solidFill>
                <a:latin typeface="DilleniaUPC" pitchFamily="18" charset="-34"/>
                <a:cs typeface="DilleniaUPC" pitchFamily="18" charset="-34"/>
              </a:rPr>
              <a:t>tahun</a:t>
            </a:r>
            <a:r>
              <a:rPr lang="en-US" sz="3600" b="1" dirty="0" smtClean="0">
                <a:solidFill>
                  <a:srgbClr val="002060"/>
                </a:solidFill>
                <a:latin typeface="DilleniaUPC" pitchFamily="18" charset="-34"/>
                <a:cs typeface="DilleniaUPC" pitchFamily="18" charset="-34"/>
              </a:rPr>
              <a:t> 2005 </a:t>
            </a:r>
            <a:r>
              <a:rPr lang="en-US" sz="3600" b="1" dirty="0" err="1" smtClean="0">
                <a:solidFill>
                  <a:srgbClr val="002060"/>
                </a:solidFill>
                <a:latin typeface="DilleniaUPC" pitchFamily="18" charset="-34"/>
                <a:cs typeface="DilleniaUPC" pitchFamily="18" charset="-34"/>
              </a:rPr>
              <a:t>ttg</a:t>
            </a:r>
            <a:r>
              <a:rPr lang="en-US" sz="3600" b="1" dirty="0" smtClean="0">
                <a:solidFill>
                  <a:srgbClr val="002060"/>
                </a:solidFill>
                <a:latin typeface="DilleniaUPC" pitchFamily="18" charset="-34"/>
                <a:cs typeface="DilleniaUPC" pitchFamily="18" charset="-34"/>
              </a:rPr>
              <a:t> </a:t>
            </a:r>
            <a:r>
              <a:rPr lang="en-US" sz="3600" b="1" dirty="0" err="1" smtClean="0">
                <a:solidFill>
                  <a:srgbClr val="002060"/>
                </a:solidFill>
                <a:latin typeface="DilleniaUPC" pitchFamily="18" charset="-34"/>
                <a:cs typeface="DilleniaUPC" pitchFamily="18" charset="-34"/>
              </a:rPr>
              <a:t>Pengelolaan</a:t>
            </a:r>
            <a:r>
              <a:rPr lang="en-US" sz="3600" b="1" dirty="0" smtClean="0">
                <a:solidFill>
                  <a:srgbClr val="002060"/>
                </a:solidFill>
                <a:latin typeface="DilleniaUPC" pitchFamily="18" charset="-34"/>
                <a:cs typeface="DilleniaUPC" pitchFamily="18" charset="-34"/>
              </a:rPr>
              <a:t> </a:t>
            </a:r>
            <a:r>
              <a:rPr lang="en-US" sz="3600" b="1" dirty="0" err="1" smtClean="0">
                <a:solidFill>
                  <a:srgbClr val="002060"/>
                </a:solidFill>
                <a:latin typeface="DilleniaUPC" pitchFamily="18" charset="-34"/>
                <a:cs typeface="DilleniaUPC" pitchFamily="18" charset="-34"/>
              </a:rPr>
              <a:t>Keuangan</a:t>
            </a:r>
            <a:r>
              <a:rPr lang="en-US" sz="3600" b="1" dirty="0" smtClean="0">
                <a:solidFill>
                  <a:srgbClr val="002060"/>
                </a:solidFill>
                <a:latin typeface="DilleniaUPC" pitchFamily="18" charset="-34"/>
                <a:cs typeface="DilleniaUPC" pitchFamily="18" charset="-34"/>
              </a:rPr>
              <a:t> Daerah </a:t>
            </a:r>
            <a:endParaRPr lang="id-ID" sz="36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3147190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Slide Number Placeholder 42"/>
          <p:cNvSpPr>
            <a:spLocks noGrp="1"/>
          </p:cNvSpPr>
          <p:nvPr>
            <p:ph type="sldNum" sz="quarter" idx="12"/>
          </p:nvPr>
        </p:nvSpPr>
        <p:spPr bwMode="auto">
          <a:xfrm>
            <a:off x="9347200" y="6537326"/>
            <a:ext cx="2844800" cy="3206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7627CC9A-CC2E-4400-9B88-90C7312797C3}" type="slidenum">
              <a:rPr lang="en-US" sz="1800" smtClean="0">
                <a:solidFill>
                  <a:schemeClr val="tx2"/>
                </a:solidFill>
                <a:latin typeface="Times New Roman" pitchFamily="18" charset="0"/>
                <a:cs typeface="Times New Roman" pitchFamily="18" charset="0"/>
              </a:rPr>
              <a:pPr eaLnBrk="1" fontAlgn="base" hangingPunct="1">
                <a:spcBef>
                  <a:spcPct val="0"/>
                </a:spcBef>
                <a:spcAft>
                  <a:spcPct val="0"/>
                </a:spcAft>
              </a:pPr>
              <a:t>35</a:t>
            </a:fld>
            <a:endParaRPr lang="en-US" sz="1800" smtClean="0">
              <a:solidFill>
                <a:schemeClr val="tx2"/>
              </a:solidFill>
              <a:latin typeface="Times New Roman" pitchFamily="18" charset="0"/>
              <a:cs typeface="Times New Roman" pitchFamily="18" charset="0"/>
            </a:endParaRPr>
          </a:p>
        </p:txBody>
      </p:sp>
      <p:sp>
        <p:nvSpPr>
          <p:cNvPr id="28" name="Content Placeholder 2"/>
          <p:cNvSpPr txBox="1">
            <a:spLocks/>
          </p:cNvSpPr>
          <p:nvPr/>
        </p:nvSpPr>
        <p:spPr>
          <a:xfrm>
            <a:off x="152400" y="1219200"/>
            <a:ext cx="11080751" cy="1973263"/>
          </a:xfrm>
          <a:prstGeom prst="rect">
            <a:avLst/>
          </a:prstGeom>
        </p:spPr>
        <p:txBody>
          <a:bodyPr/>
          <a:lstStyle/>
          <a:p>
            <a:pPr marL="274320" indent="-274320" fontAlgn="auto">
              <a:lnSpc>
                <a:spcPct val="110000"/>
              </a:lnSpc>
              <a:spcBef>
                <a:spcPts val="600"/>
              </a:spcBef>
              <a:buClr>
                <a:srgbClr val="000000">
                  <a:lumMod val="50000"/>
                </a:srgbClr>
              </a:buClr>
              <a:buFont typeface="Wingdings 2"/>
              <a:buChar char=""/>
              <a:defRPr/>
            </a:pPr>
            <a:r>
              <a:rPr lang="en-US" sz="2400" kern="0" dirty="0">
                <a:solidFill>
                  <a:schemeClr val="tx2"/>
                </a:solidFill>
                <a:latin typeface="Agency FB" pitchFamily="34" charset="0"/>
                <a:cs typeface="Times New Roman" pitchFamily="18" charset="0"/>
              </a:rPr>
              <a:t>B</a:t>
            </a:r>
            <a:r>
              <a:rPr lang="id-ID" sz="2400" kern="0" dirty="0">
                <a:solidFill>
                  <a:schemeClr val="tx2"/>
                </a:solidFill>
                <a:latin typeface="Agency FB" pitchFamily="34" charset="0"/>
                <a:cs typeface="Times New Roman" pitchFamily="18" charset="0"/>
              </a:rPr>
              <a:t>ELANJA YG DIARAHKAN (EARMARK)</a:t>
            </a:r>
            <a:endParaRPr lang="en-US" sz="2400" kern="0" dirty="0">
              <a:solidFill>
                <a:schemeClr val="tx2"/>
              </a:solidFill>
              <a:latin typeface="Agency FB" pitchFamily="34" charset="0"/>
              <a:cs typeface="Times New Roman" pitchFamily="18" charset="0"/>
            </a:endParaRPr>
          </a:p>
          <a:p>
            <a:pPr marL="274320" indent="-274320" fontAlgn="auto">
              <a:lnSpc>
                <a:spcPct val="110000"/>
              </a:lnSpc>
              <a:spcBef>
                <a:spcPts val="600"/>
              </a:spcBef>
              <a:buClr>
                <a:srgbClr val="000000">
                  <a:lumMod val="50000"/>
                </a:srgbClr>
              </a:buClr>
              <a:buFont typeface="Wingdings 2"/>
              <a:buChar char=""/>
              <a:defRPr/>
            </a:pPr>
            <a:r>
              <a:rPr lang="id-ID" sz="2400" kern="0" dirty="0">
                <a:solidFill>
                  <a:schemeClr val="tx2"/>
                </a:solidFill>
                <a:latin typeface="Agency FB" pitchFamily="34" charset="0"/>
                <a:cs typeface="Times New Roman" pitchFamily="18" charset="0"/>
              </a:rPr>
              <a:t>BELANJA </a:t>
            </a:r>
            <a:r>
              <a:rPr lang="en-US" sz="2400" kern="0" dirty="0">
                <a:solidFill>
                  <a:schemeClr val="tx2"/>
                </a:solidFill>
                <a:latin typeface="Agency FB" pitchFamily="34" charset="0"/>
                <a:cs typeface="Times New Roman" pitchFamily="18" charset="0"/>
              </a:rPr>
              <a:t>Y</a:t>
            </a:r>
            <a:r>
              <a:rPr lang="id-ID" sz="2400" kern="0" dirty="0">
                <a:solidFill>
                  <a:schemeClr val="tx2"/>
                </a:solidFill>
                <a:latin typeface="Agency FB" pitchFamily="34" charset="0"/>
                <a:cs typeface="Times New Roman" pitchFamily="18" charset="0"/>
              </a:rPr>
              <a:t>G BERSIFAT MENGIKAT/WAJIB</a:t>
            </a:r>
            <a:endParaRPr lang="en-US" sz="2400" kern="0" dirty="0">
              <a:solidFill>
                <a:schemeClr val="tx2"/>
              </a:solidFill>
              <a:latin typeface="Agency FB" pitchFamily="34" charset="0"/>
              <a:cs typeface="Times New Roman" pitchFamily="18" charset="0"/>
            </a:endParaRPr>
          </a:p>
          <a:p>
            <a:pPr marL="274320" indent="-274320" fontAlgn="auto">
              <a:lnSpc>
                <a:spcPct val="110000"/>
              </a:lnSpc>
              <a:spcBef>
                <a:spcPts val="600"/>
              </a:spcBef>
              <a:buClr>
                <a:srgbClr val="000000">
                  <a:lumMod val="50000"/>
                </a:srgbClr>
              </a:buClr>
              <a:buFont typeface="Wingdings 2"/>
              <a:buChar char=""/>
              <a:defRPr/>
            </a:pPr>
            <a:r>
              <a:rPr lang="en-US" sz="2400" kern="0" dirty="0">
                <a:solidFill>
                  <a:schemeClr val="tx2"/>
                </a:solidFill>
                <a:latin typeface="Agency FB" pitchFamily="34" charset="0"/>
                <a:cs typeface="Times New Roman" pitchFamily="18" charset="0"/>
              </a:rPr>
              <a:t>B</a:t>
            </a:r>
            <a:r>
              <a:rPr lang="id-ID" sz="2400" kern="0" dirty="0">
                <a:solidFill>
                  <a:schemeClr val="tx2"/>
                </a:solidFill>
                <a:latin typeface="Agency FB" pitchFamily="34" charset="0"/>
                <a:cs typeface="Times New Roman" pitchFamily="18" charset="0"/>
              </a:rPr>
              <a:t>ELANJA YG DITENTUKAN PROSENTASENYA SESUAI AMANAT PER UU</a:t>
            </a:r>
            <a:endParaRPr lang="en-US" sz="2400" kern="0" dirty="0">
              <a:solidFill>
                <a:schemeClr val="tx2"/>
              </a:solidFill>
              <a:latin typeface="Agency FB" pitchFamily="34" charset="0"/>
              <a:cs typeface="Times New Roman" pitchFamily="18" charset="0"/>
            </a:endParaRPr>
          </a:p>
          <a:p>
            <a:pPr marL="274320" indent="-274320" fontAlgn="auto">
              <a:lnSpc>
                <a:spcPct val="110000"/>
              </a:lnSpc>
              <a:spcBef>
                <a:spcPts val="600"/>
              </a:spcBef>
              <a:buClr>
                <a:srgbClr val="000000">
                  <a:lumMod val="50000"/>
                </a:srgbClr>
              </a:buClr>
              <a:buFont typeface="Wingdings 2"/>
              <a:buChar char=""/>
              <a:defRPr/>
            </a:pPr>
            <a:r>
              <a:rPr lang="id-ID" sz="2400" kern="0" dirty="0">
                <a:solidFill>
                  <a:schemeClr val="tx2"/>
                </a:solidFill>
                <a:latin typeface="Agency FB" pitchFamily="34" charset="0"/>
                <a:cs typeface="Times New Roman" pitchFamily="18" charset="0"/>
              </a:rPr>
              <a:t>BELANJA PEMENUHAN URUSAN SESUAI SPM</a:t>
            </a:r>
            <a:endParaRPr lang="en-US" sz="2400" kern="0" dirty="0">
              <a:solidFill>
                <a:schemeClr val="tx2"/>
              </a:solidFill>
              <a:latin typeface="Agency FB" pitchFamily="34" charset="0"/>
              <a:cs typeface="Times New Roman" pitchFamily="18" charset="0"/>
            </a:endParaRPr>
          </a:p>
          <a:p>
            <a:pPr marL="274320" indent="-274320" fontAlgn="auto">
              <a:lnSpc>
                <a:spcPct val="110000"/>
              </a:lnSpc>
              <a:spcBef>
                <a:spcPts val="600"/>
              </a:spcBef>
              <a:buClr>
                <a:srgbClr val="FFFFFF"/>
              </a:buClr>
              <a:defRPr/>
            </a:pPr>
            <a:endParaRPr lang="en-US" sz="2400" kern="0" dirty="0">
              <a:solidFill>
                <a:schemeClr val="tx2"/>
              </a:solidFill>
              <a:latin typeface="Agency FB" pitchFamily="34" charset="0"/>
              <a:cs typeface="Times New Roman" pitchFamily="18" charset="0"/>
            </a:endParaRPr>
          </a:p>
        </p:txBody>
      </p:sp>
      <p:sp>
        <p:nvSpPr>
          <p:cNvPr id="16" name="Rectangle 15"/>
          <p:cNvSpPr/>
          <p:nvPr/>
        </p:nvSpPr>
        <p:spPr>
          <a:xfrm>
            <a:off x="152400" y="421362"/>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7" name="Rectangle 16"/>
          <p:cNvSpPr/>
          <p:nvPr/>
        </p:nvSpPr>
        <p:spPr>
          <a:xfrm>
            <a:off x="177800" y="358914"/>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KEBIJAKAN PENGANGGARAN TERKAIT ANATOMI BELANJA DALAM APBD</a:t>
            </a:r>
            <a:endParaRPr lang="id-ID" sz="4000" b="1" dirty="0">
              <a:solidFill>
                <a:srgbClr val="002060"/>
              </a:solidFill>
              <a:latin typeface="DilleniaUPC" pitchFamily="18" charset="-34"/>
              <a:cs typeface="DilleniaUPC" pitchFamily="18" charset="-34"/>
            </a:endParaRPr>
          </a:p>
        </p:txBody>
      </p:sp>
      <p:sp>
        <p:nvSpPr>
          <p:cNvPr id="18" name="Rectangle 17"/>
          <p:cNvSpPr/>
          <p:nvPr/>
        </p:nvSpPr>
        <p:spPr>
          <a:xfrm>
            <a:off x="193040" y="3429000"/>
            <a:ext cx="11353800" cy="436416"/>
          </a:xfrm>
          <a:prstGeom prst="rect">
            <a:avLst/>
          </a:prstGeom>
          <a:solidFill>
            <a:srgbClr val="4F81BD">
              <a:lumMod val="40000"/>
              <a:lumOff val="60000"/>
            </a:srgbClr>
          </a:solidFill>
          <a:ln w="25400" cap="flat" cmpd="sng" algn="ctr">
            <a:noFill/>
            <a:prstDash val="solid"/>
          </a:ln>
          <a:effectLst/>
        </p:spPr>
        <p:txBody>
          <a:bodyPr rtlCol="0" anchor="ctr"/>
          <a:lstStyle/>
          <a:p>
            <a:r>
              <a:rPr lang="en-US" sz="3600" b="1" dirty="0" smtClean="0">
                <a:solidFill>
                  <a:srgbClr val="002060"/>
                </a:solidFill>
                <a:latin typeface="DilleniaUPC" pitchFamily="18" charset="-34"/>
                <a:cs typeface="DilleniaUPC" pitchFamily="18" charset="-34"/>
              </a:rPr>
              <a:t>STRATEGI PENYUSUNAN APBD</a:t>
            </a:r>
            <a:endParaRPr lang="id-ID" sz="3600" b="1" dirty="0">
              <a:solidFill>
                <a:srgbClr val="002060"/>
              </a:solidFill>
              <a:latin typeface="DilleniaUPC" pitchFamily="18" charset="-34"/>
              <a:cs typeface="DilleniaUPC" pitchFamily="18" charset="-34"/>
            </a:endParaRPr>
          </a:p>
        </p:txBody>
      </p:sp>
      <p:sp>
        <p:nvSpPr>
          <p:cNvPr id="19" name="Rectangle 18"/>
          <p:cNvSpPr/>
          <p:nvPr/>
        </p:nvSpPr>
        <p:spPr>
          <a:xfrm>
            <a:off x="167640" y="3647208"/>
            <a:ext cx="10972800" cy="252499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anchor="ctr"/>
          <a:lstStyle/>
          <a:p>
            <a:pPr marL="292100" indent="-292100" algn="just" fontAlgn="auto">
              <a:spcBef>
                <a:spcPts val="0"/>
              </a:spcBef>
              <a:spcAft>
                <a:spcPts val="0"/>
              </a:spcAft>
              <a:buSzPct val="125000"/>
              <a:buFont typeface="Wingdings" pitchFamily="2" charset="2"/>
              <a:buChar char="§"/>
              <a:tabLst>
                <a:tab pos="292100" algn="l"/>
              </a:tabLst>
              <a:defRPr/>
            </a:pPr>
            <a:endParaRPr lang="en-US" sz="2000" dirty="0">
              <a:latin typeface="Agency FB" pitchFamily="34" charset="0"/>
            </a:endParaRPr>
          </a:p>
          <a:p>
            <a:pPr marL="274320" indent="-274320">
              <a:lnSpc>
                <a:spcPct val="110000"/>
              </a:lnSpc>
              <a:spcBef>
                <a:spcPts val="600"/>
              </a:spcBef>
              <a:spcAft>
                <a:spcPts val="0"/>
              </a:spcAft>
              <a:buClr>
                <a:srgbClr val="000000">
                  <a:lumMod val="50000"/>
                </a:srgbClr>
              </a:buClr>
              <a:buSzPct val="125000"/>
              <a:buFont typeface="Wingdings 2"/>
              <a:buChar char=""/>
              <a:tabLst>
                <a:tab pos="292100" algn="l"/>
              </a:tabLst>
              <a:defRPr/>
            </a:pPr>
            <a:r>
              <a:rPr lang="en-US" sz="2400" kern="0" dirty="0">
                <a:solidFill>
                  <a:schemeClr val="tx2"/>
                </a:solidFill>
                <a:latin typeface="Agency FB" pitchFamily="34" charset="0"/>
                <a:cs typeface="Times New Roman" pitchFamily="18" charset="0"/>
              </a:rPr>
              <a:t>MENERAPKAN PRINSIP EFISIENSI, EFEKTIFITAS, TRANSPARANSI, AKUNTABILITAS, DAN PARTISIPASI;</a:t>
            </a:r>
          </a:p>
          <a:p>
            <a:pPr marL="274320" indent="-274320">
              <a:lnSpc>
                <a:spcPct val="110000"/>
              </a:lnSpc>
              <a:spcBef>
                <a:spcPts val="600"/>
              </a:spcBef>
              <a:spcAft>
                <a:spcPts val="0"/>
              </a:spcAft>
              <a:buClr>
                <a:srgbClr val="000000">
                  <a:lumMod val="50000"/>
                </a:srgbClr>
              </a:buClr>
              <a:buSzPct val="125000"/>
              <a:buFont typeface="Wingdings 2"/>
              <a:buChar char=""/>
              <a:tabLst>
                <a:tab pos="292100" algn="l"/>
              </a:tabLst>
              <a:defRPr/>
            </a:pPr>
            <a:r>
              <a:rPr lang="en-US" sz="2400" kern="0" dirty="0">
                <a:solidFill>
                  <a:schemeClr val="tx2"/>
                </a:solidFill>
                <a:latin typeface="Agency FB" pitchFamily="34" charset="0"/>
                <a:cs typeface="Times New Roman" pitchFamily="18" charset="0"/>
              </a:rPr>
              <a:t>KETERPADUAN DAN SINKRONISASI ANTAR KEGIATAN;</a:t>
            </a:r>
          </a:p>
          <a:p>
            <a:pPr marL="274320" indent="-274320">
              <a:lnSpc>
                <a:spcPct val="110000"/>
              </a:lnSpc>
              <a:spcBef>
                <a:spcPts val="600"/>
              </a:spcBef>
              <a:spcAft>
                <a:spcPts val="0"/>
              </a:spcAft>
              <a:buClr>
                <a:srgbClr val="000000">
                  <a:lumMod val="50000"/>
                </a:srgbClr>
              </a:buClr>
              <a:buSzPct val="125000"/>
              <a:buFont typeface="Wingdings 2"/>
              <a:buChar char=""/>
              <a:tabLst>
                <a:tab pos="292100" algn="l"/>
              </a:tabLst>
              <a:defRPr/>
            </a:pPr>
            <a:r>
              <a:rPr lang="en-US" sz="2400" kern="0" dirty="0">
                <a:solidFill>
                  <a:schemeClr val="tx2"/>
                </a:solidFill>
                <a:latin typeface="Agency FB" pitchFamily="34" charset="0"/>
                <a:cs typeface="Times New Roman" pitchFamily="18" charset="0"/>
              </a:rPr>
              <a:t>DISESUAIKAN DENGAN TUPOKSI SKPD DAN URUSAN YANG MENJADI KEWENANGAN DAERAH;</a:t>
            </a:r>
          </a:p>
          <a:p>
            <a:pPr marL="274320" indent="-274320">
              <a:lnSpc>
                <a:spcPct val="110000"/>
              </a:lnSpc>
              <a:spcBef>
                <a:spcPts val="600"/>
              </a:spcBef>
              <a:spcAft>
                <a:spcPts val="0"/>
              </a:spcAft>
              <a:buClr>
                <a:srgbClr val="000000">
                  <a:lumMod val="50000"/>
                </a:srgbClr>
              </a:buClr>
              <a:buSzPct val="125000"/>
              <a:buFont typeface="Wingdings 2"/>
              <a:buChar char=""/>
              <a:tabLst>
                <a:tab pos="292100" algn="l"/>
              </a:tabLst>
              <a:defRPr/>
            </a:pPr>
            <a:r>
              <a:rPr lang="en-US" sz="2400" kern="0" dirty="0">
                <a:solidFill>
                  <a:schemeClr val="tx2"/>
                </a:solidFill>
                <a:latin typeface="Agency FB" pitchFamily="34" charset="0"/>
                <a:cs typeface="Times New Roman" pitchFamily="18" charset="0"/>
              </a:rPr>
              <a:t>TAATI JADWAL SESUAI DENGAN TAHAPAN PENYUSUNAN APBD.</a:t>
            </a:r>
            <a:endParaRPr lang="en-GB" sz="2400" kern="0" dirty="0">
              <a:solidFill>
                <a:schemeClr val="tx2"/>
              </a:solidFill>
              <a:latin typeface="Agency FB" pitchFamily="34" charset="0"/>
              <a:cs typeface="Times New Roman" pitchFamily="18" charset="0"/>
            </a:endParaRPr>
          </a:p>
        </p:txBody>
      </p:sp>
    </p:spTree>
    <p:extLst>
      <p:ext uri="{BB962C8B-B14F-4D97-AF65-F5344CB8AC3E}">
        <p14:creationId xmlns:p14="http://schemas.microsoft.com/office/powerpoint/2010/main" val="2258026645"/>
      </p:ext>
    </p:extLst>
  </p:cSld>
  <p:clrMapOvr>
    <a:masterClrMapping/>
  </p:clrMapOvr>
  <p:transition spd="slow">
    <p:push di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Group 69"/>
          <p:cNvGraphicFramePr>
            <a:graphicFrameLocks noGrp="1"/>
          </p:cNvGraphicFramePr>
          <p:nvPr>
            <p:extLst>
              <p:ext uri="{D42A27DB-BD31-4B8C-83A1-F6EECF244321}">
                <p14:modId xmlns:p14="http://schemas.microsoft.com/office/powerpoint/2010/main" val="1007830543"/>
              </p:ext>
            </p:extLst>
          </p:nvPr>
        </p:nvGraphicFramePr>
        <p:xfrm>
          <a:off x="254000" y="1219200"/>
          <a:ext cx="11633200" cy="5009904"/>
        </p:xfrm>
        <a:graphic>
          <a:graphicData uri="http://schemas.openxmlformats.org/drawingml/2006/table">
            <a:tbl>
              <a:tblPr/>
              <a:tblGrid>
                <a:gridCol w="836148"/>
                <a:gridCol w="5158252"/>
                <a:gridCol w="3810000"/>
                <a:gridCol w="1828800"/>
              </a:tblGrid>
              <a:tr h="365828">
                <a:tc>
                  <a:txBody>
                    <a:bodyPr/>
                    <a:lstStyle/>
                    <a:p>
                      <a:pPr marL="342900" marR="0" lvl="0" indent="-34290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chemeClr val="bg1"/>
                          </a:solidFill>
                          <a:effectLst/>
                          <a:latin typeface="Agency FB" pitchFamily="34" charset="0"/>
                          <a:ea typeface="Times New Roman" pitchFamily="18" charset="0"/>
                          <a:cs typeface="Tahoma" pitchFamily="34" charset="0"/>
                        </a:rPr>
                        <a:t>NO</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F7F7F"/>
                    </a:solidFill>
                  </a:tcPr>
                </a:tc>
                <a:tc>
                  <a:txBody>
                    <a:bodyPr/>
                    <a:lstStyle/>
                    <a:p>
                      <a:pPr marL="342900" marR="0" lvl="0" indent="-34290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chemeClr val="bg1"/>
                          </a:solidFill>
                          <a:effectLst/>
                          <a:latin typeface="Agency FB" pitchFamily="34" charset="0"/>
                          <a:ea typeface="Times New Roman" pitchFamily="18" charset="0"/>
                          <a:cs typeface="Tahoma" pitchFamily="34" charset="0"/>
                        </a:rPr>
                        <a:t>URAIAN</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F7F7F"/>
                    </a:solidFill>
                  </a:tcPr>
                </a:tc>
                <a:tc>
                  <a:txBody>
                    <a:bodyPr/>
                    <a:lstStyle/>
                    <a:p>
                      <a:pPr marL="342900" marR="0" lvl="0" indent="-34290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chemeClr val="bg1"/>
                          </a:solidFill>
                          <a:effectLst/>
                          <a:latin typeface="Agency FB" pitchFamily="34" charset="0"/>
                          <a:ea typeface="Times New Roman" pitchFamily="18" charset="0"/>
                          <a:cs typeface="Tahoma" pitchFamily="34" charset="0"/>
                        </a:rPr>
                        <a:t>WAKTU</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F7F7F"/>
                    </a:solidFill>
                  </a:tcPr>
                </a:tc>
                <a:tc>
                  <a:txBody>
                    <a:bodyPr/>
                    <a:lstStyle/>
                    <a:p>
                      <a:pPr marL="342900" marR="0" lvl="0" indent="-34290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chemeClr val="bg1"/>
                          </a:solidFill>
                          <a:effectLst/>
                          <a:latin typeface="Agency FB" pitchFamily="34" charset="0"/>
                          <a:ea typeface="Times New Roman" pitchFamily="18" charset="0"/>
                          <a:cs typeface="Tahoma" pitchFamily="34" charset="0"/>
                        </a:rPr>
                        <a:t>KET</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F7F7F"/>
                    </a:solidFill>
                  </a:tcPr>
                </a:tc>
              </a:tr>
              <a:tr h="283522">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smtClean="0">
                          <a:ln>
                            <a:noFill/>
                          </a:ln>
                          <a:solidFill>
                            <a:schemeClr val="tx1"/>
                          </a:solidFill>
                          <a:effectLst/>
                          <a:latin typeface="Agency FB" pitchFamily="34" charset="0"/>
                        </a:rPr>
                        <a:t>1.</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Penyusunan</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RKPD</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Awal</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Bulan</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Mei</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endParaRPr kumimoji="0" lang="en-US" sz="2000" b="0" i="0" u="none" strike="noStrike" cap="none" normalizeH="0" baseline="0" dirty="0" smtClean="0">
                        <a:ln>
                          <a:noFill/>
                        </a:ln>
                        <a:solidFill>
                          <a:schemeClr val="tx1"/>
                        </a:solidFill>
                        <a:effectLst/>
                        <a:latin typeface="Agency FB"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475570">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rgbClr val="CC3300"/>
                          </a:solidFill>
                          <a:effectLst/>
                          <a:latin typeface="Agency FB" pitchFamily="34" charset="0"/>
                        </a:rPr>
                        <a:t>2.</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Penyampaian</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KUA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dan</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PPAS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oleh</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TAPD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kpd</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KDH</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Minggu</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I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Bulan</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Juni</a:t>
                      </a:r>
                      <a:endPar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342900" marR="0" lvl="0" indent="-34290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1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Minggu</a:t>
                      </a:r>
                      <a:endPar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475570">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rgbClr val="CC3300"/>
                          </a:solidFill>
                          <a:effectLst/>
                          <a:latin typeface="Agency FB" pitchFamily="34" charset="0"/>
                        </a:rPr>
                        <a:t>3.</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sv-SE"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Penyampaian KUA dan PPAS oleh KDH kpd DPRD</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Awal</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Minggu</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ke-2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dua</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Bulan</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Juni</a:t>
                      </a:r>
                      <a:endPar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rowSpan="2">
                  <a:txBody>
                    <a:bodyPr/>
                    <a:lstStyle/>
                    <a:p>
                      <a:pPr marL="342900" marR="0" lvl="0" indent="-34290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6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Minggu</a:t>
                      </a:r>
                      <a:endPar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392836">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CC3300"/>
                          </a:solidFill>
                          <a:effectLst/>
                          <a:latin typeface="Agency FB" pitchFamily="34" charset="0"/>
                        </a:rPr>
                        <a:t>4.</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KUA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dan</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PPAS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disepakati</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antara</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KDH &amp; DPRD</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Akhir</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Bulan</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CC3300"/>
                          </a:solidFill>
                          <a:effectLst/>
                          <a:latin typeface="Agency FB" pitchFamily="34" charset="0"/>
                          <a:ea typeface="Times New Roman" pitchFamily="18" charset="0"/>
                          <a:cs typeface="Tahoma" pitchFamily="34" charset="0"/>
                        </a:rPr>
                        <a:t>Juli</a:t>
                      </a:r>
                      <a:r>
                        <a:rPr kumimoji="0" lang="en-US" sz="2000" b="1" i="0" u="none" strike="noStrike" cap="none" normalizeH="0" baseline="0" dirty="0" smtClean="0">
                          <a:ln>
                            <a:noFill/>
                          </a:ln>
                          <a:solidFill>
                            <a:srgbClr val="CC3300"/>
                          </a:solidFill>
                          <a:effectLst/>
                          <a:latin typeface="Agency FB" pitchFamily="34" charset="0"/>
                          <a:ea typeface="Times New Roman" pitchFamily="18" charset="0"/>
                          <a:cs typeface="Tahoma" pitchFamily="34" charset="0"/>
                        </a:rPr>
                        <a:t> </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vMerge="1">
                  <a:txBody>
                    <a:bodyPr/>
                    <a:lstStyle/>
                    <a:p>
                      <a:endParaRPr lang="en-US"/>
                    </a:p>
                  </a:txBody>
                  <a:tcPr/>
                </a:tc>
              </a:tr>
              <a:tr h="475570">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rPr>
                        <a:t>5.</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fi-FI"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SE KDH perihal Pedoman RKA-SKPD dan RKA-PPKD</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Awal</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Bulan</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Agustus</a:t>
                      </a:r>
                      <a:endPar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342900" marR="0" lvl="0" indent="-34290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1 </a:t>
                      </a:r>
                      <a:r>
                        <a:rPr kumimoji="0" lang="en-US" sz="2000" b="1"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Minggu</a:t>
                      </a:r>
                      <a:endParaRPr kumimoji="0" lang="en-US" sz="2000" b="1"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392836">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rPr>
                        <a:t>6.</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Penyusunan</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RKA-SKPD &amp; RKA-PPKD</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Agustus</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s/d September</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342900" marR="0" lvl="0" indent="-34290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7 </a:t>
                      </a:r>
                      <a:r>
                        <a:rPr kumimoji="0" lang="en-US" sz="2000" b="1"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Minggu</a:t>
                      </a:r>
                      <a:endParaRPr kumimoji="0" lang="en-US" sz="2000" b="1"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392836">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rPr>
                        <a:t>7.</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ea typeface="Times New Roman" pitchFamily="18" charset="0"/>
                          <a:cs typeface="Tahoma" pitchFamily="34" charset="0"/>
                        </a:rPr>
                        <a:t>Penyampaian RAPBD kpd DPRD </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Minggu</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pertama</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Bulan</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Oktober</a:t>
                      </a:r>
                      <a:endPar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rowSpan="2">
                  <a:txBody>
                    <a:bodyPr/>
                    <a:lstStyle/>
                    <a:p>
                      <a:pPr marL="342900" marR="0" lvl="0" indent="-34290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8 </a:t>
                      </a:r>
                      <a:r>
                        <a:rPr kumimoji="0" lang="en-US" sz="2000" b="1"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Minggu</a:t>
                      </a:r>
                      <a:endParaRPr kumimoji="0" lang="en-US" sz="2000" b="1"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475570">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rPr>
                        <a:t>8.</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ea typeface="Times New Roman" pitchFamily="18" charset="0"/>
                          <a:cs typeface="Tahoma" pitchFamily="34" charset="0"/>
                        </a:rPr>
                        <a:t>Pengambilan Kep.Bersama (DPRD &amp; KDH)</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Paling lama 1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satu</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Bulan</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sebelum</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TA yang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bersangkutan</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tgl</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 30 </a:t>
                      </a:r>
                      <a:r>
                        <a:rPr kumimoji="0" lang="en-US" sz="2000" b="0" i="0" u="none" strike="noStrike" cap="none" normalizeH="0" baseline="0" dirty="0" err="1" smtClean="0">
                          <a:ln>
                            <a:noFill/>
                          </a:ln>
                          <a:solidFill>
                            <a:schemeClr val="tx1"/>
                          </a:solidFill>
                          <a:effectLst/>
                          <a:latin typeface="Agency FB" pitchFamily="34" charset="0"/>
                          <a:ea typeface="Times New Roman" pitchFamily="18" charset="0"/>
                          <a:cs typeface="Tahoma" pitchFamily="34" charset="0"/>
                        </a:rPr>
                        <a:t>Nopember</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vMerge="1">
                  <a:txBody>
                    <a:bodyPr/>
                    <a:lstStyle/>
                    <a:p>
                      <a:endParaRPr lang="en-US"/>
                    </a:p>
                  </a:txBody>
                  <a:tcPr/>
                </a:tc>
              </a:tr>
              <a:tr h="392836">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rPr>
                        <a:t>9.</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ea typeface="Times New Roman" pitchFamily="18" charset="0"/>
                          <a:cs typeface="Tahoma" pitchFamily="34" charset="0"/>
                        </a:rPr>
                        <a:t>Hasil evaluasi RAPBD</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ea typeface="Times New Roman" pitchFamily="18" charset="0"/>
                          <a:cs typeface="Tahoma" pitchFamily="34" charset="0"/>
                        </a:rPr>
                        <a:t>15 hari kerja ( bulan Desember)</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endParaRPr kumimoji="0" lang="en-US" sz="2000" b="0" i="0" u="none" strike="noStrike" cap="none" normalizeH="0" baseline="0" dirty="0" smtClean="0">
                        <a:ln>
                          <a:noFill/>
                        </a:ln>
                        <a:solidFill>
                          <a:schemeClr val="tx1"/>
                        </a:solidFill>
                        <a:effectLst/>
                        <a:latin typeface="Agency FB"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555388">
                <a:tc>
                  <a:txBody>
                    <a:bodyPr/>
                    <a:lstStyle/>
                    <a:p>
                      <a:pPr marL="0" marR="0" lvl="0" indent="0" algn="ctr"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0" i="0" u="none" strike="noStrike" cap="none" normalizeH="0" baseline="0" smtClean="0">
                          <a:ln>
                            <a:noFill/>
                          </a:ln>
                          <a:solidFill>
                            <a:schemeClr val="tx1"/>
                          </a:solidFill>
                          <a:effectLst/>
                          <a:latin typeface="Agency FB" pitchFamily="34" charset="0"/>
                        </a:rPr>
                        <a:t>10.</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s-ES" sz="2000" b="0" i="0" u="none" strike="noStrike" cap="none" normalizeH="0" baseline="0" smtClean="0">
                          <a:ln>
                            <a:noFill/>
                          </a:ln>
                          <a:solidFill>
                            <a:schemeClr val="tx1"/>
                          </a:solidFill>
                          <a:effectLst/>
                          <a:latin typeface="Agency FB" pitchFamily="34" charset="0"/>
                          <a:ea typeface="Times New Roman" pitchFamily="18" charset="0"/>
                          <a:cs typeface="Tahoma" pitchFamily="34" charset="0"/>
                        </a:rPr>
                        <a:t>Penetapan Perda ttg APBD &amp; Raperkada ttg Penjabaran APBD sesuai dgn hasil evaluasi</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r>
                        <a:rPr kumimoji="0" lang="en-US" sz="2000" b="1" i="0" u="none" strike="noStrike" cap="none" normalizeH="0" baseline="0" dirty="0" err="1" smtClean="0">
                          <a:ln>
                            <a:noFill/>
                          </a:ln>
                          <a:solidFill>
                            <a:srgbClr val="FF0000"/>
                          </a:solidFill>
                          <a:effectLst/>
                          <a:latin typeface="Agency FB" pitchFamily="34" charset="0"/>
                          <a:ea typeface="Times New Roman" pitchFamily="18" charset="0"/>
                          <a:cs typeface="Tahoma" pitchFamily="34" charset="0"/>
                        </a:rPr>
                        <a:t>Akhir</a:t>
                      </a:r>
                      <a:r>
                        <a:rPr kumimoji="0" lang="en-US" sz="2000" b="1" i="0" u="none" strike="noStrike" cap="none" normalizeH="0" baseline="0" dirty="0" smtClean="0">
                          <a:ln>
                            <a:noFill/>
                          </a:ln>
                          <a:solidFill>
                            <a:srgbClr val="FF0000"/>
                          </a:solidFill>
                          <a:effectLst/>
                          <a:latin typeface="Agency FB" pitchFamily="34" charset="0"/>
                          <a:ea typeface="Times New Roman" pitchFamily="18" charset="0"/>
                          <a:cs typeface="Tahoma" pitchFamily="34" charset="0"/>
                        </a:rPr>
                        <a:t> </a:t>
                      </a:r>
                      <a:r>
                        <a:rPr kumimoji="0" lang="en-US" sz="2000" b="1" i="0" u="none" strike="noStrike" cap="none" normalizeH="0" baseline="0" dirty="0" err="1" smtClean="0">
                          <a:ln>
                            <a:noFill/>
                          </a:ln>
                          <a:solidFill>
                            <a:srgbClr val="FF0000"/>
                          </a:solidFill>
                          <a:effectLst/>
                          <a:latin typeface="Agency FB" pitchFamily="34" charset="0"/>
                          <a:ea typeface="Times New Roman" pitchFamily="18" charset="0"/>
                          <a:cs typeface="Tahoma" pitchFamily="34" charset="0"/>
                        </a:rPr>
                        <a:t>Desember</a:t>
                      </a:r>
                      <a:r>
                        <a:rPr kumimoji="0" lang="en-US" sz="2000" b="1" i="0" u="none" strike="noStrike" cap="none" normalizeH="0" baseline="0" dirty="0" smtClean="0">
                          <a:ln>
                            <a:noFill/>
                          </a:ln>
                          <a:solidFill>
                            <a:srgbClr val="FF0000"/>
                          </a:solidFill>
                          <a:effectLst/>
                          <a:latin typeface="Agency FB" pitchFamily="34" charset="0"/>
                          <a:ea typeface="Times New Roman" pitchFamily="18" charset="0"/>
                          <a:cs typeface="Tahoma" pitchFamily="34" charset="0"/>
                        </a:rPr>
                        <a:t> (31 </a:t>
                      </a:r>
                      <a:r>
                        <a:rPr kumimoji="0" lang="en-US" sz="2000" b="1" i="0" u="none" strike="noStrike" cap="none" normalizeH="0" baseline="0" dirty="0" err="1" smtClean="0">
                          <a:ln>
                            <a:noFill/>
                          </a:ln>
                          <a:solidFill>
                            <a:srgbClr val="FF0000"/>
                          </a:solidFill>
                          <a:effectLst/>
                          <a:latin typeface="Agency FB" pitchFamily="34" charset="0"/>
                          <a:ea typeface="Times New Roman" pitchFamily="18" charset="0"/>
                          <a:cs typeface="Tahoma" pitchFamily="34" charset="0"/>
                        </a:rPr>
                        <a:t>Desember</a:t>
                      </a:r>
                      <a:r>
                        <a:rPr kumimoji="0" lang="en-US" sz="2000" b="0" i="0" u="none" strike="noStrike" cap="none" normalizeH="0" baseline="0" dirty="0" smtClean="0">
                          <a:ln>
                            <a:noFill/>
                          </a:ln>
                          <a:solidFill>
                            <a:schemeClr val="tx1"/>
                          </a:solidFill>
                          <a:effectLst/>
                          <a:latin typeface="Agency FB" pitchFamily="34" charset="0"/>
                          <a:ea typeface="Times New Roman" pitchFamily="18" charset="0"/>
                          <a:cs typeface="Tahoma" pitchFamily="34" charset="0"/>
                        </a:rPr>
                        <a:t>)</a:t>
                      </a: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just" defTabSz="914400" rtl="0" eaLnBrk="1" fontAlgn="base" latinLnBrk="0" hangingPunct="1">
                        <a:lnSpc>
                          <a:spcPct val="90000"/>
                        </a:lnSpc>
                        <a:spcBef>
                          <a:spcPct val="0"/>
                        </a:spcBef>
                        <a:spcAft>
                          <a:spcPct val="0"/>
                        </a:spcAft>
                        <a:buClr>
                          <a:schemeClr val="hlink"/>
                        </a:buClr>
                        <a:buSzPct val="70000"/>
                        <a:buFont typeface="Wingdings" pitchFamily="2" charset="2"/>
                        <a:buNone/>
                        <a:tabLst/>
                      </a:pPr>
                      <a:endParaRPr kumimoji="0" lang="en-US" sz="2000" b="0" i="0" u="none" strike="noStrike" cap="none" normalizeH="0" baseline="0" dirty="0" smtClean="0">
                        <a:ln>
                          <a:noFill/>
                        </a:ln>
                        <a:solidFill>
                          <a:schemeClr val="tx1"/>
                        </a:solidFill>
                        <a:effectLst/>
                        <a:latin typeface="Agency FB" pitchFamily="34" charset="0"/>
                      </a:endParaRPr>
                    </a:p>
                  </a:txBody>
                  <a:tcPr marL="112528" marR="112528" marT="45737" marB="4573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bl>
          </a:graphicData>
        </a:graphic>
      </p:graphicFrame>
      <p:sp>
        <p:nvSpPr>
          <p:cNvPr id="16" name="Rectangle 15"/>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7" name="Rectangle 16"/>
          <p:cNvSpPr/>
          <p:nvPr/>
        </p:nvSpPr>
        <p:spPr>
          <a:xfrm>
            <a:off x="1016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JADWAL PENYUSUNAN DAN PENETAPAN RAPBD</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35579355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5"/>
          <p:cNvSpPr>
            <a:spLocks noChangeArrowheads="1"/>
          </p:cNvSpPr>
          <p:nvPr/>
        </p:nvSpPr>
        <p:spPr bwMode="auto">
          <a:xfrm>
            <a:off x="-152400" y="1876282"/>
            <a:ext cx="10701867" cy="3914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marL="228600" algn="just">
              <a:lnSpc>
                <a:spcPct val="90000"/>
              </a:lnSpc>
              <a:buSzPct val="85000"/>
              <a:tabLst>
                <a:tab pos="685800" algn="l"/>
              </a:tabLst>
            </a:pPr>
            <a:r>
              <a:rPr lang="en-US" sz="2600" dirty="0" err="1" smtClean="0">
                <a:solidFill>
                  <a:srgbClr val="FF0000"/>
                </a:solidFill>
                <a:latin typeface="Agency FB" pitchFamily="34" charset="0"/>
              </a:rPr>
              <a:t>Pasal</a:t>
            </a:r>
            <a:r>
              <a:rPr lang="en-US" sz="2600" dirty="0" smtClean="0">
                <a:solidFill>
                  <a:srgbClr val="FF0000"/>
                </a:solidFill>
                <a:latin typeface="Agency FB" pitchFamily="34" charset="0"/>
              </a:rPr>
              <a:t> 77 </a:t>
            </a:r>
            <a:r>
              <a:rPr lang="en-US" sz="2600" dirty="0" err="1" smtClean="0">
                <a:solidFill>
                  <a:srgbClr val="FF0000"/>
                </a:solidFill>
                <a:latin typeface="Agency FB" pitchFamily="34" charset="0"/>
              </a:rPr>
              <a:t>ayat</a:t>
            </a:r>
            <a:r>
              <a:rPr lang="en-US" sz="2600" dirty="0" smtClean="0">
                <a:solidFill>
                  <a:srgbClr val="FF0000"/>
                </a:solidFill>
                <a:latin typeface="Agency FB" pitchFamily="34" charset="0"/>
              </a:rPr>
              <a:t> (12)</a:t>
            </a:r>
          </a:p>
          <a:p>
            <a:pPr marL="228600" algn="just">
              <a:lnSpc>
                <a:spcPct val="90000"/>
              </a:lnSpc>
              <a:buSzPct val="85000"/>
              <a:tabLst>
                <a:tab pos="685800" algn="l"/>
              </a:tabLst>
            </a:pPr>
            <a:r>
              <a:rPr lang="en-US" sz="2800" dirty="0" err="1">
                <a:solidFill>
                  <a:schemeClr val="dk1"/>
                </a:solidFill>
                <a:latin typeface="Agency FB" pitchFamily="34" charset="0"/>
              </a:rPr>
              <a:t>Lampiran</a:t>
            </a:r>
            <a:r>
              <a:rPr lang="en-US" sz="2800" dirty="0">
                <a:solidFill>
                  <a:schemeClr val="dk1"/>
                </a:solidFill>
                <a:latin typeface="Agency FB" pitchFamily="34" charset="0"/>
              </a:rPr>
              <a:t> </a:t>
            </a:r>
            <a:r>
              <a:rPr lang="en-US" sz="2800" dirty="0" err="1">
                <a:solidFill>
                  <a:schemeClr val="dk1"/>
                </a:solidFill>
                <a:latin typeface="Agency FB" pitchFamily="34" charset="0"/>
              </a:rPr>
              <a:t>kode</a:t>
            </a:r>
            <a:r>
              <a:rPr lang="en-US" sz="2800" dirty="0">
                <a:solidFill>
                  <a:schemeClr val="dk1"/>
                </a:solidFill>
                <a:latin typeface="Agency FB" pitchFamily="34" charset="0"/>
              </a:rPr>
              <a:t> </a:t>
            </a:r>
            <a:r>
              <a:rPr lang="en-US" sz="2800" dirty="0" err="1">
                <a:solidFill>
                  <a:schemeClr val="dk1"/>
                </a:solidFill>
                <a:latin typeface="Agency FB" pitchFamily="34" charset="0"/>
              </a:rPr>
              <a:t>rekening</a:t>
            </a:r>
            <a:r>
              <a:rPr lang="en-US" sz="2800" dirty="0">
                <a:solidFill>
                  <a:schemeClr val="dk1"/>
                </a:solidFill>
                <a:latin typeface="Agency FB" pitchFamily="34" charset="0"/>
              </a:rPr>
              <a:t> </a:t>
            </a:r>
            <a:r>
              <a:rPr lang="en-US" sz="2800" dirty="0" err="1">
                <a:solidFill>
                  <a:schemeClr val="dk1"/>
                </a:solidFill>
                <a:latin typeface="Agency FB" pitchFamily="34" charset="0"/>
              </a:rPr>
              <a:t>merupakan</a:t>
            </a:r>
            <a:r>
              <a:rPr lang="en-US" sz="2800" dirty="0">
                <a:solidFill>
                  <a:schemeClr val="dk1"/>
                </a:solidFill>
                <a:latin typeface="Agency FB" pitchFamily="34" charset="0"/>
              </a:rPr>
              <a:t> </a:t>
            </a:r>
            <a:r>
              <a:rPr lang="en-US" sz="2800" dirty="0" err="1">
                <a:solidFill>
                  <a:schemeClr val="dk1"/>
                </a:solidFill>
                <a:latin typeface="Agency FB" pitchFamily="34" charset="0"/>
              </a:rPr>
              <a:t>daftar</a:t>
            </a:r>
            <a:r>
              <a:rPr lang="en-US" sz="2800" dirty="0">
                <a:solidFill>
                  <a:schemeClr val="dk1"/>
                </a:solidFill>
                <a:latin typeface="Agency FB" pitchFamily="34" charset="0"/>
              </a:rPr>
              <a:t> </a:t>
            </a:r>
            <a:r>
              <a:rPr lang="en-US" sz="2800" dirty="0" err="1">
                <a:solidFill>
                  <a:schemeClr val="dk1"/>
                </a:solidFill>
                <a:latin typeface="Agency FB" pitchFamily="34" charset="0"/>
              </a:rPr>
              <a:t>nama</a:t>
            </a:r>
            <a:r>
              <a:rPr lang="en-US" sz="2800" dirty="0">
                <a:solidFill>
                  <a:schemeClr val="dk1"/>
                </a:solidFill>
                <a:latin typeface="Agency FB" pitchFamily="34" charset="0"/>
              </a:rPr>
              <a:t> </a:t>
            </a:r>
            <a:r>
              <a:rPr lang="en-US" sz="2800" dirty="0" err="1">
                <a:solidFill>
                  <a:schemeClr val="dk1"/>
                </a:solidFill>
                <a:latin typeface="Agency FB" pitchFamily="34" charset="0"/>
              </a:rPr>
              <a:t>rekening</a:t>
            </a:r>
            <a:r>
              <a:rPr lang="en-US" sz="2800" dirty="0">
                <a:solidFill>
                  <a:schemeClr val="dk1"/>
                </a:solidFill>
                <a:latin typeface="Agency FB" pitchFamily="34" charset="0"/>
              </a:rPr>
              <a:t> </a:t>
            </a:r>
            <a:r>
              <a:rPr lang="en-US" sz="2800" dirty="0" err="1">
                <a:solidFill>
                  <a:schemeClr val="dk1"/>
                </a:solidFill>
                <a:latin typeface="Agency FB" pitchFamily="34" charset="0"/>
              </a:rPr>
              <a:t>dan</a:t>
            </a:r>
            <a:r>
              <a:rPr lang="en-US" sz="2800" dirty="0">
                <a:solidFill>
                  <a:schemeClr val="dk1"/>
                </a:solidFill>
                <a:latin typeface="Agency FB" pitchFamily="34" charset="0"/>
              </a:rPr>
              <a:t> </a:t>
            </a:r>
            <a:r>
              <a:rPr lang="en-US" sz="2800" dirty="0" err="1">
                <a:solidFill>
                  <a:schemeClr val="dk1"/>
                </a:solidFill>
                <a:latin typeface="Agency FB" pitchFamily="34" charset="0"/>
              </a:rPr>
              <a:t>kode</a:t>
            </a:r>
            <a:r>
              <a:rPr lang="en-US" sz="2800" dirty="0">
                <a:solidFill>
                  <a:schemeClr val="dk1"/>
                </a:solidFill>
                <a:latin typeface="Agency FB" pitchFamily="34" charset="0"/>
              </a:rPr>
              <a:t> </a:t>
            </a:r>
            <a:r>
              <a:rPr lang="en-US" sz="2800" dirty="0" err="1">
                <a:solidFill>
                  <a:schemeClr val="dk1"/>
                </a:solidFill>
                <a:latin typeface="Agency FB" pitchFamily="34" charset="0"/>
              </a:rPr>
              <a:t>rekening</a:t>
            </a:r>
            <a:r>
              <a:rPr lang="en-US" sz="2800" dirty="0">
                <a:solidFill>
                  <a:schemeClr val="dk1"/>
                </a:solidFill>
                <a:latin typeface="Agency FB" pitchFamily="34" charset="0"/>
              </a:rPr>
              <a:t> yang </a:t>
            </a:r>
            <a:r>
              <a:rPr lang="en-US" sz="2800" dirty="0" err="1">
                <a:solidFill>
                  <a:schemeClr val="dk1"/>
                </a:solidFill>
                <a:latin typeface="Agency FB" pitchFamily="34" charset="0"/>
              </a:rPr>
              <a:t>tidak</a:t>
            </a:r>
            <a:r>
              <a:rPr lang="en-US" sz="2800" dirty="0">
                <a:solidFill>
                  <a:schemeClr val="dk1"/>
                </a:solidFill>
                <a:latin typeface="Agency FB" pitchFamily="34" charset="0"/>
              </a:rPr>
              <a:t> </a:t>
            </a:r>
            <a:r>
              <a:rPr lang="en-US" sz="2800" dirty="0" err="1">
                <a:solidFill>
                  <a:schemeClr val="dk1"/>
                </a:solidFill>
                <a:latin typeface="Agency FB" pitchFamily="34" charset="0"/>
              </a:rPr>
              <a:t>merupakan</a:t>
            </a:r>
            <a:r>
              <a:rPr lang="en-US" sz="2800" dirty="0">
                <a:solidFill>
                  <a:schemeClr val="dk1"/>
                </a:solidFill>
                <a:latin typeface="Agency FB" pitchFamily="34" charset="0"/>
              </a:rPr>
              <a:t> </a:t>
            </a:r>
            <a:r>
              <a:rPr lang="en-US" sz="2800" dirty="0" err="1">
                <a:solidFill>
                  <a:schemeClr val="dk1"/>
                </a:solidFill>
                <a:latin typeface="Agency FB" pitchFamily="34" charset="0"/>
              </a:rPr>
              <a:t>acuan</a:t>
            </a:r>
            <a:r>
              <a:rPr lang="en-US" sz="2800" dirty="0">
                <a:solidFill>
                  <a:schemeClr val="dk1"/>
                </a:solidFill>
                <a:latin typeface="Agency FB" pitchFamily="34" charset="0"/>
              </a:rPr>
              <a:t> </a:t>
            </a:r>
            <a:r>
              <a:rPr lang="en-US" sz="2800" dirty="0" err="1">
                <a:solidFill>
                  <a:schemeClr val="dk1"/>
                </a:solidFill>
                <a:latin typeface="Agency FB" pitchFamily="34" charset="0"/>
              </a:rPr>
              <a:t>baku</a:t>
            </a:r>
            <a:r>
              <a:rPr lang="en-US" sz="2800" dirty="0">
                <a:solidFill>
                  <a:schemeClr val="dk1"/>
                </a:solidFill>
                <a:latin typeface="Agency FB" pitchFamily="34" charset="0"/>
              </a:rPr>
              <a:t> </a:t>
            </a:r>
            <a:r>
              <a:rPr lang="en-US" sz="2800" dirty="0" err="1">
                <a:solidFill>
                  <a:schemeClr val="dk1"/>
                </a:solidFill>
                <a:latin typeface="Agency FB" pitchFamily="34" charset="0"/>
              </a:rPr>
              <a:t>dalam</a:t>
            </a:r>
            <a:r>
              <a:rPr lang="en-US" sz="2800" dirty="0">
                <a:solidFill>
                  <a:schemeClr val="dk1"/>
                </a:solidFill>
                <a:latin typeface="Agency FB" pitchFamily="34" charset="0"/>
              </a:rPr>
              <a:t> </a:t>
            </a:r>
            <a:r>
              <a:rPr lang="en-US" sz="2800" dirty="0" err="1">
                <a:solidFill>
                  <a:schemeClr val="dk1"/>
                </a:solidFill>
                <a:latin typeface="Agency FB" pitchFamily="34" charset="0"/>
              </a:rPr>
              <a:t>penyusunan</a:t>
            </a:r>
            <a:r>
              <a:rPr lang="en-US" sz="2800" dirty="0">
                <a:solidFill>
                  <a:schemeClr val="dk1"/>
                </a:solidFill>
                <a:latin typeface="Agency FB" pitchFamily="34" charset="0"/>
              </a:rPr>
              <a:t> </a:t>
            </a:r>
            <a:r>
              <a:rPr lang="en-US" sz="2800" dirty="0" err="1">
                <a:solidFill>
                  <a:schemeClr val="dk1"/>
                </a:solidFill>
                <a:latin typeface="Agency FB" pitchFamily="34" charset="0"/>
              </a:rPr>
              <a:t>kode</a:t>
            </a:r>
            <a:r>
              <a:rPr lang="en-US" sz="2800" dirty="0">
                <a:solidFill>
                  <a:schemeClr val="dk1"/>
                </a:solidFill>
                <a:latin typeface="Agency FB" pitchFamily="34" charset="0"/>
              </a:rPr>
              <a:t> </a:t>
            </a:r>
            <a:r>
              <a:rPr lang="en-US" sz="2800" dirty="0" err="1">
                <a:solidFill>
                  <a:schemeClr val="dk1"/>
                </a:solidFill>
                <a:latin typeface="Agency FB" pitchFamily="34" charset="0"/>
              </a:rPr>
              <a:t>rekening</a:t>
            </a:r>
            <a:r>
              <a:rPr lang="en-US" sz="2800" dirty="0">
                <a:solidFill>
                  <a:schemeClr val="dk1"/>
                </a:solidFill>
                <a:latin typeface="Agency FB" pitchFamily="34" charset="0"/>
              </a:rPr>
              <a:t> yang </a:t>
            </a:r>
            <a:r>
              <a:rPr lang="en-US" sz="2800" dirty="0" err="1">
                <a:solidFill>
                  <a:schemeClr val="dk1"/>
                </a:solidFill>
                <a:latin typeface="Agency FB" pitchFamily="34" charset="0"/>
              </a:rPr>
              <a:t>pemilihannya</a:t>
            </a:r>
            <a:r>
              <a:rPr lang="en-US" sz="2800" dirty="0">
                <a:solidFill>
                  <a:schemeClr val="dk1"/>
                </a:solidFill>
                <a:latin typeface="Agency FB" pitchFamily="34" charset="0"/>
              </a:rPr>
              <a:t> </a:t>
            </a:r>
            <a:r>
              <a:rPr lang="en-US" sz="2800" dirty="0" err="1">
                <a:solidFill>
                  <a:schemeClr val="dk1"/>
                </a:solidFill>
                <a:latin typeface="Agency FB" pitchFamily="34" charset="0"/>
              </a:rPr>
              <a:t>disesuaikan</a:t>
            </a:r>
            <a:r>
              <a:rPr lang="en-US" sz="2800" dirty="0">
                <a:solidFill>
                  <a:schemeClr val="dk1"/>
                </a:solidFill>
                <a:latin typeface="Agency FB" pitchFamily="34" charset="0"/>
              </a:rPr>
              <a:t> </a:t>
            </a:r>
            <a:r>
              <a:rPr lang="en-US" sz="2800" dirty="0" err="1">
                <a:solidFill>
                  <a:schemeClr val="dk1"/>
                </a:solidFill>
                <a:latin typeface="Agency FB" pitchFamily="34" charset="0"/>
              </a:rPr>
              <a:t>dengan</a:t>
            </a:r>
            <a:r>
              <a:rPr lang="en-US" sz="2800" dirty="0">
                <a:solidFill>
                  <a:schemeClr val="dk1"/>
                </a:solidFill>
                <a:latin typeface="Agency FB" pitchFamily="34" charset="0"/>
              </a:rPr>
              <a:t> </a:t>
            </a:r>
            <a:r>
              <a:rPr lang="en-US" sz="2800" dirty="0" err="1">
                <a:solidFill>
                  <a:schemeClr val="dk1"/>
                </a:solidFill>
                <a:latin typeface="Agency FB" pitchFamily="34" charset="0"/>
              </a:rPr>
              <a:t>kebutuhan</a:t>
            </a:r>
            <a:r>
              <a:rPr lang="en-US" sz="2800" dirty="0">
                <a:solidFill>
                  <a:schemeClr val="dk1"/>
                </a:solidFill>
                <a:latin typeface="Agency FB" pitchFamily="34" charset="0"/>
              </a:rPr>
              <a:t> </a:t>
            </a:r>
            <a:r>
              <a:rPr lang="en-US" sz="2800" dirty="0" err="1">
                <a:solidFill>
                  <a:schemeClr val="dk1"/>
                </a:solidFill>
                <a:latin typeface="Agency FB" pitchFamily="34" charset="0"/>
              </a:rPr>
              <a:t>objektif</a:t>
            </a:r>
            <a:r>
              <a:rPr lang="en-US" sz="2800" dirty="0">
                <a:solidFill>
                  <a:schemeClr val="dk1"/>
                </a:solidFill>
                <a:latin typeface="Agency FB" pitchFamily="34" charset="0"/>
              </a:rPr>
              <a:t> </a:t>
            </a:r>
            <a:r>
              <a:rPr lang="en-US" sz="2800" dirty="0" err="1">
                <a:solidFill>
                  <a:schemeClr val="dk1"/>
                </a:solidFill>
                <a:latin typeface="Agency FB" pitchFamily="34" charset="0"/>
              </a:rPr>
              <a:t>dan</a:t>
            </a:r>
            <a:r>
              <a:rPr lang="en-US" sz="2800" dirty="0">
                <a:solidFill>
                  <a:schemeClr val="dk1"/>
                </a:solidFill>
                <a:latin typeface="Agency FB" pitchFamily="34" charset="0"/>
              </a:rPr>
              <a:t> </a:t>
            </a:r>
            <a:r>
              <a:rPr lang="en-US" sz="2800" dirty="0" err="1">
                <a:solidFill>
                  <a:schemeClr val="dk1"/>
                </a:solidFill>
                <a:latin typeface="Agency FB" pitchFamily="34" charset="0"/>
              </a:rPr>
              <a:t>nyata</a:t>
            </a:r>
            <a:r>
              <a:rPr lang="en-US" sz="2800" dirty="0">
                <a:solidFill>
                  <a:schemeClr val="dk1"/>
                </a:solidFill>
                <a:latin typeface="Agency FB" pitchFamily="34" charset="0"/>
              </a:rPr>
              <a:t> </a:t>
            </a:r>
            <a:r>
              <a:rPr lang="en-US" sz="2800" dirty="0" err="1">
                <a:solidFill>
                  <a:schemeClr val="dk1"/>
                </a:solidFill>
                <a:latin typeface="Agency FB" pitchFamily="34" charset="0"/>
              </a:rPr>
              <a:t>sesuai</a:t>
            </a:r>
            <a:r>
              <a:rPr lang="en-US" sz="2800" dirty="0">
                <a:solidFill>
                  <a:schemeClr val="dk1"/>
                </a:solidFill>
                <a:latin typeface="Agency FB" pitchFamily="34" charset="0"/>
              </a:rPr>
              <a:t> </a:t>
            </a:r>
            <a:r>
              <a:rPr lang="en-US" sz="2800" dirty="0" err="1">
                <a:solidFill>
                  <a:schemeClr val="dk1"/>
                </a:solidFill>
                <a:latin typeface="Agency FB" pitchFamily="34" charset="0"/>
              </a:rPr>
              <a:t>karakteristik</a:t>
            </a:r>
            <a:r>
              <a:rPr lang="en-US" sz="2800" dirty="0">
                <a:solidFill>
                  <a:schemeClr val="dk1"/>
                </a:solidFill>
                <a:latin typeface="Agency FB" pitchFamily="34" charset="0"/>
              </a:rPr>
              <a:t> </a:t>
            </a:r>
            <a:r>
              <a:rPr lang="en-US" sz="2800" dirty="0" err="1">
                <a:solidFill>
                  <a:schemeClr val="dk1"/>
                </a:solidFill>
                <a:latin typeface="Agency FB" pitchFamily="34" charset="0"/>
              </a:rPr>
              <a:t>daerah</a:t>
            </a:r>
            <a:r>
              <a:rPr lang="en-US" sz="2800" dirty="0">
                <a:solidFill>
                  <a:schemeClr val="dk1"/>
                </a:solidFill>
                <a:latin typeface="Agency FB" pitchFamily="34" charset="0"/>
              </a:rPr>
              <a:t>.</a:t>
            </a:r>
          </a:p>
          <a:p>
            <a:pPr marL="1036638" indent="-350838" algn="just">
              <a:lnSpc>
                <a:spcPct val="90000"/>
              </a:lnSpc>
              <a:buSzPct val="85000"/>
              <a:buFont typeface="Wingdings" pitchFamily="2" charset="2"/>
              <a:buChar char="Ø"/>
            </a:pPr>
            <a:r>
              <a:rPr lang="en-US" sz="2800" dirty="0">
                <a:solidFill>
                  <a:schemeClr val="dk1"/>
                </a:solidFill>
                <a:latin typeface="Agency FB" pitchFamily="34" charset="0"/>
              </a:rPr>
              <a:t>Daerah </a:t>
            </a:r>
            <a:r>
              <a:rPr lang="en-US" sz="2800" dirty="0" err="1">
                <a:solidFill>
                  <a:schemeClr val="dk1"/>
                </a:solidFill>
                <a:latin typeface="Agency FB" pitchFamily="34" charset="0"/>
              </a:rPr>
              <a:t>diberikan</a:t>
            </a:r>
            <a:r>
              <a:rPr lang="en-US" sz="2800" dirty="0">
                <a:solidFill>
                  <a:schemeClr val="dk1"/>
                </a:solidFill>
                <a:latin typeface="Agency FB" pitchFamily="34" charset="0"/>
              </a:rPr>
              <a:t> </a:t>
            </a:r>
            <a:r>
              <a:rPr lang="en-US" sz="2800" dirty="0" err="1">
                <a:solidFill>
                  <a:schemeClr val="dk1"/>
                </a:solidFill>
                <a:latin typeface="Agency FB" pitchFamily="34" charset="0"/>
              </a:rPr>
              <a:t>diskresi</a:t>
            </a:r>
            <a:r>
              <a:rPr lang="en-US" sz="2800" dirty="0">
                <a:solidFill>
                  <a:schemeClr val="dk1"/>
                </a:solidFill>
                <a:latin typeface="Agency FB" pitchFamily="34" charset="0"/>
              </a:rPr>
              <a:t> </a:t>
            </a:r>
            <a:r>
              <a:rPr lang="en-US" sz="2800" dirty="0" err="1">
                <a:solidFill>
                  <a:schemeClr val="dk1"/>
                </a:solidFill>
                <a:latin typeface="Agency FB" pitchFamily="34" charset="0"/>
              </a:rPr>
              <a:t>untuk</a:t>
            </a:r>
            <a:r>
              <a:rPr lang="en-US" sz="2800" dirty="0">
                <a:solidFill>
                  <a:schemeClr val="dk1"/>
                </a:solidFill>
                <a:latin typeface="Agency FB" pitchFamily="34" charset="0"/>
              </a:rPr>
              <a:t> </a:t>
            </a:r>
            <a:r>
              <a:rPr lang="en-US" sz="2800" dirty="0" err="1">
                <a:solidFill>
                  <a:schemeClr val="dk1"/>
                </a:solidFill>
                <a:latin typeface="Agency FB" pitchFamily="34" charset="0"/>
              </a:rPr>
              <a:t>menambah</a:t>
            </a:r>
            <a:r>
              <a:rPr lang="en-US" sz="2800" dirty="0">
                <a:solidFill>
                  <a:schemeClr val="dk1"/>
                </a:solidFill>
                <a:latin typeface="Agency FB" pitchFamily="34" charset="0"/>
              </a:rPr>
              <a:t>/</a:t>
            </a:r>
            <a:r>
              <a:rPr lang="en-US" sz="2800" dirty="0" err="1">
                <a:solidFill>
                  <a:schemeClr val="dk1"/>
                </a:solidFill>
                <a:latin typeface="Agency FB" pitchFamily="34" charset="0"/>
              </a:rPr>
              <a:t>membuat</a:t>
            </a:r>
            <a:r>
              <a:rPr lang="en-US" sz="2800" dirty="0">
                <a:solidFill>
                  <a:schemeClr val="dk1"/>
                </a:solidFill>
                <a:latin typeface="Agency FB" pitchFamily="34" charset="0"/>
              </a:rPr>
              <a:t> program </a:t>
            </a:r>
            <a:r>
              <a:rPr lang="en-US" sz="2800" dirty="0" err="1">
                <a:solidFill>
                  <a:schemeClr val="dk1"/>
                </a:solidFill>
                <a:latin typeface="Agency FB" pitchFamily="34" charset="0"/>
              </a:rPr>
              <a:t>dan</a:t>
            </a:r>
            <a:r>
              <a:rPr lang="en-US" sz="2800" dirty="0">
                <a:solidFill>
                  <a:schemeClr val="dk1"/>
                </a:solidFill>
                <a:latin typeface="Agency FB" pitchFamily="34" charset="0"/>
              </a:rPr>
              <a:t> </a:t>
            </a:r>
            <a:r>
              <a:rPr lang="en-US" sz="2800" dirty="0" err="1">
                <a:solidFill>
                  <a:schemeClr val="dk1"/>
                </a:solidFill>
                <a:latin typeface="Agency FB" pitchFamily="34" charset="0"/>
              </a:rPr>
              <a:t>kegiatan</a:t>
            </a:r>
            <a:r>
              <a:rPr lang="en-US" sz="2800" dirty="0">
                <a:solidFill>
                  <a:schemeClr val="dk1"/>
                </a:solidFill>
                <a:latin typeface="Agency FB" pitchFamily="34" charset="0"/>
              </a:rPr>
              <a:t> </a:t>
            </a:r>
            <a:r>
              <a:rPr lang="en-US" sz="2800" dirty="0" err="1">
                <a:solidFill>
                  <a:schemeClr val="dk1"/>
                </a:solidFill>
                <a:latin typeface="Agency FB" pitchFamily="34" charset="0"/>
              </a:rPr>
              <a:t>sesuai</a:t>
            </a:r>
            <a:r>
              <a:rPr lang="en-US" sz="2800" dirty="0">
                <a:solidFill>
                  <a:schemeClr val="dk1"/>
                </a:solidFill>
                <a:latin typeface="Agency FB" pitchFamily="34" charset="0"/>
              </a:rPr>
              <a:t> </a:t>
            </a:r>
            <a:r>
              <a:rPr lang="en-US" sz="2800" dirty="0" err="1">
                <a:solidFill>
                  <a:schemeClr val="dk1"/>
                </a:solidFill>
                <a:latin typeface="Agency FB" pitchFamily="34" charset="0"/>
              </a:rPr>
              <a:t>dengan</a:t>
            </a:r>
            <a:r>
              <a:rPr lang="en-US" sz="2800" dirty="0">
                <a:solidFill>
                  <a:schemeClr val="dk1"/>
                </a:solidFill>
                <a:latin typeface="Agency FB" pitchFamily="34" charset="0"/>
              </a:rPr>
              <a:t> </a:t>
            </a:r>
            <a:r>
              <a:rPr lang="en-US" sz="2800" dirty="0" err="1">
                <a:solidFill>
                  <a:schemeClr val="dk1"/>
                </a:solidFill>
                <a:latin typeface="Agency FB" pitchFamily="34" charset="0"/>
              </a:rPr>
              <a:t>kebutuhan</a:t>
            </a:r>
            <a:r>
              <a:rPr lang="en-US" sz="2800" dirty="0">
                <a:solidFill>
                  <a:schemeClr val="dk1"/>
                </a:solidFill>
                <a:latin typeface="Agency FB" pitchFamily="34" charset="0"/>
              </a:rPr>
              <a:t> </a:t>
            </a:r>
            <a:r>
              <a:rPr lang="en-US" sz="2800" dirty="0" err="1">
                <a:solidFill>
                  <a:schemeClr val="dk1"/>
                </a:solidFill>
                <a:latin typeface="Agency FB" pitchFamily="34" charset="0"/>
              </a:rPr>
              <a:t>daerah</a:t>
            </a:r>
            <a:r>
              <a:rPr lang="en-US" sz="2800" dirty="0">
                <a:solidFill>
                  <a:schemeClr val="dk1"/>
                </a:solidFill>
                <a:latin typeface="Agency FB" pitchFamily="34" charset="0"/>
              </a:rPr>
              <a:t>.</a:t>
            </a:r>
          </a:p>
          <a:p>
            <a:pPr marL="1036638" indent="-350838" algn="just">
              <a:lnSpc>
                <a:spcPct val="90000"/>
              </a:lnSpc>
              <a:buSzPct val="85000"/>
              <a:buFont typeface="Wingdings" pitchFamily="2" charset="2"/>
              <a:buChar char="Ø"/>
            </a:pPr>
            <a:r>
              <a:rPr lang="en-US" sz="2800" dirty="0" err="1">
                <a:solidFill>
                  <a:schemeClr val="dk1"/>
                </a:solidFill>
                <a:latin typeface="Agency FB" pitchFamily="34" charset="0"/>
              </a:rPr>
              <a:t>Jika</a:t>
            </a:r>
            <a:r>
              <a:rPr lang="en-US" sz="2800" dirty="0">
                <a:solidFill>
                  <a:schemeClr val="dk1"/>
                </a:solidFill>
                <a:latin typeface="Agency FB" pitchFamily="34" charset="0"/>
              </a:rPr>
              <a:t> </a:t>
            </a:r>
            <a:r>
              <a:rPr lang="en-US" sz="2800" dirty="0" err="1">
                <a:solidFill>
                  <a:schemeClr val="dk1"/>
                </a:solidFill>
                <a:latin typeface="Agency FB" pitchFamily="34" charset="0"/>
              </a:rPr>
              <a:t>nomenklatur</a:t>
            </a:r>
            <a:r>
              <a:rPr lang="en-US" sz="2800" dirty="0">
                <a:solidFill>
                  <a:schemeClr val="dk1"/>
                </a:solidFill>
                <a:latin typeface="Agency FB" pitchFamily="34" charset="0"/>
              </a:rPr>
              <a:t> program </a:t>
            </a:r>
            <a:r>
              <a:rPr lang="en-US" sz="2800" dirty="0" err="1">
                <a:solidFill>
                  <a:schemeClr val="dk1"/>
                </a:solidFill>
                <a:latin typeface="Agency FB" pitchFamily="34" charset="0"/>
              </a:rPr>
              <a:t>dan</a:t>
            </a:r>
            <a:r>
              <a:rPr lang="en-US" sz="2800" dirty="0">
                <a:solidFill>
                  <a:schemeClr val="dk1"/>
                </a:solidFill>
                <a:latin typeface="Agency FB" pitchFamily="34" charset="0"/>
              </a:rPr>
              <a:t> </a:t>
            </a:r>
            <a:r>
              <a:rPr lang="en-US" sz="2800" dirty="0" err="1">
                <a:solidFill>
                  <a:schemeClr val="dk1"/>
                </a:solidFill>
                <a:latin typeface="Agency FB" pitchFamily="34" charset="0"/>
              </a:rPr>
              <a:t>kegiatan</a:t>
            </a:r>
            <a:r>
              <a:rPr lang="en-US" sz="2800" dirty="0">
                <a:solidFill>
                  <a:schemeClr val="dk1"/>
                </a:solidFill>
                <a:latin typeface="Agency FB" pitchFamily="34" charset="0"/>
              </a:rPr>
              <a:t> </a:t>
            </a:r>
            <a:r>
              <a:rPr lang="en-US" sz="2800" dirty="0" err="1">
                <a:solidFill>
                  <a:schemeClr val="dk1"/>
                </a:solidFill>
                <a:latin typeface="Agency FB" pitchFamily="34" charset="0"/>
              </a:rPr>
              <a:t>belum</a:t>
            </a:r>
            <a:r>
              <a:rPr lang="en-US" sz="2800" dirty="0">
                <a:solidFill>
                  <a:schemeClr val="dk1"/>
                </a:solidFill>
                <a:latin typeface="Agency FB" pitchFamily="34" charset="0"/>
              </a:rPr>
              <a:t> </a:t>
            </a:r>
            <a:r>
              <a:rPr lang="en-US" sz="2800" dirty="0" err="1">
                <a:solidFill>
                  <a:schemeClr val="dk1"/>
                </a:solidFill>
                <a:latin typeface="Agency FB" pitchFamily="34" charset="0"/>
              </a:rPr>
              <a:t>terdapat</a:t>
            </a:r>
            <a:r>
              <a:rPr lang="en-US" sz="2800" dirty="0">
                <a:solidFill>
                  <a:schemeClr val="dk1"/>
                </a:solidFill>
                <a:latin typeface="Agency FB" pitchFamily="34" charset="0"/>
              </a:rPr>
              <a:t> </a:t>
            </a:r>
            <a:r>
              <a:rPr lang="en-US" sz="2800" dirty="0" err="1">
                <a:solidFill>
                  <a:schemeClr val="dk1"/>
                </a:solidFill>
                <a:latin typeface="Agency FB" pitchFamily="34" charset="0"/>
              </a:rPr>
              <a:t>dalam</a:t>
            </a:r>
            <a:r>
              <a:rPr lang="en-US" sz="2800" dirty="0">
                <a:solidFill>
                  <a:schemeClr val="dk1"/>
                </a:solidFill>
                <a:latin typeface="Agency FB" pitchFamily="34" charset="0"/>
              </a:rPr>
              <a:t> </a:t>
            </a:r>
            <a:r>
              <a:rPr lang="en-US" sz="2800" dirty="0" err="1">
                <a:solidFill>
                  <a:schemeClr val="dk1"/>
                </a:solidFill>
                <a:latin typeface="Agency FB" pitchFamily="34" charset="0"/>
              </a:rPr>
              <a:t>Lampiran</a:t>
            </a:r>
            <a:r>
              <a:rPr lang="en-US" sz="2800" dirty="0">
                <a:solidFill>
                  <a:schemeClr val="dk1"/>
                </a:solidFill>
                <a:latin typeface="Agency FB" pitchFamily="34" charset="0"/>
              </a:rPr>
              <a:t> A.VII </a:t>
            </a:r>
            <a:r>
              <a:rPr lang="en-US" sz="2800" dirty="0" err="1">
                <a:solidFill>
                  <a:schemeClr val="dk1"/>
                </a:solidFill>
                <a:latin typeface="Agency FB" pitchFamily="34" charset="0"/>
              </a:rPr>
              <a:t>Permendagri</a:t>
            </a:r>
            <a:r>
              <a:rPr lang="en-US" sz="2800" dirty="0">
                <a:solidFill>
                  <a:schemeClr val="dk1"/>
                </a:solidFill>
                <a:latin typeface="Agency FB" pitchFamily="34" charset="0"/>
              </a:rPr>
              <a:t> </a:t>
            </a:r>
            <a:r>
              <a:rPr lang="en-US" sz="2800" dirty="0" err="1">
                <a:solidFill>
                  <a:schemeClr val="dk1"/>
                </a:solidFill>
                <a:latin typeface="Agency FB" pitchFamily="34" charset="0"/>
              </a:rPr>
              <a:t>Nomor</a:t>
            </a:r>
            <a:r>
              <a:rPr lang="en-US" sz="2800" dirty="0">
                <a:solidFill>
                  <a:schemeClr val="dk1"/>
                </a:solidFill>
                <a:latin typeface="Agency FB" pitchFamily="34" charset="0"/>
              </a:rPr>
              <a:t> 13 </a:t>
            </a:r>
            <a:r>
              <a:rPr lang="en-US" sz="2800" dirty="0" err="1">
                <a:solidFill>
                  <a:schemeClr val="dk1"/>
                </a:solidFill>
                <a:latin typeface="Agency FB" pitchFamily="34" charset="0"/>
              </a:rPr>
              <a:t>Tahun</a:t>
            </a:r>
            <a:r>
              <a:rPr lang="en-US" sz="2800" dirty="0">
                <a:solidFill>
                  <a:schemeClr val="dk1"/>
                </a:solidFill>
                <a:latin typeface="Agency FB" pitchFamily="34" charset="0"/>
              </a:rPr>
              <a:t> 2006 (</a:t>
            </a:r>
            <a:r>
              <a:rPr lang="en-US" sz="2800" dirty="0" err="1">
                <a:solidFill>
                  <a:schemeClr val="dk1"/>
                </a:solidFill>
                <a:latin typeface="Agency FB" pitchFamily="34" charset="0"/>
              </a:rPr>
              <a:t>Lampiran</a:t>
            </a:r>
            <a:r>
              <a:rPr lang="en-US" sz="2800" dirty="0">
                <a:solidFill>
                  <a:schemeClr val="dk1"/>
                </a:solidFill>
                <a:latin typeface="Agency FB" pitchFamily="34" charset="0"/>
              </a:rPr>
              <a:t> </a:t>
            </a:r>
            <a:r>
              <a:rPr lang="en-US" sz="2800" dirty="0" err="1">
                <a:solidFill>
                  <a:schemeClr val="dk1"/>
                </a:solidFill>
                <a:latin typeface="Agency FB" pitchFamily="34" charset="0"/>
              </a:rPr>
              <a:t>kode</a:t>
            </a:r>
            <a:r>
              <a:rPr lang="en-US" sz="2800" dirty="0">
                <a:solidFill>
                  <a:schemeClr val="dk1"/>
                </a:solidFill>
                <a:latin typeface="Agency FB" pitchFamily="34" charset="0"/>
              </a:rPr>
              <a:t> Program </a:t>
            </a:r>
            <a:r>
              <a:rPr lang="en-US" sz="2800" dirty="0" err="1">
                <a:solidFill>
                  <a:schemeClr val="dk1"/>
                </a:solidFill>
                <a:latin typeface="Agency FB" pitchFamily="34" charset="0"/>
              </a:rPr>
              <a:t>dan</a:t>
            </a:r>
            <a:r>
              <a:rPr lang="en-US" sz="2800" dirty="0">
                <a:solidFill>
                  <a:schemeClr val="dk1"/>
                </a:solidFill>
                <a:latin typeface="Agency FB" pitchFamily="34" charset="0"/>
              </a:rPr>
              <a:t> </a:t>
            </a:r>
            <a:r>
              <a:rPr lang="en-US" sz="2800" dirty="0" err="1">
                <a:solidFill>
                  <a:schemeClr val="dk1"/>
                </a:solidFill>
                <a:latin typeface="Agency FB" pitchFamily="34" charset="0"/>
              </a:rPr>
              <a:t>Kegiatan</a:t>
            </a:r>
            <a:r>
              <a:rPr lang="en-US" sz="2800" dirty="0">
                <a:solidFill>
                  <a:schemeClr val="dk1"/>
                </a:solidFill>
                <a:latin typeface="Agency FB" pitchFamily="34" charset="0"/>
              </a:rPr>
              <a:t>) </a:t>
            </a:r>
            <a:r>
              <a:rPr lang="en-US" sz="2800" dirty="0" err="1">
                <a:solidFill>
                  <a:schemeClr val="dk1"/>
                </a:solidFill>
                <a:latin typeface="Agency FB" pitchFamily="34" charset="0"/>
              </a:rPr>
              <a:t>daerah</a:t>
            </a:r>
            <a:r>
              <a:rPr lang="en-US" sz="2800" dirty="0">
                <a:solidFill>
                  <a:schemeClr val="dk1"/>
                </a:solidFill>
                <a:latin typeface="Agency FB" pitchFamily="34" charset="0"/>
              </a:rPr>
              <a:t> </a:t>
            </a:r>
            <a:r>
              <a:rPr lang="en-US" sz="2800" dirty="0" err="1">
                <a:solidFill>
                  <a:schemeClr val="dk1"/>
                </a:solidFill>
                <a:latin typeface="Agency FB" pitchFamily="34" charset="0"/>
              </a:rPr>
              <a:t>boleh</a:t>
            </a:r>
            <a:r>
              <a:rPr lang="en-US" sz="2800" dirty="0">
                <a:solidFill>
                  <a:schemeClr val="dk1"/>
                </a:solidFill>
                <a:latin typeface="Agency FB" pitchFamily="34" charset="0"/>
              </a:rPr>
              <a:t> </a:t>
            </a:r>
            <a:r>
              <a:rPr lang="en-US" sz="2800" dirty="0" err="1">
                <a:solidFill>
                  <a:schemeClr val="dk1"/>
                </a:solidFill>
                <a:latin typeface="Agency FB" pitchFamily="34" charset="0"/>
              </a:rPr>
              <a:t>menambah</a:t>
            </a:r>
            <a:r>
              <a:rPr lang="en-US" sz="2800" dirty="0">
                <a:solidFill>
                  <a:schemeClr val="dk1"/>
                </a:solidFill>
                <a:latin typeface="Agency FB" pitchFamily="34" charset="0"/>
              </a:rPr>
              <a:t> </a:t>
            </a:r>
            <a:r>
              <a:rPr lang="en-US" sz="2800" dirty="0" err="1">
                <a:solidFill>
                  <a:schemeClr val="dk1"/>
                </a:solidFill>
                <a:latin typeface="Agency FB" pitchFamily="34" charset="0"/>
              </a:rPr>
              <a:t>sesuai</a:t>
            </a:r>
            <a:r>
              <a:rPr lang="en-US" sz="2800" dirty="0">
                <a:solidFill>
                  <a:schemeClr val="dk1"/>
                </a:solidFill>
                <a:latin typeface="Agency FB" pitchFamily="34" charset="0"/>
              </a:rPr>
              <a:t> </a:t>
            </a:r>
            <a:r>
              <a:rPr lang="en-US" sz="2800" dirty="0" err="1">
                <a:solidFill>
                  <a:schemeClr val="dk1"/>
                </a:solidFill>
                <a:latin typeface="Agency FB" pitchFamily="34" charset="0"/>
              </a:rPr>
              <a:t>dengan</a:t>
            </a:r>
            <a:r>
              <a:rPr lang="en-US" sz="2800" dirty="0">
                <a:solidFill>
                  <a:schemeClr val="dk1"/>
                </a:solidFill>
                <a:latin typeface="Agency FB" pitchFamily="34" charset="0"/>
              </a:rPr>
              <a:t> </a:t>
            </a:r>
            <a:r>
              <a:rPr lang="en-US" sz="2800" dirty="0" err="1">
                <a:solidFill>
                  <a:schemeClr val="dk1"/>
                </a:solidFill>
                <a:latin typeface="Agency FB" pitchFamily="34" charset="0"/>
              </a:rPr>
              <a:t>kebutuhan</a:t>
            </a:r>
            <a:r>
              <a:rPr lang="en-US" sz="2800" dirty="0">
                <a:solidFill>
                  <a:schemeClr val="dk1"/>
                </a:solidFill>
                <a:latin typeface="Agency FB" pitchFamily="34" charset="0"/>
              </a:rPr>
              <a:t>. </a:t>
            </a:r>
          </a:p>
          <a:p>
            <a:pPr marL="685800" indent="-457200" algn="just">
              <a:lnSpc>
                <a:spcPct val="90000"/>
              </a:lnSpc>
              <a:buSzPct val="85000"/>
              <a:buFont typeface="Wingdings" pitchFamily="2" charset="2"/>
              <a:buChar char="q"/>
              <a:tabLst>
                <a:tab pos="685800" algn="l"/>
              </a:tabLst>
            </a:pPr>
            <a:endParaRPr lang="en-GB" sz="2600" dirty="0">
              <a:solidFill>
                <a:schemeClr val="accent2"/>
              </a:solidFill>
              <a:latin typeface="Agency FB" pitchFamily="34" charset="0"/>
            </a:endParaRPr>
          </a:p>
        </p:txBody>
      </p:sp>
      <p:sp>
        <p:nvSpPr>
          <p:cNvPr id="7" name="Rectangle 6"/>
          <p:cNvSpPr/>
          <p:nvPr/>
        </p:nvSpPr>
        <p:spPr>
          <a:xfrm>
            <a:off x="152400" y="2910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8" name="Rectangle 7"/>
          <p:cNvSpPr/>
          <p:nvPr/>
        </p:nvSpPr>
        <p:spPr>
          <a:xfrm>
            <a:off x="177800" y="2286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DISKRESI PENAMBAHAN PROGRAM DAN KEGIATAN</a:t>
            </a:r>
            <a:endParaRPr lang="id-ID" sz="4000" b="1" dirty="0">
              <a:solidFill>
                <a:srgbClr val="002060"/>
              </a:solidFill>
              <a:latin typeface="DilleniaUPC" pitchFamily="18" charset="-34"/>
              <a:cs typeface="DilleniaUPC" pitchFamily="18" charset="-34"/>
            </a:endParaRPr>
          </a:p>
        </p:txBody>
      </p:sp>
      <p:sp>
        <p:nvSpPr>
          <p:cNvPr id="9" name="Rectangle 8"/>
          <p:cNvSpPr/>
          <p:nvPr/>
        </p:nvSpPr>
        <p:spPr>
          <a:xfrm>
            <a:off x="152400" y="1163784"/>
            <a:ext cx="11353800" cy="436416"/>
          </a:xfrm>
          <a:prstGeom prst="rect">
            <a:avLst/>
          </a:prstGeom>
          <a:solidFill>
            <a:srgbClr val="4F81BD">
              <a:lumMod val="40000"/>
              <a:lumOff val="60000"/>
            </a:srgbClr>
          </a:solidFill>
          <a:ln w="25400" cap="flat" cmpd="sng" algn="ctr">
            <a:noFill/>
            <a:prstDash val="solid"/>
          </a:ln>
          <a:effectLst/>
        </p:spPr>
        <p:txBody>
          <a:bodyPr rtlCol="0" anchor="ctr"/>
          <a:lstStyle/>
          <a:p>
            <a:r>
              <a:rPr lang="en-US" sz="3600" b="1" dirty="0" err="1" smtClean="0">
                <a:solidFill>
                  <a:srgbClr val="002060"/>
                </a:solidFill>
                <a:latin typeface="DilleniaUPC" pitchFamily="18" charset="-34"/>
                <a:cs typeface="DilleniaUPC" pitchFamily="18" charset="-34"/>
              </a:rPr>
              <a:t>Permendagri</a:t>
            </a:r>
            <a:r>
              <a:rPr lang="en-US" sz="3600" b="1" dirty="0" smtClean="0">
                <a:solidFill>
                  <a:srgbClr val="002060"/>
                </a:solidFill>
                <a:latin typeface="DilleniaUPC" pitchFamily="18" charset="-34"/>
                <a:cs typeface="DilleniaUPC" pitchFamily="18" charset="-34"/>
              </a:rPr>
              <a:t> No 59 </a:t>
            </a:r>
            <a:r>
              <a:rPr lang="en-US" sz="3600" b="1" dirty="0" err="1" smtClean="0">
                <a:solidFill>
                  <a:srgbClr val="002060"/>
                </a:solidFill>
                <a:latin typeface="DilleniaUPC" pitchFamily="18" charset="-34"/>
                <a:cs typeface="DilleniaUPC" pitchFamily="18" charset="-34"/>
              </a:rPr>
              <a:t>Tahun</a:t>
            </a:r>
            <a:r>
              <a:rPr lang="en-US" sz="3600" b="1" dirty="0" smtClean="0">
                <a:solidFill>
                  <a:srgbClr val="002060"/>
                </a:solidFill>
                <a:latin typeface="DilleniaUPC" pitchFamily="18" charset="-34"/>
                <a:cs typeface="DilleniaUPC" pitchFamily="18" charset="-34"/>
              </a:rPr>
              <a:t> 2007</a:t>
            </a:r>
            <a:endParaRPr lang="id-ID" sz="36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403978412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03380" y="5681949"/>
            <a:ext cx="11281483" cy="381000"/>
          </a:xfrm>
          <a:prstGeom prst="rect">
            <a:avLst/>
          </a:prstGeom>
        </p:spPr>
        <p:txBody>
          <a:bodyPr vert="horz" lIns="91438" tIns="45719" rIns="91438" bIns="45719" rtlCol="0" anchor="ctr">
            <a:noAutofit/>
          </a:bodyPr>
          <a:lstStyle/>
          <a:p>
            <a:pPr>
              <a:lnSpc>
                <a:spcPct val="30000"/>
              </a:lnSpc>
              <a:spcBef>
                <a:spcPts val="600"/>
              </a:spcBef>
              <a:spcAft>
                <a:spcPts val="600"/>
              </a:spcAft>
              <a:defRPr/>
            </a:pPr>
            <a:r>
              <a:rPr lang="en-US" sz="6600" b="1" dirty="0" smtClean="0">
                <a:solidFill>
                  <a:schemeClr val="tx2">
                    <a:lumMod val="60000"/>
                    <a:lumOff val="40000"/>
                  </a:schemeClr>
                </a:solidFill>
                <a:latin typeface="DilleniaUPC" pitchFamily="18" charset="-34"/>
                <a:cs typeface="DilleniaUPC" pitchFamily="18" charset="-34"/>
              </a:rPr>
              <a:t>POKJANAS TPID : </a:t>
            </a:r>
          </a:p>
          <a:p>
            <a:pPr>
              <a:lnSpc>
                <a:spcPct val="30000"/>
              </a:lnSpc>
              <a:spcBef>
                <a:spcPts val="600"/>
              </a:spcBef>
              <a:spcAft>
                <a:spcPts val="600"/>
              </a:spcAft>
              <a:defRPr/>
            </a:pPr>
            <a:r>
              <a:rPr lang="en-US" sz="3600" b="1" dirty="0">
                <a:solidFill>
                  <a:srgbClr val="002060"/>
                </a:solidFill>
                <a:latin typeface="DilleniaUPC" pitchFamily="18" charset="-34"/>
                <a:cs typeface="DilleniaUPC" pitchFamily="18" charset="-34"/>
              </a:rPr>
              <a:t>KEGIATAN TAHUN 2016</a:t>
            </a:r>
            <a:endParaRPr lang="id-ID" sz="3600" b="1" dirty="0">
              <a:solidFill>
                <a:srgbClr val="002060"/>
              </a:solidFill>
              <a:latin typeface="DilleniaUPC" pitchFamily="18" charset="-34"/>
              <a:cs typeface="DilleniaUPC" pitchFamily="18" charset="-34"/>
            </a:endParaRPr>
          </a:p>
        </p:txBody>
      </p:sp>
      <p:sp>
        <p:nvSpPr>
          <p:cNvPr id="8" name="Slide Number Placeholder 7"/>
          <p:cNvSpPr>
            <a:spLocks noGrp="1"/>
          </p:cNvSpPr>
          <p:nvPr>
            <p:ph type="sldNum" sz="quarter" idx="12"/>
          </p:nvPr>
        </p:nvSpPr>
        <p:spPr>
          <a:xfrm>
            <a:off x="9067800" y="6328075"/>
            <a:ext cx="2844800" cy="365125"/>
          </a:xfrm>
        </p:spPr>
        <p:txBody>
          <a:bodyPr/>
          <a:lstStyle/>
          <a:p>
            <a:fld id="{7D08530B-D843-4B68-A89E-667FFE5D1D6F}" type="slidenum">
              <a:rPr lang="en-US" sz="1400" smtClean="0"/>
              <a:t>38</a:t>
            </a:fld>
            <a:endParaRPr lang="en-US" sz="1400"/>
          </a:p>
        </p:txBody>
      </p:sp>
      <p:sp>
        <p:nvSpPr>
          <p:cNvPr id="11" name="AutoShape 2"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4" descr="data:image/jpeg;base64,/9j/4AAQSkZJRgABAQAAAQABAAD/2wCEAAkGBxMSEhUTEhMWFhUVFxUXFhYXFRcXGBUVFRcWFhYVFRcYHSggGBolGxUVITEhJSorLi4uFx8zODMtNygtLisBCgoKDg0OGxAQGy0lHyUtLS0tLS0tLS0tLS0tLS0tLS0tLS0tLS0tLS0tLS0tLS0tLS0tLS0tLS0tLS0tLS0tLf/AABEIALcBFAMBEQACEQEDEQH/xAAbAAACAwEBAQAAAAAAAAAAAAADBAECBQYAB//EAEUQAAEEAAQEAgcGAgcHBQEAAAEAAgMRBBIhMQVBUWEicQYTgZGhsfAUMkJSwdEH8RUjM1NiguEWQ3KDkqKyNERzwuIk/8QAGwEAAwEBAQEBAAAAAAAAAAAAAQIDAAQFBgf/xAA7EQACAgECAwQJAwMEAAcAAAAAAQIRAxIhBDFBE1FhkQUicYGhscHR4RQy8BVCklJiovEjU3KCwtLi/9oADAMBAAIRAxEAPwD5W0Lls7kgjWoWOkFa1K2USCNCWx0gjWpWx1EM0JWx1EMwJWyiiGaxK5DqAQRJdQ2gsIytqDoLiNDUNoLtYg5BUQgjQ1DaCwjW1B0F2sK2o2guI0NQ2gsIltZuzLBi2oGgkBNqBoCNeeqOoXQafD2Aiy0fK0HIVxof9UeR9qKkyT8UBdGbq77I6malVlTF2VIzYjSFpYVdTFcBZ8SbUI4C8kabUBwFnRlHUK4gHxLahdACSJbUK4CskaOoVxF3sR1COIu9i1i6Rd7UbFaAELC0WY1QbOhIOyNI5FEgzYkjkUUQzYUrkUUQrYErkUUQzcOkcx1EM3DJXMoohmYdK5DKIwyBK5DpBm4ZLqHoIMN2Q1hSLDCraw0WGG7Law6S4wyGoNIuMMtrDRYYVDWHSEbhkNQdJ44ZbWbSBkw6ZTA4A/VEJtYrgOYLHuZQcAWi9K/bdG7JTxWH/pRoJOXQ8vooqxJYvV57nouLMBJy100Tk5YrVWaGGxscg0NHof06plJI5Z4px35gpHNv9+adZEHRKhW2u2v2hOpozjJcwMsCbUCxd+HR1CuQvJCjqFsUljRswpJGmsVoWkYjYrQrK1GxGhOUJ0I0KuCaybQSNczOhIZjakbKJDMbFNsokNRsSNlEMMiU2x0MxwpWx0w7IEjYyYwyBK5DKQdmHS2MpB2YdBsbUHZh0tm1BBhUNQVMsMKtY6mSMMhYdRcYdaw6yfs62oOo99nQ1B1Hvs/ZbUDUUfB2W1DKQF8CbUOpAHwJlI3MXdB2VFMVwIGHTKZNxCDDPbqAR0/0TKZJpckP4fH5bztu+wTpo5suC/27DDMdG7SiPZ+yopI5ZYJorO4DlotrEUG+onM/oNPIptQVDvFZQmTBQlOxMmERlams1CsgTWBoUlamTEaFJWpkxGhZzUwlFmMXO2XSGY2KbZVIaiakbHSHImqbYw3ExTbCNxRpGwjkUSRsNjUUKRs2oajw6Wzaw7MKhYdYZuFSth7QM3DoWHWFbh0LNrLjCIWbtDloTiZ8ZOcPI0QYcCLK8WyXEDxPbY1blzAEjbTQruccWPDHtF60t/FI5lmyTytxey29rOhwlv8AC5hY8bsOun5muGjm9x11AOi5Jqt07R1LNfMaGE7Kdh7VF24JYV5isuAR3DHOhKXBnotqLxzJikuGTKReMxcwJ1IfUeEKdSEbQxEXEBu45dk1nNOMF6waTBjQFpaebuSZSOftGrad+Bc4Fu4GvVUs53ll1AuwtaapkxXO9xWWGk6ZrsSmYmUgiU4TKRqE5Gp0zNCsjEyYrFJGJ0xGKyRpkxGLOYnsRkRLmZ0pDkSmxqHIm9lNsYdhYptmHoAVJmpD8DOotTbA/aaEEIO7a8kmoRya5McjwPQhazdt3oZjwLul+SG5u1iNQ4MnkUKYHkXeHZhT0+CFB7RBBhD0QaD2iL/ZaSNMyyIzvSLFnDYd0jRmkNRwt/PNIckbf+oi+wKrgx9pNJ8ub9i5i5MumOwXgPBhhoGRA5i0W93N8jjmkeb6uJK2fI8s3Ly9nQGOoRo0BF2U0PqLNjRFcgrYkyQjkX9UjpF1gpMMOiVxKRysTk4dmNAalKotukXjxGlWy/8Ass882j3/ALLrXB5VzoX+qQ7meHoyB95/uH7orA1zYr9JN8kXi4W2PY37B/NbRRKfEyyAZsMlApi7okykZsSnajqGRmYhMpFlEz51RSHUTMnnrdpVENoFftAPZPyEcAUzwOYRTJuJnYjE10VYoEkkJuxg5qukk2gDsU1HSxLQzEuRnQkORUpsamORNCk2w7jkTAkcmG2OxR91JyDY7C3upykY0cPfX4qLkI0u40ISeoS62I4o0IH/AEFlkJuI/EfoplmJuI5C7zHxVFnElEZFc1TtU+ZOmuRBhB3v4D5IVGXMZTceRzsUDcVj3HX1OB8I5h2Llbbj/wAuJwHnMei6lCEMX/q+X5fyF7STfsOgOEH5veCubsF0kUWZ9xDcG47EH2ox4acuVeZnmRf7E7oqrg8vcL20SPUkbhTeNx5qg60+RcQplAXWVdCllAZTAFtFRvS7KXaoIeJVuSD5Ag/qr/rHW7d/AT9NfISl4v8AVaKD4qTOiPCGfNxlw/IR5OQWeTOmPBRff8DNxPGXHlXkT+qOpsvDgYoUdxx4GoB+Fe4JlYz4CD5bCM3FXH6CZIouDihSTiHX6+KdRN+mFJccOhVEmDsGhLEYlp/kqJMChRnTZd7+f7KybFcUKSZeblRN9xKUUKSNb+Y+5UUn3EXBC7oAdimU2I8aAuwx6p+0J9kaEa5GXSG4ipsdIbiKkx1EcicpsOkbiepMbSORSKbDoHYpVJo3ZjkUym0Dsx2GZTYrxjYxYY0uc4Na0ElxNAAbkk7BItTdJWyUod58/wCI/wAYMmJAgj9Zh22HuNh8n+KO/ugcgd+3L3cXodvFc3UuncvaedPPHVstj6HwD0ohxkfrIJMw/E06OYej28j8DyteLxGHLw8tORfZnRCMMitBON8cMEL5AMztGxs2zyvIZGz2vLRfLUo8NeXIoXS6+CXNmnjUY3RPo9F9mgZFmzOFukf/AHkshL5ZD/xPc41y0HJNm4xzm5Ll08F0AuGpbmrHjEFxLA8Idk6rHiSbxjMc/ddOPiq6kZYxuOW16eHi3LakQlChhoXqwSq6JkFoPJaWOEuaRrYGWBnNq4c/D8NFNyiPGc+jMjHMj2DfbZ/VfO8RPEnUF8zvwyyc2zKkhHU/XsXHrR3RnITm4eTz+CKy0XjxCM7EYCvxfAqsc50Rz30MyfCnsrxyo6I5EJS4c9veqrIhtaEpoXdD81aM0ZtMSkid0PuVlJEmhKZpG4VItEpJir1VEWhaXyTolJC7wqIlKimVq1yBUCmQI2xKQ1G5QaLpDUblNoqojUb1NodRGo3qTRRRGo5FNoZQGo5VNobQNxyqbQdA3FMpNG7MbimU5IDxnL/xRt2FBOIEbQf7KrMz9Mou9m6mqrnyC9L0Q0sz9S3393/Z5XpKDWP91eHefJImZiBYFkCzsL5muS+meys8Pdn070K9H8PhpBihxON2RpLmxua0ZTuJMxvLpsWjYc18/wAfxWXLHsexe/f9K+56XDYYRevWiMHx6XiPFmere77LA71jRVCmtLc7gRduc4jXUB3JGfC4+D4KWpevJU/f0930NCcs/EJR/aj6b9oXzek9jsyzcStpA8YVuOIS6CbwJh4+JkLVJcmSlwqY/huMDmqQ4rJjZzZODfQ28Ljg4L3+B9Nwl6uTY87JgcWGnxTWiyV38X6VwYFztk4YpSdIx8XxpvVfNcR6Uy53sjvx8FIzJeMN6LhbnI7I8HIUk4x0oIrHJl48GKS8XP5j8FRYZF48Iu4Rnx17m1aOKjpjw9CUuJH0SrRgyixMTlmHf3q0YsZY2KSzqqibQKyTKqiK0hOWRVjER0KSOH1SqiToXeAnVkmkLSsCopMhKCFZGBVTISigBamslpDsUmXQxGSpstGxmNxSNIrGxiNIyqQzG4qbSKIZjcVNpFEMxyFI4odDMcxUnBDpIbimKnKCDoRwP8UMQTNC07CMkebnEH/xC9v0TBRxyfifNemdssV4HFL1Txj2XS/PmOVcvaiKfbfRbhseFw7GsZlc9rXSE/eLiLId5EkAcl8lxuWebK9T2Tddx9fwXCQxYlS3a37zW+0Lk7M7ezI+0I9mbsyRiT1W7IHZIu3FJHiA8QRuNpTeER4TP4TLPGDJ69zZJHOe9jhnj8R8Lau2lrMrbaa0sgq/ERxTagoeqtk1s/zb33+ByLgm1cuZoO9K3mmzeB2wJALHH/DINN+TqJ6KD9H6t4PUvivd9rQI8Ljg91XyPP4haVcPR1x4ej53/FZ7iIHB9AFwyZqJOhDw3nWovlY6r6L0LFLWmvf9DyPTMZRUGn7r+PuKejPpzGI44cRmDm00SbtIGxfzB5c9rTcX6Mk5uePy+weC9K41FQy3ff8Ac7R8q8lRPo4xsC6ZMolNICSZOogaSF5JVRREbFZJFVIm2LvcnSJMXkcqJEmLvenSJti73p0iTkLvcqJEZMXeU6ISBEpybBYfikdeI0eYo/BGWCV7EYcXCt2E/puMH8RHUD90v6aTH/XY0Fbx2KxvXX/RL+llRRcfjs0ouKQk16xt+env2UHgyVdHVHi8TdakEZxiKwA6/FlsbD/F5apXw06tjrjcd0n1NfOGgknQb8/kubTbo7daStgYeNQE16we0OA95FJpcNkSuhI8ZibqzYjBXK6OxMbiB6KbGs+c/wARpc2LDfyRsHvLnf8A2C970bGsN97Z8r6Xlq4iu5I5Vy7zymfSfQb0ewsmGjmfGHSZ3Gy52hY4hoyg1tRquYXi8fxOaGVwi6VHvejeDw5MSySVu/kdm4heRTPfRXRHcJOUIbmsnKtZrZORawWQWIWHUQWnZY1oo+KxRFg6EHYop1ugtpqmY+J4PO1zn4act8IAieM0Qr8vNns+S6458Uklljfiuf5ODJw+WLcsM6/2vdfg4H0rwMzSZMXKPWmgxga4gss2WuAytaOm+utL2+EnjcVHCvV6vx+Z87x2PKpOWeXrdF4eHSjm12Hnn3FrfCPIbeS+TkvWZ+g45eoq7gD0yQXMA9USFcxeRyook3kFZJFRQJSyi75exVFAi8otJN2KdQJSzCz5+3xVFAhLN4AHzdimUCbzeAB83ZOoE3lAul7J1Ek8oP1qOkn2iMjK38h7Vf6910b955+3cDcAORHmiLsSG9R+iwaDRwNJ3A5/fZt5k77pXJpDqCb/ACg0mDH4HMI553xNryp+qVT779yf2HeJf2te9r7jWCwLfxnDVof7cg/5afV+fRTnkfTV/j+C2LFG/W0/5fk2RwjBUP8A+gAm9GzsFVp+Jcnb8Rf7fgzr7Hha/f8A8g3qxG0eq4mGgaBjnsdQ6Ag0lvU/Xw3400Pq0r1M9eFpik3H8THqzHRvAr8As3yAMZ+aquFwy542vf8AklLjOIjyyp+78HO8WxrppXSP1e7LmOmpAAuhoNAF24oKEFGPJHnZ8jnkcnzErVCFnccD9JXYeCOJrbABILQH3mJcbALTYsj2Ly+I4RZcjk3/AD4ntcLxc8WOMIr+fAPL6bSjVrI3N7gsdz5ZjfvSL0dDq38/odD9J5F0VeX1Jb6e6ax69OXtIJPwQfozxCvS/fH+eb+RY+nrr8MDXeUh9uhYEP6ZHrJ+X5C/S8ukE/f+Czf4gm/Fh6/5h/RiD9FrpL4fkK9Mb7wr3/gcj9N72gBPT1zR/wCbR8FN+jv93wLf1K+Ufj90hGX06nbqcO0C/wAz/ddUqr0ZjfKT+Bzv0pljzgvj9icP/EIk06Jje5c+v+1hKWXotLlJ+S+6DH0uuq+f2ZrYb0va+qERvl68A+57GqEuAced+X2bOmHpGEuVef3QM+nkTSQ+GVpFg6NIsdwUf6ZNq1JCv0nBOpRa+PyMr0s9LIcThXxNabJaWmxplcDdGjqL2XVwfBTxZVJs4eO4zHmwuK5nz9eueEfT+DemWGbh4myF+dkbWu8N2WitDeuy8LPwGR5G48mz6fhPSOKOGKldpDH+2WEPN4843fok/QZvDzOn+q4Ot+TJ/wBpsG7/AHw9rXj5tW/R510+Qf6hw7/u+ZDuLYU/75ntcB80VhyrozPisH+pAJuI4Yf76PX/ABtPyKpHFl/0snLicK5yXmAOLgO0sZ/zt/dPoyLoxO2xPlJeZRzWHZzT5EIq+4VuL5MC/Dp1Im4i0mHVFIlKItJCnTJOIrIxOmRkhcsKaybQvJw+dn3WOGhPI6Cr26WEyy45c2c8seRckUmixDdXMcKr8PXQcvNFPG+TA1lXNBoYcUdAx9f/ABv8+TUjeLvXmhorK+nwGY48QSGFg5gZopef+S+iRvHVp/Ffcolle1fB/YiXhs2UuOVoBA0hlB6Cj6r9eS0csLr6r7mliyVbpe5/Yfh4SQ3MTltosN+0i+9Niq+W9aqbzJuvH/b9y6xUrfw1fYCcAwszZWWCQ5xztAre8+GA0058+6KyS1dfh9JfQXRFrkvj/wDQHjeAvEeeNl3yFyX/AMLTCK87TQ4mLlpk/p9WJk4dpXBfX/4oy4uGYki24eUjqInkfJWebFycl5o5lDIv7X5MRmaQSHAg8wdD8VVeBKV3uekjLazAiwCLBFgiwRfIjmsmnyM01zNHAYSeRlsjme0EgFkb3tDt8oI0B8Xx7qWSeOLqTSfi0joxKbjsnXgrGYuBTFwa6ORhNaGJ161+Hf8AFySPPjq00/eWWCVpNV7hxvo26/H61osj/wBNPqaNfg01HfRS/VRrav8AJfcp2CXNv/F/YXl4MQcueiTTQ+GdpcaJqhGdU6zpq68nH7oR4kuT8019GDl4cGjxTRjw2GkPzE62PEwVsf0tGOS+UX8PuGWNLnJfH7ARANKkbqdiHg6f5a+KbU+75fc2ldGvj9qLsc8eEl9HlbstcyBWvPZaovcK1LZ2a/o3hMJJKGyskcKJoTRNBoGwS9o120GunNQzSypeq15O/m/iVjDG/wA7/Y1+I8G4dJ/ZSwQXfgLpJHDXYOLgw8xpfmd1xw4jiov1oykvcl9WXeHA1TpP+eJyuO4a2NxAlDgBYLNRV1qL8PXVejjyuauq9pyZMEYOlLyFMTE5ouw4Eb1pt5DXVUi0yWSMoq7szshq+StZxU6sMx1Ab+7RK1uVjKl1JEwo20HTQ2QR3Q0m7Rdy+R4PaTrmHtDvnSNM2qL7/mUc4XofhS1C6knsRnHdajakyQ29iPbQWNV8mX+ySa0wmqsgE77ahbUg6J9wGyOoR2Ym6CDEvH43f9RQ0ruG1z72VM7yQS5xI2JJ0RpdwrlJ72G+3yfmPw/ZLoiU7bJ3lXY2Q/iPuCOhAeWb6hDxF92CRvfjfzrT722iXs49fkjdq72+b+4HFTue4lz8x6kuPsF6800YqKpISUnJ7spFHf4gPO/0CLdGSvqNYfHytP8AauocvWOANctCkeOD6fAeM5Lr8QmI4vIT4Xyt6/1z3A+VlLHDFc0vJBlml0b82NQ+kJbznrSgMS8ChWh01HZI+GT7v8UOuIa7/NjnpB6azYpoaAYqvNkkkAeLNAtutjrdk9tlLh+Bx4m3z9qQ2XjJzVcvMph/SrKwNDZ7Gl/bJgKqgMra+fsRlwmqV2v8UBcTSrf/ACYOX0uxBblD5AbFO+0YmwOlGUjfmmXB4k7peUfsB8TLp839zGnnD5C9wNEgkZiSevidZs9Ta6kqVIg3bsPxDExP1Y2UEUB6yYSUwDRukbdj8OXNJCMl+5r3KvqxpuL5fP8AAxwriLI4yHGew4OaIsR6puwBJb6t2um9hJlxuUrVe9X9UNjkknd+50ewXEWB73zHEOLho6OcNd2D3OY7N0WnjlpShp96v6oMJpNtt+5h5OKwHli7rS8YDrqf7jr+qRYci/0/4/8A6G7SD6y8/wAFGcVjyZXjEuN2CMVTR08Loj80Xhldx0r/ANv5Rnli1Tvz/BnzYhpI+/XPNJmJ32OUV7jzVoxa7vIm5rx8wmCxMLHEvidIOQ9aWV5lrdfglnGclUZV7rMpQXT4j7eK4Pngjy/9zJ7eSg8Of/zP+KG7SH+n4s02+kmAax/q8A9kpaQx4xkpDHEEZstC99rTdjNqpO/cjpw8RCHO/Z3++9vI5dmJOYF1uANlpcRfYkG10OCqlscjyyb3Y7LxCE0WQuYdLqdxGm9Aix7zSjHFNc5X7kP2y7n5iD5ybsk3ep1Pv5qyjQksjfMoH6UjQmrajzZaFLUFTaVBBKDu1ChtafQhzxyZ8SiK2u4gObzaduTvjstTMmuqJJb+Q78zdDptutua13AyR0RFtENdW2ixk65B2zSG9XOA1OpI+tUulDqcgb7G+n10RFbZdmFc7VoBs1uN96q+6DkkMoOXItJg3tFkVW45gdfJZSTC8UktwXqj9EfujYmlhhw6TTw7+SXtI94/YT7gw4LL0FdbSdvAf9LkJPA5uTQfIhbt4d4f0mXuIHBJ/wC7+Lb91o9vj7wfpcvcK4jCPjNPaW+YTxkpcmSnCUP3Kj2Gwr5DlY0uPQBGUlFWwQhKbqKLY7ASQuyyNLT8D5FLCcZq4sbJinjdSReDhsriBkcLNWWurXyCzyRXUMcM5dPmO4n0anZRy2DsQDWuwutPbSnHiIS6lp8FkiL8F4e2aYRvdlHis6XYGybLNwhqQnD4lkyaJOjX45wfDQsNetz/AIdi0k7AkaDr7FHDlyTfSjq4nh8OOO138BTgXBWzMc5wkJDmhoa2wb1N7bjbUfs+bNoaW3vJcNwyyRbdmjFwBhDnS4eeJt1mprWsGoDnCSS99enmoy4h2lGSb/nci0eGjTc4tL3L5s9xL0KexglY45Tl8DmkvaCeYjzA1pt1Qx8dGUtL5/D40bJ6OlGKnHy6/CxvGehUMeUvxLYm9ZCMz9GkljCGkamiDdKcOOnK1GFvw6e8efo/HGtU69vU13egWCawtfiCHnZxkjFHkKI2IBO65v6jnbtQ29jLPgMEY0379jOxfoKAbw4E7Mg8ZxMYbnunGmtvKARpe4OpulaHpHb/AMT1X3aXy8yL4De4LUvaaQ4BhI8kT8HJK8u+8xk0cbiW0z+u9Y/Ky/8AD94HTKQpLisknrU0l3Wr8qW/08TPhlH1XH306/Hd9BTjHoxhywPwUUjo8j2OfP62LK/OSJ3SyQxxBgDMtF1kuql2488n+7n4U/giEsaadL6HN+iuEilxcUcsTpIiS17Wysa4ksdqx5LRYIzAXyrVV4ibhjck6fs/7I41qlSXx/6NPFz8IeGZcNPE0OcHuEzZHOAPhIBdzG+nOgTVrnjHjE366fdtXt6Dx7H+5bfzx3M3i+NwjmyjCRmKMiI0/KZXSWbAJJpmXMfDWtXdgK+GGVU8rt78uVff2gyZMbTUFS29v1+AjHgHmJ8vq3PYDTZA3w2D4r57fpe4VXNalG9+4SMG4uVWu8Lw6aNgaJ8MZGfftjsrsjjRsgGxpoLHPVCcZP8AZKmNjlGKqcL+Bo8IxuDkfk+xNFglpdiZR4m2ac4NNCuwFjXtDLDNGN6/+KLYMmKU9PZrzfzN7g8uAnlOFZg2B1O8TpC7UDURuy2dSTrW3sXLmXEY49q5v2VXnv8Ac6sMsGWXZaF1/i2M7CRjDRhpwJxDnPe7MQxzgGkAC2tdWgurOrjqrSfaytZNP88aFxrsY08eptvufys6fCtjfFHIIGxudrkLRbXcxsDem9LhlKUZuOq68T08emcFLTV9KAcTEbGklo0NaN5Ea0K10B07J8TlJ7AzKEVbRz0GPwtPDH5Cb2GU120q6/Rdjx5drVnBHNw9OnXwAk+EZJHOLSTXg8YOrWl1V3TdfWXzEa2WmVv3b+FnsXw0yvzPADa+6R4mn/iaddvjstHKoKkHJgeSWqXl187Fv6GaC3UgDlQ16k9/2TduyT4SO25JwTRoC7lQzEjTsUe0ZuxiuQqHMdqD8wmpoRSjLcaZL3+I/dSaKphmyG65V8UtKh7djGax+nX2pCg5DLoNxSnJFIsLLC19F1afmA/n8UIyceQZQjPmM4eFg10B639BJKcnsPGEUGxGHZJRIB25E7dksZyjsPKEZcxiGKMEeJg1s5gLOhqunJI5TfeOoxQXi3D2TxhpcG0QbY4C65czSGHLLHK68wZsUcsab8j5/wCg8LX4sMexzgWuFNz202KJyAmtOenVevxknHFafy+p4PBpPNUjteKcFgw+EnMxEkhZJke+MBwcQ7K1rms11PPbbQLzMefJkyxUFS2un+T1MuGGPFLU757ujO/hpgI3QSPkiDj6ymucxpFBrbAcddz8lb0llmppRdbd5L0XBODbXU7BojAyD1dHduVoBHcEbea8xubd7nq6UtgrnaaGvePi3SvO0qW/8+ozTMT0g4dHiKk9SyaWOgGukyg63T3A7CyaNbrq4fLLH6uqk/A5eI4eOT1tKcl40ExwkbExsGGAcwsyta5mQEEk24uBrU7C9eSEHBzbnPne7uxpxyRgowj8VS/HuCYmHHF/rIZImNAr1Lm2LvUh7QHURr2PvSRfD6dM034/g0sfEOWqLXse/wAS+BxmLjnja+AOjNl8sT9Ro45RmrUk1ZNa8ks8WGUHKMqfRNfYWfbWouCafWw3A8RNhcM+DD8OeQWksZLimTRZnG3Okido2hrTbvrqSuztoSl6+S/ZFry/JxPhpxVqNe/fzsT4h6NYHDRMxWMiDJC4Oc/Duf6r1jyXDKxrnU0HpW2w2UlxHEzm8eJ7VtdXXt2B2OGPrS5r2nNYTD/0jjj6zBtbDKbY9txlrYzTnh7R/WF1G8wOpGrV2Tl+mwerP1l7+fy/nMgoPNkblDbv5CPpZwbDQRAw4fEszSGpZbAoZ7jyGjelgkct1XhM+ScnrlF7cl87J8Rhxxj6sWvH6GViJY3YfDwR6OzudLmAJD3EMGUgatoXW+w5LojGSnKcvcTbi4Rxx59fadpiZIMBAY3f10L/AAtygyeKiX5szy1pIymgBqdua86KnxE9S2a930s9ZvHw0NL3i/f59DDw+BhnaJMM8xu8YLvU027vKdwHZXNGh6rplOcHWTf3nNDHjyrVidP2bfz2GTi+NPb/AFb48pGVsrvuvcGmyNAKv2q8cKfrJ+w5p8VJeo14PvMuHEmGTNE+x1rdt7Gx2Cs4641I5YzeOVwZ2HC/SKMt++1lE+F1ANbemU0O3UrgycM75Hr4ONi1zr2/QcGNEtOa4OFnW+ztPiEmjRs9i6yqdNOxKTARO3YL1F8zqf3VO0kupJ4YPdoJlDdgBXT2/ul5jUlyEH8SOtNN5i0WHb6bkA0Nd1VYjnlnfd8xGTijwSHROoVqLP6KixRfJkHxE06cQzpQa/UHSx323S0U1JkGwsbcTY9O0STDxyJGiiYxHL5pGiikMMn+tf3SuJRSDx4gdQPd+6RxY6khmLF9wfrzSOBRTGo8b1/T/VTePuKLJ3jUWNbtf17kjxsopoK0gj8J67gEf5TotvZmrR8xwU1TtcTX9YCTf+LXxa+/Ve3Jeo14HzMZLtE33m96dcVZLIGAfcsZszTv0LNOWxXLwWJwjb6nbx+eM5aV0/nQ6j0YjbHhYg4OBIzWD+bXke9rh4puWV0enwUVHDGzU9cCdHyaciSa9i59LS5I6013g8TjcjXO9Y0UN3NIF8gXAivPVGMNTqvI056Vd+YxFijW/n4XN195SSgNFhRiHdbvp/JJpQ9h2Yjqff8AySOIQjcY3rfkD80HjZrInmje0te3M3SwWgt6i7580YxlF2thZKMtmKYlkbxG2yBG5rmhpLQC37oIB8Q7FUg5RbfeJLFCVeAxHiQ1/rKizBuX1mXxht2W5rFN57pdGqOneu7oCeOLlqZw/wDFH0hdM+OAO8DR6w1WshLmg9dG3z/EvU9G8MscXPq9vceH6RyLUoRe3M5v0Rw5kxsDRrUjXnS9GHOfku3ipacMn4HLwkHPNFeJ9i47w6HFMDJ2lwa4OHicBmHXKRY/dfO4Ms8TuB9Lk4aGVVPkZnCeBxYYPEbS5j6trzmy73lv8Jvbvv0vl4iWWtTpruEw8NHCnp5PpzLY3hWGmAD4mnKbHUUdNRy7IQzZcbtSGngxZFUo8jOb6N4Rl5YgLu7Jdodx4r07K36rM+bJLg8EeUROT0Zwn92OfM81VcVl7yb4LB/pM6Th4ir1UY0dtmrQ/iP5jpWqusmv9zIPCsdaIjTy2lNWWbiIYjFxNFueB7QedbBVjCb5I555MaVtmRPxdn4CL6uBHxXRHE+pxy4mP9rAR8QmP5Hdg4X57pnjgJHPk8PMPJI7d8RFa2HA9OhSJLoyjk3vKPxFDjo+/wASn0SJrNAG1y1GTCNeg0MmEE1fyQobUMMm7pXEopBmy/4vn+yWh1LxCCTuD7z+iFDJhWS/WX+SVxHUgrcQfzf9v/6S6f5/ENr8f55hhiTR8Vab00V73FDQhtbo4RwpemfPhIYs7g0DUmuWx7dUG6VjRjqdI+iQY4sa1o2aAB97kK18QXkyx6nZ9FCeiKj3AMHIIy9zDrIbcS4kki635CyjOOpJPoLjqDbj157h58SZBlkAcLBo6ixtpraSMNLuJSUtaqSsYHEX9b+PzCTsojrIy7OIdh7h+yDxDLKRNxIigBqdBt1GqMcKfME8zWy5nncXLXtYfulpOe9MzSPCfMH4LdgnFvr3AfEOM1F8q5hjj5auOJ0ncMOUVuTJVaaXVnXZKsMHzdfPyDLiGtkr+ACbjY2EkTXHQeKxe23NPHh+tOhZcUqrUrM7iPGJ4vG/K+M6EMGUjkSS4HTfpyVseDHPZbM5s3EZca1Sprw2+dnC46UOkc5oABJNAk+2zz+tF6cVSpnhzknJtHWfw6jyOkmI2pjb211f7fu+9cPH7pQ956fouNSeT3Hc/wBJi6sD3rzOx2Pb7RBftY/kl7MbUJwT6v1/ET5fh09x96rKHL2EYPn7Sss6KgFyMvjGJkEZdCzO/kO3M1z8lfDCLlUnsc3ETmoXjVs4qLiGKeTGc1vNXlNt610C9F48a3PFWbPJ6d9xrBcHnbPGZHZmg2XZrrQ1o7Xfsklmg4PSVhw2WOROW69o7xHCQvtpFOPisZQSeZJ66FTxymty2WGKWzW5yc8bL8LrHcV7F2pvqeXJRT2YEIiGi/GhzAwXsALrkp6KdnR2qcdJnuA5KhBjgKkdKZZYIVrvNAZMu147paGTCB4+rWHtFxKOvwS0FSLifsfchpG1BWzeY9gQodSDCbTc+8IadxtWxyp7rsPHCYd5a4OFWCKtB7qhoummjrGY4O2A/wC39CuJ46PZjl1fxFvtHYD3fohpDqLMkJ6+4/R/08lmgqTYZstJNI9lvtYGhOntQ0B1ox8XjHetujQGUVqRmoZgOtXp+66YwWmjgyZZdpZqxzihYd3PQ17+qg4uzsU9lzCMxoPhrW9ywj2ZiNkHjDHKuX3LOlo7LKKDKTQvxRzjC8NBJLaAGt3v8LT40lJNks+p42kYGD4E9+pzMA2tupIrYdO66ZZkuW55+PhJS3eyOo4XgzDGGNurJJrcnn8vcuTJNSlbPTw4uzhpiP8A2R9WCPapakdChKi2Ghe067eevsopZNMME0RBMQK8z73E/qtKKs0ZUghmvmsoh1A3SptIjkczxzH4kHKwUDzb97YafFdeLHj5s8zicuZOokiaSUlj23GABna+jdA6679tEdMY7rmZTnP1ZLbvswcdhJAXG3PA1zXZA73r0XRGSo4smOabfMrgcUGgtkaHNdtY1HdppaUW90LjmltJbA4cOHuytutde3UjRFulbAoKTpBXcNLXU4jLzN8rA589UNdoLxNPfkLzxUaBBTJ2LKNPYuEpUsEAl2u7rNDJkgjugEuHD6tCmG0XBQGsuCgMWFfRWG2LGqNBALpIxV0HmlohqL6rMK5mrgA0OcBzA1Jq99lGdtHbgUVJpDjnaHWvepnQ+QWOXulaGiwrpTpX1oUKHbfQG0G9b2F671dabcyiLTZVzM5IdzH6gfp8SmuuQjjqe43G/TXv7uSmyqe25drxzWDaNGCY5dmkkNy3mIbV8gRf3vgpOKsouVqgD8WY3Bmn3bOllx1FAey75aJtGrcWWTQ1EluPaWtcS4DclouwTQoCyf0oraHdIPapxt/AYwnFYpBla83RJDrDq22KEsMluww4iEtkwjsQBoHEfXdDsxu1Kuxne/ct2YO1PfbFuzN2xUzhHQDWI46JsmhsUNHBxBBPkddlSDcSGVKewCDD5W0XkkH7xokgHQElM3b5E4wpVZGKa/IQx1ONakeXTsEY1ds01LTUeYLDMcATIGZjuW/iHewi2uhOKf8AdVmTPwxznW9+pNaDYAH9gqqaS2RzywuTtsLhsC2M3ueRPJZybGjijEFxN9tI+tCFoIGV2tzHtWOSw4ckLJlgVg2S13dAKZbMeqA1skDusZIv7UBizSsMmWa5CgplvWrUHUZjt9q7Kxwu75FVgDbJi0NLRXK60/1OiRpPZl1NxSaRoB9ga37FLkzsTtBGFAdBRJ3S0NZLH66LUbUSZSjQNRImQoOoIx5PL4rUaxuLFnbZK4jqZM5zEHNW9dBtruTz+KC2VGlvuLCECg0/dABHlqB8fiqW+pJRS2XQE5sWcECjy1Ng9vPX3JldUTejVfUa+0V0KGkfUUfiVtIHICzF2QRzF+w0jpFU7phHYlbSHWDOM110AG/Xt81tIO03IZibNhwI+qW0gU7ezJnxbWi3GggoXyNLIluxdnFI3Gs1eegPkm7Noms8G6LvesM2AdIjQtgJpBWqKQja6mW5rOpHbdU3Oeod57MsGybWCSCgGycyxrLArBskEIDE5gtQbRYP7fFCjKRcPCA6aATx2bGvtTpkZwt7FY4uoHvP6LNgjB9Rp5bVcvkk3s6Hpqi0E2gbzAWkupsc9qC+sSUU1F2S9kaDqJD9VqNe5Zz725bmjp339l/JBIzlZVpHVFgQzFIBflp52N/ZfwStFE6J9dpqdOdrUbUZOLxVEFucEGwCbHM2Ae/6q0Y95w5MjT9W0Dh4pI29bv57X50N0XjTFjxE0OYTFlxstF7HyvTl9WlcaLQyOW9DXr2nQO1s9tt90qTKuSe1lHvNaankEwjexSM0AL2AHILAVpFs61BsG8Wbs+8/JZCtdQRfl/Xt70asW6BTzscKcfKhqEUmhJSjJbsXfh2n7jhXco33iOCf7WNYcOaAC4V0/YpXTKRUo7Weke7lVe21lQW5dCshsLAe6M9wVDnaJtAaybWCSCgYkLBPWsYsCsEm0A2eL6Wo2qjwctQbJzLGsJG9pBuwfYRz3G+3S/ig0xozi1uDdLQ+SNCubSL4Y5r8TQddCavyO1+fxWlsbG9T5pM9HNZI0GnP5eazjQY5LdBmuHMn3JCthS4B3hcHAEVYNO20LT7kFy3Qzfczze5RN7SS/uhRrIDytRtRdr7WGTJsHcI0BtPmCfAzegjbJvHDmEjeG6D6+KA8WlsW3AvzvuhyNVrckhGzOIM7/XZEXqUtEU9mWMAm+ffpXLkiichOVlHRMiMlTBoil2SEc0KCpNBIpjzKDQ8Zd7COk6IUO5AaPVMT3KLAPWsYlYJ61jWSCsEm0DEIgZBcep96wLYQO7dP5oFEyyAxUurb90RG2uQTEyNefC0NGmmp9tk/shFNLd2PkkpvZUBLfrtSYlSCxu02SspFqi+ZAezwcBvddq9nxWpg1Jcz0EuYhvMkAdNeqLiCOS3QTKQDZ1boexuqSj7rmRZ9ywbsux61BTCZ99BW9C6HYWSVg2ezLGsgvrktQG0irX6XqsBMnOtQdR5j9VjJ7kudpssjOheU6H4fueqZcycnSFpJCmIuTBlyIhCxjyxjyxizXLBTJzlCg6j/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 name="Group 3"/>
          <p:cNvGrpSpPr/>
          <p:nvPr/>
        </p:nvGrpSpPr>
        <p:grpSpPr>
          <a:xfrm>
            <a:off x="1904999" y="989630"/>
            <a:ext cx="9507331" cy="3886200"/>
            <a:chOff x="3429000" y="1066800"/>
            <a:chExt cx="8153400" cy="3200400"/>
          </a:xfrm>
        </p:grpSpPr>
        <p:pic>
          <p:nvPicPr>
            <p:cNvPr id="29698" name="Picture 2" descr="http://indonesiamap.facts.co/indonesiastatesmap.png"/>
            <p:cNvPicPr>
              <a:picLocks noChangeAspect="1" noChangeArrowheads="1"/>
            </p:cNvPicPr>
            <p:nvPr/>
          </p:nvPicPr>
          <p:blipFill>
            <a:blip r:embed="rId3">
              <a:extLst>
                <a:ext uri="{BEBA8EAE-BF5A-486C-A8C5-ECC9F3942E4B}">
                  <a14:imgProps xmlns:a14="http://schemas.microsoft.com/office/drawing/2010/main">
                    <a14:imgLayer r:embed="rId4">
                      <a14:imgEffect>
                        <a14:artisticWatercolorSponge/>
                      </a14:imgEffect>
                    </a14:imgLayer>
                  </a14:imgProps>
                </a:ext>
                <a:ext uri="{28A0092B-C50C-407E-A947-70E740481C1C}">
                  <a14:useLocalDpi xmlns:a14="http://schemas.microsoft.com/office/drawing/2010/main" val="0"/>
                </a:ext>
              </a:extLst>
            </a:blip>
            <a:srcRect/>
            <a:stretch>
              <a:fillRect/>
            </a:stretch>
          </p:blipFill>
          <p:spPr bwMode="auto">
            <a:xfrm>
              <a:off x="3429000" y="1066800"/>
              <a:ext cx="8153400" cy="298414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657600" y="3810000"/>
              <a:ext cx="152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535821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txBox="1">
            <a:spLocks/>
          </p:cNvSpPr>
          <p:nvPr/>
        </p:nvSpPr>
        <p:spPr>
          <a:xfrm>
            <a:off x="304800" y="808041"/>
            <a:ext cx="8229600" cy="563563"/>
          </a:xfrm>
          <a:prstGeom prst="rect">
            <a:avLst/>
          </a:prstGeom>
        </p:spPr>
        <p:txBody>
          <a:bodyPr vert="horz" lIns="91438" tIns="45719" rIns="91438" bIns="45719" rtlCol="0" anchor="ctr">
            <a:normAutofit fontScale="97500"/>
          </a:bodyPr>
          <a:lstStyle>
            <a:lvl1pPr algn="ctr" defTabSz="914377"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tx1">
                  <a:lumMod val="95000"/>
                  <a:lumOff val="5000"/>
                </a:schemeClr>
              </a:solidFill>
              <a:latin typeface="Agency FB"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16167042"/>
              </p:ext>
            </p:extLst>
          </p:nvPr>
        </p:nvGraphicFramePr>
        <p:xfrm>
          <a:off x="228600" y="1049344"/>
          <a:ext cx="11539583" cy="5057266"/>
        </p:xfrm>
        <a:graphic>
          <a:graphicData uri="http://schemas.openxmlformats.org/drawingml/2006/table">
            <a:tbl>
              <a:tblPr firstRow="1" bandRow="1">
                <a:tableStyleId>{5A111915-BE36-4E01-A7E5-04B1672EAD32}</a:tableStyleId>
              </a:tblPr>
              <a:tblGrid>
                <a:gridCol w="486933">
                  <a:extLst>
                    <a:ext uri="{9D8B030D-6E8A-4147-A177-3AD203B41FA5}">
                      <a16:colId xmlns="" xmlns:a16="http://schemas.microsoft.com/office/drawing/2014/main" val="20000"/>
                    </a:ext>
                  </a:extLst>
                </a:gridCol>
                <a:gridCol w="6937122">
                  <a:extLst>
                    <a:ext uri="{9D8B030D-6E8A-4147-A177-3AD203B41FA5}">
                      <a16:colId xmlns="" xmlns:a16="http://schemas.microsoft.com/office/drawing/2014/main" val="20001"/>
                    </a:ext>
                  </a:extLst>
                </a:gridCol>
                <a:gridCol w="4115528">
                  <a:extLst>
                    <a:ext uri="{9D8B030D-6E8A-4147-A177-3AD203B41FA5}">
                      <a16:colId xmlns="" xmlns:a16="http://schemas.microsoft.com/office/drawing/2014/main" val="20002"/>
                    </a:ext>
                  </a:extLst>
                </a:gridCol>
              </a:tblGrid>
              <a:tr h="375920">
                <a:tc>
                  <a:txBody>
                    <a:bodyPr/>
                    <a:lstStyle/>
                    <a:p>
                      <a:pPr algn="ctr"/>
                      <a:r>
                        <a:rPr lang="en-US" sz="1800" dirty="0" smtClean="0">
                          <a:solidFill>
                            <a:schemeClr val="tx1"/>
                          </a:solidFill>
                          <a:latin typeface="Arial Narrow" panose="020B0606020202030204" pitchFamily="34" charset="0"/>
                        </a:rPr>
                        <a:t>NO</a:t>
                      </a:r>
                      <a:endParaRPr lang="en-US" sz="1800" dirty="0">
                        <a:solidFill>
                          <a:schemeClr val="tx1"/>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dirty="0" smtClean="0">
                          <a:solidFill>
                            <a:schemeClr val="tx1"/>
                          </a:solidFill>
                          <a:latin typeface="Arial Narrow" panose="020B0606020202030204" pitchFamily="34" charset="0"/>
                        </a:rPr>
                        <a:t>KESEPAKATAN</a:t>
                      </a:r>
                      <a:endParaRPr lang="en-US" sz="1800" dirty="0">
                        <a:solidFill>
                          <a:schemeClr val="tx1"/>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dirty="0" smtClean="0">
                          <a:solidFill>
                            <a:schemeClr val="tx1"/>
                          </a:solidFill>
                          <a:latin typeface="Arial Narrow" panose="020B0606020202030204" pitchFamily="34" charset="0"/>
                        </a:rPr>
                        <a:t>TINDAK LANJUT</a:t>
                      </a:r>
                      <a:endParaRPr lang="en-US" sz="1800" dirty="0">
                        <a:solidFill>
                          <a:schemeClr val="tx1"/>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364161">
                <a:tc gridSpan="3">
                  <a:txBody>
                    <a:bodyPr/>
                    <a:lstStyle/>
                    <a:p>
                      <a:r>
                        <a:rPr lang="en-US" sz="1400" b="1" baseline="0" dirty="0" smtClean="0">
                          <a:solidFill>
                            <a:srgbClr val="7E0000"/>
                          </a:solidFill>
                          <a:latin typeface="Arial Narrow" panose="020B0606020202030204" pitchFamily="34" charset="0"/>
                        </a:rPr>
                        <a:t>INTEGRASI ROADMAP KE DALAM RKP DAN RKPD</a:t>
                      </a:r>
                      <a:endParaRPr lang="en-US" sz="1400" b="1" dirty="0">
                        <a:solidFill>
                          <a:srgbClr val="7E0000"/>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id-ID"/>
                    </a:p>
                  </a:txBody>
                  <a:tcPr/>
                </a:tc>
                <a:tc hMerge="1">
                  <a:txBody>
                    <a:bodyPr/>
                    <a:lstStyle/>
                    <a:p>
                      <a:endParaRPr lang="id-ID"/>
                    </a:p>
                  </a:txBody>
                  <a:tcPr/>
                </a:tc>
                <a:extLst>
                  <a:ext uri="{0D108BD9-81ED-4DB2-BD59-A6C34878D82A}">
                    <a16:rowId xmlns="" xmlns:a16="http://schemas.microsoft.com/office/drawing/2014/main" val="10001"/>
                  </a:ext>
                </a:extLst>
              </a:tr>
              <a:tr h="1040585">
                <a:tc>
                  <a:txBody>
                    <a:bodyPr/>
                    <a:lstStyle/>
                    <a:p>
                      <a:pPr algn="ctr"/>
                      <a:r>
                        <a:rPr lang="en-US" sz="1400" b="1" dirty="0" smtClean="0">
                          <a:latin typeface="Arial Narrow" panose="020B0606020202030204" pitchFamily="34" charset="0"/>
                        </a:rPr>
                        <a:t>1</a:t>
                      </a:r>
                      <a:endParaRPr lang="en-US" sz="1400" b="1"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b="1" kern="1200" dirty="0" smtClean="0">
                          <a:latin typeface="Arial Narrow" panose="020B0606020202030204" pitchFamily="34" charset="0"/>
                        </a:rPr>
                        <a:t>KEMENTERIAN DALAM NEGERI MEMBUAT SURAT EDARAN KEPADA PEMERINTAH DAERAH UNTUK </a:t>
                      </a:r>
                      <a:r>
                        <a:rPr lang="id-ID" sz="1400" b="1" kern="1200" dirty="0" smtClean="0">
                          <a:latin typeface="Arial Narrow" panose="020B0606020202030204" pitchFamily="34" charset="0"/>
                        </a:rPr>
                        <a:t>DAPAT MENJADIKAN </a:t>
                      </a:r>
                      <a:r>
                        <a:rPr lang="en-US" sz="1400" b="1" kern="1200" dirty="0" smtClean="0">
                          <a:latin typeface="Arial Narrow" panose="020B0606020202030204" pitchFamily="34" charset="0"/>
                        </a:rPr>
                        <a:t>ROADMAP PENGENDALIAN INFLASI </a:t>
                      </a:r>
                      <a:r>
                        <a:rPr lang="id-ID" sz="1400" b="1" kern="1200" dirty="0" smtClean="0">
                          <a:latin typeface="Arial Narrow" panose="020B0606020202030204" pitchFamily="34" charset="0"/>
                        </a:rPr>
                        <a:t>SEBAGAI SALAH SATU ACUAN DALAM PERUMUSAN </a:t>
                      </a:r>
                      <a:r>
                        <a:rPr lang="en-US" sz="1400" b="1" kern="1200" dirty="0" smtClean="0">
                          <a:latin typeface="Arial Narrow" panose="020B0606020202030204" pitchFamily="34" charset="0"/>
                        </a:rPr>
                        <a:t>RKPD</a:t>
                      </a:r>
                      <a:endParaRPr lang="en-US" sz="1400" b="1" kern="1200" dirty="0">
                        <a:solidFill>
                          <a:schemeClr val="dk1"/>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1" kern="1200" dirty="0" smtClean="0">
                          <a:solidFill>
                            <a:schemeClr val="tx1"/>
                          </a:solidFill>
                          <a:latin typeface="Arial Narrow" panose="020B0606020202030204" pitchFamily="34" charset="0"/>
                          <a:ea typeface="+mn-ea"/>
                          <a:cs typeface="+mn-cs"/>
                        </a:rPr>
                        <a:t>KONSEP SURAT EDARAN KEPADA PEMDA YANG MEMUAT INFORMASI TERKAIT ROADMAP PENGENDALIAN</a:t>
                      </a:r>
                      <a:r>
                        <a:rPr lang="en-US" sz="1400" b="1" kern="1200" baseline="0" dirty="0" smtClean="0">
                          <a:solidFill>
                            <a:schemeClr val="tx1"/>
                          </a:solidFill>
                          <a:latin typeface="Arial Narrow" panose="020B0606020202030204" pitchFamily="34" charset="0"/>
                          <a:ea typeface="+mn-ea"/>
                          <a:cs typeface="+mn-cs"/>
                        </a:rPr>
                        <a:t> INFLASI AGAR DAPAT DIINTEGRASIKAN DALAM RKPD DALAM PROSES TTD</a:t>
                      </a:r>
                      <a:endParaRPr lang="en-US" sz="14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838200">
                <a:tc>
                  <a:txBody>
                    <a:bodyPr/>
                    <a:lstStyle/>
                    <a:p>
                      <a:pPr algn="ctr"/>
                      <a:r>
                        <a:rPr lang="en-US" sz="1400" dirty="0" smtClean="0">
                          <a:latin typeface="Arial Narrow" panose="020B0606020202030204" pitchFamily="34" charset="0"/>
                        </a:rPr>
                        <a:t>2</a:t>
                      </a:r>
                      <a:endParaRPr lang="en-US" sz="14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b="1" kern="1200" dirty="0" smtClean="0">
                          <a:latin typeface="Arial Narrow" panose="020B0606020202030204" pitchFamily="34" charset="0"/>
                        </a:rPr>
                        <a:t>KEMENTERIAN KOORDINATOR PEREKONOMIAN DAN BADAN PERENCANAAN PEMBANGUNAN NASIONAL (BAPPENAS) BERKOORDINASI DENGAN KEMENTERIAN TEKNIS UNTUK MENGAWAL AGAR ROADMAP DAPAT MENJADI BAGIAN DARI RKP KEMENTERIAN TEKNIS</a:t>
                      </a:r>
                      <a:endParaRPr lang="en-US" sz="1400" b="1" kern="1200" dirty="0">
                        <a:solidFill>
                          <a:schemeClr val="dk1"/>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1" kern="1200" dirty="0" smtClean="0">
                          <a:solidFill>
                            <a:schemeClr val="tx1"/>
                          </a:solidFill>
                          <a:latin typeface="Arial Narrow" panose="020B0606020202030204" pitchFamily="34" charset="0"/>
                          <a:ea typeface="+mn-ea"/>
                          <a:cs typeface="+mn-cs"/>
                        </a:rPr>
                        <a:t>AKAN DILAKUKAN KOORDINASI DENGAN BAPPENAS TERKAIT</a:t>
                      </a:r>
                      <a:r>
                        <a:rPr lang="en-US" sz="1400" b="1" kern="1200" baseline="0" dirty="0" smtClean="0">
                          <a:solidFill>
                            <a:schemeClr val="tx1"/>
                          </a:solidFill>
                          <a:latin typeface="Arial Narrow" panose="020B0606020202030204" pitchFamily="34" charset="0"/>
                          <a:ea typeface="+mn-ea"/>
                          <a:cs typeface="+mn-cs"/>
                        </a:rPr>
                        <a:t>  PEMBAHASAN AWAL IMPLEMENTASI ROADMAP PENGENDALIAN INFLASI</a:t>
                      </a:r>
                      <a:endParaRPr lang="en-US" sz="14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838200">
                <a:tc>
                  <a:txBody>
                    <a:bodyPr/>
                    <a:lstStyle/>
                    <a:p>
                      <a:pPr algn="ctr"/>
                      <a:r>
                        <a:rPr lang="en-US" sz="1400" dirty="0" smtClean="0">
                          <a:latin typeface="Arial Narrow" panose="020B0606020202030204" pitchFamily="34" charset="0"/>
                        </a:rPr>
                        <a:t>3</a:t>
                      </a:r>
                      <a:endParaRPr lang="en-US" sz="14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b="1" kern="1200" dirty="0" smtClean="0">
                          <a:latin typeface="Arial Narrow" panose="020B0606020202030204" pitchFamily="34" charset="0"/>
                        </a:rPr>
                        <a:t>PEMBAHASAN MUSYAWARAH PERENCANAAN PEMBANGUNAN (MUSRENBANG) YANG TERKAIT DENGAN STABILISASI HARGA, BAIK NASIONAL MAUPUN DAERAH</a:t>
                      </a:r>
                      <a:r>
                        <a:rPr lang="id-ID" sz="1400" b="1" kern="1200" dirty="0" smtClean="0">
                          <a:latin typeface="Arial Narrow" panose="020B0606020202030204" pitchFamily="34" charset="0"/>
                        </a:rPr>
                        <a:t>,</a:t>
                      </a:r>
                      <a:r>
                        <a:rPr lang="en-US" sz="1400" b="1" kern="1200" dirty="0" smtClean="0">
                          <a:latin typeface="Arial Narrow" panose="020B0606020202030204" pitchFamily="34" charset="0"/>
                        </a:rPr>
                        <a:t> </a:t>
                      </a:r>
                      <a:r>
                        <a:rPr lang="id-ID" sz="1400" b="1" kern="1200" dirty="0" smtClean="0">
                          <a:latin typeface="Arial Narrow" panose="020B0606020202030204" pitchFamily="34" charset="0"/>
                        </a:rPr>
                        <a:t>AGAR </a:t>
                      </a:r>
                      <a:r>
                        <a:rPr lang="en-US" sz="1400" b="1" kern="1200" dirty="0" smtClean="0">
                          <a:latin typeface="Arial Narrow" panose="020B0606020202030204" pitchFamily="34" charset="0"/>
                        </a:rPr>
                        <a:t>DAPAT MELIBATKAN BANK INDONESIA</a:t>
                      </a:r>
                      <a:endParaRPr lang="en-US" sz="1400" b="1" kern="1200" dirty="0">
                        <a:solidFill>
                          <a:schemeClr val="dk1"/>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1" kern="1200" dirty="0" smtClean="0">
                          <a:solidFill>
                            <a:schemeClr val="tx1"/>
                          </a:solidFill>
                          <a:latin typeface="Arial Narrow" panose="020B0606020202030204" pitchFamily="34" charset="0"/>
                          <a:ea typeface="+mn-ea"/>
                          <a:cs typeface="+mn-cs"/>
                        </a:rPr>
                        <a:t>AKAN DILAKUKAN</a:t>
                      </a:r>
                      <a:r>
                        <a:rPr lang="en-US" sz="1400" b="1" kern="1200" baseline="0" dirty="0" smtClean="0">
                          <a:solidFill>
                            <a:schemeClr val="tx1"/>
                          </a:solidFill>
                          <a:latin typeface="Arial Narrow" panose="020B0606020202030204" pitchFamily="34" charset="0"/>
                          <a:ea typeface="+mn-ea"/>
                          <a:cs typeface="+mn-cs"/>
                        </a:rPr>
                        <a:t> KOORDINASI DENGAN BAPPENAS DAN BANK INDONESIA</a:t>
                      </a:r>
                      <a:endParaRPr lang="en-US" sz="14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r h="364161">
                <a:tc gridSpan="3">
                  <a:txBody>
                    <a:bodyPr/>
                    <a:lstStyle/>
                    <a:p>
                      <a:r>
                        <a:rPr lang="en-US" sz="1600" b="1" dirty="0" smtClean="0">
                          <a:solidFill>
                            <a:srgbClr val="7E0000"/>
                          </a:solidFill>
                          <a:latin typeface="Arial Narrow" panose="020B0606020202030204" pitchFamily="34" charset="0"/>
                        </a:rPr>
                        <a:t>PELAKSANAAN RAKORNAS VII TPID 2016</a:t>
                      </a:r>
                      <a:endParaRPr lang="en-US" sz="1600" b="1" dirty="0">
                        <a:solidFill>
                          <a:srgbClr val="7E0000"/>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id-ID"/>
                    </a:p>
                  </a:txBody>
                  <a:tcPr/>
                </a:tc>
                <a:tc hMerge="1">
                  <a:txBody>
                    <a:bodyPr/>
                    <a:lstStyle/>
                    <a:p>
                      <a:endParaRPr lang="id-ID"/>
                    </a:p>
                  </a:txBody>
                  <a:tcPr/>
                </a:tc>
                <a:extLst>
                  <a:ext uri="{0D108BD9-81ED-4DB2-BD59-A6C34878D82A}">
                    <a16:rowId xmlns="" xmlns:a16="http://schemas.microsoft.com/office/drawing/2014/main" val="10005"/>
                  </a:ext>
                </a:extLst>
              </a:tr>
              <a:tr h="1236039">
                <a:tc>
                  <a:txBody>
                    <a:bodyPr/>
                    <a:lstStyle/>
                    <a:p>
                      <a:pPr algn="ctr"/>
                      <a:r>
                        <a:rPr lang="id-ID" sz="1400" dirty="0" smtClean="0">
                          <a:latin typeface="Arial Narrow" pitchFamily="34" charset="0"/>
                        </a:rPr>
                        <a:t>4</a:t>
                      </a:r>
                      <a:endParaRPr lang="en-US" sz="14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b="1" i="0" kern="1200" dirty="0" smtClean="0">
                          <a:solidFill>
                            <a:schemeClr val="tx1">
                              <a:lumMod val="95000"/>
                              <a:lumOff val="5000"/>
                            </a:schemeClr>
                          </a:solidFill>
                          <a:latin typeface="Arial Narrow" panose="020B0606020202030204" pitchFamily="34" charset="0"/>
                        </a:rPr>
                        <a:t>DENGAN MEMPERTIMBANGKAN PERKEMBANGAN TPID YANG SEMAKIN PESAT, DAN PENTINGNYA SINERGI KEBIJAKAN ANTARA PUSAT DAN DAERAH GUNA MEMPERCEPAT PEMBANGUNAN INFRASTRUKTUR PANGAN, MAKA USULAN TEMA RAKORNAS VII TPID DAPAT DISEPAKATI OLEH HLM</a:t>
                      </a:r>
                      <a:endParaRPr lang="en-US" sz="1400" b="1" i="0"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1" i="0" dirty="0" smtClean="0">
                          <a:solidFill>
                            <a:schemeClr val="tx1">
                              <a:lumMod val="95000"/>
                              <a:lumOff val="5000"/>
                            </a:schemeClr>
                          </a:solidFill>
                          <a:latin typeface="Arial Narrow" panose="020B0606020202030204" pitchFamily="34" charset="0"/>
                        </a:rPr>
                        <a:t>DIUSULKAN</a:t>
                      </a:r>
                      <a:r>
                        <a:rPr lang="en-US" sz="1400" b="1" i="0" baseline="0" dirty="0" smtClean="0">
                          <a:solidFill>
                            <a:schemeClr val="tx1">
                              <a:lumMod val="95000"/>
                              <a:lumOff val="5000"/>
                            </a:schemeClr>
                          </a:solidFill>
                          <a:latin typeface="Arial Narrow" panose="020B0606020202030204" pitchFamily="34" charset="0"/>
                        </a:rPr>
                        <a:t> TEMA RAKORNAS VII TPID 2016 ADALAH </a:t>
                      </a:r>
                      <a:r>
                        <a:rPr lang="en-US" sz="1400" b="1" i="0" kern="1200" dirty="0" smtClean="0">
                          <a:solidFill>
                            <a:schemeClr val="tx1">
                              <a:lumMod val="95000"/>
                              <a:lumOff val="5000"/>
                            </a:schemeClr>
                          </a:solidFill>
                          <a:latin typeface="Arial Narrow" panose="020B0606020202030204" pitchFamily="34" charset="0"/>
                        </a:rPr>
                        <a:t>MEMPERKUAT SINKRONISASI </a:t>
                      </a:r>
                      <a:r>
                        <a:rPr lang="id-ID" sz="1400" b="1" i="0" kern="1200" dirty="0" smtClean="0">
                          <a:solidFill>
                            <a:schemeClr val="tx1">
                              <a:lumMod val="95000"/>
                              <a:lumOff val="5000"/>
                            </a:schemeClr>
                          </a:solidFill>
                          <a:latin typeface="Arial Narrow" panose="020B0606020202030204" pitchFamily="34" charset="0"/>
                        </a:rPr>
                        <a:t>KEBIJAKAN </a:t>
                      </a:r>
                      <a:r>
                        <a:rPr lang="en-US" sz="1400" b="1" i="0" kern="1200" dirty="0" smtClean="0">
                          <a:solidFill>
                            <a:schemeClr val="tx1">
                              <a:lumMod val="95000"/>
                              <a:lumOff val="5000"/>
                            </a:schemeClr>
                          </a:solidFill>
                          <a:latin typeface="Arial Narrow" panose="020B0606020202030204" pitchFamily="34" charset="0"/>
                        </a:rPr>
                        <a:t>PUSAT DAN DAERAH GUNA MEMPERCEPAT PEMBANGUNAN INFRASTRUKTUR DAN PEMBENAHAN TATA NIAGA  PANGAN</a:t>
                      </a:r>
                      <a:endParaRPr lang="en-US" sz="1400" b="1" i="0"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6"/>
                  </a:ext>
                </a:extLst>
              </a:tr>
            </a:tbl>
          </a:graphicData>
        </a:graphic>
      </p:graphicFrame>
      <p:sp>
        <p:nvSpPr>
          <p:cNvPr id="3" name="Slide Number Placeholder 2"/>
          <p:cNvSpPr>
            <a:spLocks noGrp="1"/>
          </p:cNvSpPr>
          <p:nvPr>
            <p:ph type="sldNum" sz="quarter" idx="12"/>
          </p:nvPr>
        </p:nvSpPr>
        <p:spPr/>
        <p:txBody>
          <a:bodyPr/>
          <a:lstStyle/>
          <a:p>
            <a:fld id="{7D08530B-D843-4B68-A89E-667FFE5D1D6F}" type="slidenum">
              <a:rPr lang="en-US" smtClean="0"/>
              <a:t>39</a:t>
            </a:fld>
            <a:endParaRPr lang="en-US"/>
          </a:p>
        </p:txBody>
      </p:sp>
      <p:sp>
        <p:nvSpPr>
          <p:cNvPr id="7" name="Rectangle 6"/>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8" name="Rectangle 7"/>
          <p:cNvSpPr/>
          <p:nvPr/>
        </p:nvSpPr>
        <p:spPr>
          <a:xfrm>
            <a:off x="1016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KEGIATAN POKJANAS TPID TAHUN 2016 (1)</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3351764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113520" y="198438"/>
            <a:ext cx="2773680" cy="365125"/>
          </a:xfrm>
        </p:spPr>
        <p:txBody>
          <a:bodyPr/>
          <a:lstStyle/>
          <a:p>
            <a:fld id="{4B585D86-0C40-4A6D-B8BC-4DE78E43623A}" type="slidenum">
              <a:rPr lang="en-US" sz="1600" b="1"/>
              <a:pPr/>
              <a:t>4</a:t>
            </a:fld>
            <a:endParaRPr lang="en-US" sz="1600" b="1" dirty="0"/>
          </a:p>
        </p:txBody>
      </p:sp>
      <p:sp>
        <p:nvSpPr>
          <p:cNvPr id="9" name="Rounded Rectangle 8"/>
          <p:cNvSpPr/>
          <p:nvPr/>
        </p:nvSpPr>
        <p:spPr>
          <a:xfrm>
            <a:off x="381000" y="990600"/>
            <a:ext cx="4572000" cy="1523992"/>
          </a:xfrm>
          <a:prstGeom prst="roundRect">
            <a:avLst>
              <a:gd name="adj" fmla="val 11782"/>
            </a:avLst>
          </a:prstGeom>
          <a:solidFill>
            <a:schemeClr val="accent2">
              <a:lumMod val="50000"/>
            </a:schemeClr>
          </a:solidFill>
        </p:spPr>
        <p:style>
          <a:lnRef idx="1">
            <a:schemeClr val="accent1"/>
          </a:lnRef>
          <a:fillRef idx="3">
            <a:schemeClr val="accent1"/>
          </a:fillRef>
          <a:effectRef idx="2">
            <a:schemeClr val="accent1"/>
          </a:effectRef>
          <a:fontRef idx="minor">
            <a:schemeClr val="lt1"/>
          </a:fontRef>
        </p:style>
        <p:txBody>
          <a:bodyPr anchor="ctr"/>
          <a:lstStyle/>
          <a:p>
            <a:pPr algn="just">
              <a:defRPr/>
            </a:pPr>
            <a:r>
              <a:rPr lang="en-US" sz="1800" b="1" dirty="0"/>
              <a:t>PIHPS</a:t>
            </a:r>
            <a:r>
              <a:rPr lang="en-US" sz="1800" dirty="0"/>
              <a:t> </a:t>
            </a:r>
            <a:r>
              <a:rPr lang="en-US" sz="1800" dirty="0" err="1"/>
              <a:t>merupakan</a:t>
            </a:r>
            <a:r>
              <a:rPr lang="en-US" sz="1800" dirty="0"/>
              <a:t> </a:t>
            </a:r>
            <a:r>
              <a:rPr lang="en-US" sz="1800" dirty="0" err="1"/>
              <a:t>pusat</a:t>
            </a:r>
            <a:r>
              <a:rPr lang="en-US" sz="1800" dirty="0"/>
              <a:t> </a:t>
            </a:r>
            <a:r>
              <a:rPr lang="en-US" sz="1800" dirty="0" err="1"/>
              <a:t>informasi</a:t>
            </a:r>
            <a:r>
              <a:rPr lang="en-US" sz="1800" dirty="0"/>
              <a:t> yang </a:t>
            </a:r>
            <a:r>
              <a:rPr lang="en-US" sz="1800" b="1" u="sng" dirty="0" err="1"/>
              <a:t>mengintegrasikan</a:t>
            </a:r>
            <a:r>
              <a:rPr lang="en-US" sz="1800" b="1" u="sng" dirty="0"/>
              <a:t> data </a:t>
            </a:r>
            <a:r>
              <a:rPr lang="en-US" sz="1800" b="1" u="sng" dirty="0" err="1"/>
              <a:t>terkini</a:t>
            </a:r>
            <a:r>
              <a:rPr lang="en-US" sz="1800" b="1" dirty="0"/>
              <a:t> </a:t>
            </a:r>
            <a:r>
              <a:rPr lang="en-US" sz="1800" dirty="0" err="1"/>
              <a:t>baik</a:t>
            </a:r>
            <a:r>
              <a:rPr lang="en-US" sz="1800" dirty="0"/>
              <a:t> di </a:t>
            </a:r>
            <a:r>
              <a:rPr lang="en-US" sz="1800" dirty="0" err="1"/>
              <a:t>tingkat</a:t>
            </a:r>
            <a:r>
              <a:rPr lang="en-US" sz="1800" dirty="0"/>
              <a:t> </a:t>
            </a:r>
            <a:r>
              <a:rPr lang="en-US" sz="1800" dirty="0" err="1"/>
              <a:t>konsumen</a:t>
            </a:r>
            <a:r>
              <a:rPr lang="en-US" sz="1800" dirty="0"/>
              <a:t> </a:t>
            </a:r>
            <a:r>
              <a:rPr lang="en-US" sz="1800" dirty="0" err="1"/>
              <a:t>maupun</a:t>
            </a:r>
            <a:r>
              <a:rPr lang="en-US" sz="1800" dirty="0"/>
              <a:t> di </a:t>
            </a:r>
            <a:r>
              <a:rPr lang="en-US" sz="1800" dirty="0" err="1"/>
              <a:t>tingkat</a:t>
            </a:r>
            <a:r>
              <a:rPr lang="en-US" sz="1800" dirty="0"/>
              <a:t> </a:t>
            </a:r>
            <a:r>
              <a:rPr lang="en-US" sz="1800" dirty="0" err="1"/>
              <a:t>produsen</a:t>
            </a:r>
            <a:r>
              <a:rPr lang="en-US" sz="1800" dirty="0"/>
              <a:t> yang </a:t>
            </a:r>
            <a:r>
              <a:rPr lang="en-US" sz="1800" dirty="0" err="1"/>
              <a:t>dapat</a:t>
            </a:r>
            <a:r>
              <a:rPr lang="en-US" sz="1800" dirty="0"/>
              <a:t> </a:t>
            </a:r>
            <a:r>
              <a:rPr lang="en-US" sz="1800" dirty="0" err="1"/>
              <a:t>menjadi</a:t>
            </a:r>
            <a:r>
              <a:rPr lang="en-US" sz="1800" dirty="0"/>
              <a:t> </a:t>
            </a:r>
            <a:r>
              <a:rPr lang="en-US" sz="1800" dirty="0" err="1"/>
              <a:t>acuan</a:t>
            </a:r>
            <a:r>
              <a:rPr lang="en-US" sz="1800" dirty="0"/>
              <a:t> </a:t>
            </a:r>
            <a:r>
              <a:rPr lang="en-US" sz="1800" dirty="0" err="1"/>
              <a:t>bagi</a:t>
            </a:r>
            <a:r>
              <a:rPr lang="en-US" sz="1800" dirty="0"/>
              <a:t> </a:t>
            </a:r>
            <a:r>
              <a:rPr lang="en-US" sz="1800" dirty="0" err="1"/>
              <a:t>seluruh</a:t>
            </a:r>
            <a:r>
              <a:rPr lang="en-US" sz="1800" dirty="0"/>
              <a:t> </a:t>
            </a:r>
            <a:r>
              <a:rPr lang="en-US" sz="1800" dirty="0" err="1"/>
              <a:t>pelaku</a:t>
            </a:r>
            <a:r>
              <a:rPr lang="en-US" sz="1800" dirty="0"/>
              <a:t> </a:t>
            </a:r>
            <a:r>
              <a:rPr lang="en-US" sz="1800" dirty="0" err="1"/>
              <a:t>ekonomi</a:t>
            </a:r>
            <a:r>
              <a:rPr lang="en-US" sz="1800" dirty="0"/>
              <a:t>, </a:t>
            </a:r>
            <a:r>
              <a:rPr lang="en-US" sz="1800" dirty="0" err="1"/>
              <a:t>serta</a:t>
            </a:r>
            <a:r>
              <a:rPr lang="en-US" sz="1800" dirty="0"/>
              <a:t> </a:t>
            </a:r>
            <a:r>
              <a:rPr lang="en-US" sz="1800" dirty="0" err="1"/>
              <a:t>dipublikasikan</a:t>
            </a:r>
            <a:r>
              <a:rPr lang="en-US" sz="1800" dirty="0"/>
              <a:t> </a:t>
            </a:r>
            <a:r>
              <a:rPr lang="en-US" sz="1800" dirty="0" err="1"/>
              <a:t>secara</a:t>
            </a:r>
            <a:r>
              <a:rPr lang="en-US" sz="1800" dirty="0"/>
              <a:t> </a:t>
            </a:r>
            <a:r>
              <a:rPr lang="en-US" sz="1800" dirty="0" err="1"/>
              <a:t>rutin</a:t>
            </a:r>
            <a:r>
              <a:rPr lang="en-US" sz="1800" dirty="0"/>
              <a:t>. </a:t>
            </a:r>
          </a:p>
        </p:txBody>
      </p:sp>
      <p:sp>
        <p:nvSpPr>
          <p:cNvPr id="12" name="Flowchart: Direct Access Storage 11"/>
          <p:cNvSpPr/>
          <p:nvPr/>
        </p:nvSpPr>
        <p:spPr>
          <a:xfrm>
            <a:off x="304801" y="4114800"/>
            <a:ext cx="2195513" cy="762000"/>
          </a:xfrm>
          <a:prstGeom prst="flowChartMagneticDrum">
            <a:avLst/>
          </a:prstGeom>
          <a:solidFill>
            <a:srgbClr val="CC0000"/>
          </a:solidFill>
        </p:spPr>
        <p:style>
          <a:lnRef idx="3">
            <a:schemeClr val="lt1"/>
          </a:lnRef>
          <a:fillRef idx="1">
            <a:schemeClr val="accent2"/>
          </a:fillRef>
          <a:effectRef idx="1">
            <a:schemeClr val="accent2"/>
          </a:effectRef>
          <a:fontRef idx="minor">
            <a:schemeClr val="lt1"/>
          </a:fontRef>
        </p:style>
        <p:txBody>
          <a:bodyPr anchor="ctr"/>
          <a:lstStyle/>
          <a:p>
            <a:pPr algn="ctr">
              <a:defRPr/>
            </a:pPr>
            <a:r>
              <a:rPr lang="en-US" sz="2000" dirty="0" err="1"/>
              <a:t>Integrasi</a:t>
            </a:r>
            <a:r>
              <a:rPr lang="en-US" sz="2000" dirty="0"/>
              <a:t> data</a:t>
            </a:r>
          </a:p>
        </p:txBody>
      </p:sp>
      <p:grpSp>
        <p:nvGrpSpPr>
          <p:cNvPr id="27" name="Group 26"/>
          <p:cNvGrpSpPr/>
          <p:nvPr/>
        </p:nvGrpSpPr>
        <p:grpSpPr>
          <a:xfrm>
            <a:off x="2500314" y="3962400"/>
            <a:ext cx="2147887" cy="838200"/>
            <a:chOff x="2347913" y="3962400"/>
            <a:chExt cx="2147887" cy="838200"/>
          </a:xfrm>
        </p:grpSpPr>
        <p:sp>
          <p:nvSpPr>
            <p:cNvPr id="13" name="Flowchart: Display 12"/>
            <p:cNvSpPr/>
            <p:nvPr/>
          </p:nvSpPr>
          <p:spPr>
            <a:xfrm>
              <a:off x="2895600" y="3962400"/>
              <a:ext cx="1600200" cy="838200"/>
            </a:xfrm>
            <a:prstGeom prst="flowChartDisplay">
              <a:avLst/>
            </a:prstGeom>
          </p:spPr>
          <p:style>
            <a:lnRef idx="1">
              <a:schemeClr val="accent2"/>
            </a:lnRef>
            <a:fillRef idx="3">
              <a:schemeClr val="accent2"/>
            </a:fillRef>
            <a:effectRef idx="2">
              <a:schemeClr val="accent2"/>
            </a:effectRef>
            <a:fontRef idx="minor">
              <a:schemeClr val="lt1"/>
            </a:fontRef>
          </p:style>
          <p:txBody>
            <a:bodyPr anchor="ctr"/>
            <a:lstStyle/>
            <a:p>
              <a:pPr algn="ctr">
                <a:defRPr/>
              </a:pPr>
              <a:r>
                <a:rPr lang="en-US" sz="1800" b="1" dirty="0" err="1">
                  <a:solidFill>
                    <a:schemeClr val="tx1"/>
                  </a:solidFill>
                </a:rPr>
                <a:t>Publikasi</a:t>
              </a:r>
              <a:r>
                <a:rPr lang="en-US" sz="1800" b="1" dirty="0">
                  <a:solidFill>
                    <a:schemeClr val="tx1"/>
                  </a:solidFill>
                </a:rPr>
                <a:t>/display</a:t>
              </a:r>
            </a:p>
          </p:txBody>
        </p:sp>
        <p:cxnSp>
          <p:nvCxnSpPr>
            <p:cNvPr id="16" name="Elbow Connector 15"/>
            <p:cNvCxnSpPr>
              <a:stCxn id="12" idx="4"/>
              <a:endCxn id="13" idx="1"/>
            </p:cNvCxnSpPr>
            <p:nvPr/>
          </p:nvCxnSpPr>
          <p:spPr>
            <a:xfrm flipV="1">
              <a:off x="2347913" y="4381500"/>
              <a:ext cx="547687" cy="114300"/>
            </a:xfrm>
            <a:prstGeom prst="bentConnector3">
              <a:avLst>
                <a:gd name="adj1" fmla="val 50000"/>
              </a:avLst>
            </a:prstGeom>
            <a:ln w="3810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17" name="Rounded Rectangle 16"/>
          <p:cNvSpPr/>
          <p:nvPr/>
        </p:nvSpPr>
        <p:spPr>
          <a:xfrm>
            <a:off x="2362200" y="4876800"/>
            <a:ext cx="2743200" cy="1905000"/>
          </a:xfrm>
          <a:prstGeom prst="roundRect">
            <a:avLst>
              <a:gd name="adj" fmla="val 3581"/>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31775" indent="-231775">
              <a:defRPr/>
            </a:pPr>
            <a:r>
              <a:rPr lang="en-US" sz="1600" b="1" i="1" dirty="0" err="1">
                <a:solidFill>
                  <a:srgbClr val="001236"/>
                </a:solidFill>
              </a:rPr>
              <a:t>Kondisi</a:t>
            </a:r>
            <a:r>
              <a:rPr lang="en-US" sz="1600" b="1" i="1" dirty="0">
                <a:solidFill>
                  <a:srgbClr val="001236"/>
                </a:solidFill>
              </a:rPr>
              <a:t> </a:t>
            </a:r>
            <a:r>
              <a:rPr lang="en-US" sz="1600" b="1" i="1" dirty="0" err="1">
                <a:solidFill>
                  <a:srgbClr val="001236"/>
                </a:solidFill>
              </a:rPr>
              <a:t>saat</a:t>
            </a:r>
            <a:r>
              <a:rPr lang="en-US" sz="1600" b="1" i="1" dirty="0">
                <a:solidFill>
                  <a:srgbClr val="001236"/>
                </a:solidFill>
              </a:rPr>
              <a:t> </a:t>
            </a:r>
            <a:r>
              <a:rPr lang="en-US" sz="1600" b="1" i="1" dirty="0" err="1">
                <a:solidFill>
                  <a:srgbClr val="001236"/>
                </a:solidFill>
              </a:rPr>
              <a:t>ini</a:t>
            </a:r>
            <a:r>
              <a:rPr lang="en-US" sz="1600" b="1" i="1" dirty="0">
                <a:solidFill>
                  <a:srgbClr val="001236"/>
                </a:solidFill>
              </a:rPr>
              <a:t>:</a:t>
            </a:r>
          </a:p>
          <a:p>
            <a:pPr marL="231775" indent="-231775">
              <a:spcAft>
                <a:spcPts val="600"/>
              </a:spcAft>
              <a:buFont typeface="+mj-lt"/>
              <a:buAutoNum type="arabicPeriod"/>
              <a:defRPr/>
            </a:pPr>
            <a:r>
              <a:rPr lang="en-US" sz="1400" b="1" dirty="0">
                <a:solidFill>
                  <a:srgbClr val="CC3300"/>
                </a:solidFill>
              </a:rPr>
              <a:t>Data </a:t>
            </a:r>
            <a:r>
              <a:rPr lang="en-US" sz="1400" b="1" dirty="0" err="1">
                <a:solidFill>
                  <a:srgbClr val="CC3300"/>
                </a:solidFill>
              </a:rPr>
              <a:t>kementerian</a:t>
            </a:r>
            <a:r>
              <a:rPr lang="en-US" sz="1400" b="1" dirty="0">
                <a:solidFill>
                  <a:srgbClr val="CC3300"/>
                </a:solidFill>
              </a:rPr>
              <a:t> </a:t>
            </a:r>
            <a:r>
              <a:rPr lang="en-US" sz="1400" b="1" dirty="0" err="1">
                <a:solidFill>
                  <a:srgbClr val="CC3300"/>
                </a:solidFill>
              </a:rPr>
              <a:t>teknis</a:t>
            </a:r>
            <a:r>
              <a:rPr lang="en-US" sz="1400" b="1" dirty="0">
                <a:solidFill>
                  <a:srgbClr val="CC3300"/>
                </a:solidFill>
              </a:rPr>
              <a:t> </a:t>
            </a:r>
            <a:r>
              <a:rPr lang="en-US" sz="1400" b="1" dirty="0" err="1">
                <a:solidFill>
                  <a:srgbClr val="CC3300"/>
                </a:solidFill>
              </a:rPr>
              <a:t>mengacu</a:t>
            </a:r>
            <a:r>
              <a:rPr lang="en-US" sz="1400" b="1" dirty="0">
                <a:solidFill>
                  <a:srgbClr val="CC3300"/>
                </a:solidFill>
              </a:rPr>
              <a:t> </a:t>
            </a:r>
            <a:r>
              <a:rPr lang="en-US" sz="1400" b="1" dirty="0" err="1">
                <a:solidFill>
                  <a:srgbClr val="CC3300"/>
                </a:solidFill>
              </a:rPr>
              <a:t>kepada</a:t>
            </a:r>
            <a:r>
              <a:rPr lang="en-US" sz="1400" b="1" dirty="0">
                <a:solidFill>
                  <a:srgbClr val="CC3300"/>
                </a:solidFill>
              </a:rPr>
              <a:t> </a:t>
            </a:r>
            <a:r>
              <a:rPr lang="en-US" sz="1400" b="1" dirty="0" err="1">
                <a:solidFill>
                  <a:srgbClr val="CC3300"/>
                </a:solidFill>
              </a:rPr>
              <a:t>tupoksi</a:t>
            </a:r>
            <a:r>
              <a:rPr lang="en-US" sz="1400" b="1" dirty="0">
                <a:solidFill>
                  <a:srgbClr val="CC3300"/>
                </a:solidFill>
              </a:rPr>
              <a:t> </a:t>
            </a:r>
            <a:r>
              <a:rPr lang="en-US" sz="1400" b="1" dirty="0" err="1">
                <a:solidFill>
                  <a:srgbClr val="CC3300"/>
                </a:solidFill>
              </a:rPr>
              <a:t>masing-masing</a:t>
            </a:r>
            <a:r>
              <a:rPr lang="en-US" sz="1400" b="1" dirty="0">
                <a:solidFill>
                  <a:srgbClr val="CC3300"/>
                </a:solidFill>
              </a:rPr>
              <a:t>.</a:t>
            </a:r>
          </a:p>
          <a:p>
            <a:pPr marL="231775" indent="-231775">
              <a:spcAft>
                <a:spcPts val="600"/>
              </a:spcAft>
              <a:buFont typeface="+mj-lt"/>
              <a:buAutoNum type="arabicPeriod"/>
              <a:defRPr/>
            </a:pPr>
            <a:r>
              <a:rPr lang="en-US" sz="1400" b="1" dirty="0" err="1">
                <a:solidFill>
                  <a:srgbClr val="CC3300"/>
                </a:solidFill>
              </a:rPr>
              <a:t>Cakupan</a:t>
            </a:r>
            <a:r>
              <a:rPr lang="en-US" sz="1400" b="1" dirty="0">
                <a:solidFill>
                  <a:srgbClr val="CC3300"/>
                </a:solidFill>
              </a:rPr>
              <a:t> </a:t>
            </a:r>
            <a:r>
              <a:rPr lang="en-US" sz="1400" b="1" dirty="0" err="1">
                <a:solidFill>
                  <a:srgbClr val="CC3300"/>
                </a:solidFill>
              </a:rPr>
              <a:t>komoditas</a:t>
            </a:r>
            <a:r>
              <a:rPr lang="en-US" sz="1400" b="1" dirty="0">
                <a:solidFill>
                  <a:srgbClr val="CC3300"/>
                </a:solidFill>
              </a:rPr>
              <a:t> </a:t>
            </a:r>
            <a:r>
              <a:rPr lang="en-US" sz="1400" b="1" dirty="0" err="1">
                <a:solidFill>
                  <a:srgbClr val="CC3300"/>
                </a:solidFill>
              </a:rPr>
              <a:t>dan</a:t>
            </a:r>
            <a:r>
              <a:rPr lang="en-US" sz="1400" b="1" dirty="0">
                <a:solidFill>
                  <a:srgbClr val="CC3300"/>
                </a:solidFill>
              </a:rPr>
              <a:t> </a:t>
            </a:r>
            <a:r>
              <a:rPr lang="en-US" sz="1400" b="1" dirty="0" err="1">
                <a:solidFill>
                  <a:srgbClr val="CC3300"/>
                </a:solidFill>
              </a:rPr>
              <a:t>ruang</a:t>
            </a:r>
            <a:r>
              <a:rPr lang="en-US" sz="1400" b="1" dirty="0">
                <a:solidFill>
                  <a:srgbClr val="CC3300"/>
                </a:solidFill>
              </a:rPr>
              <a:t> </a:t>
            </a:r>
            <a:r>
              <a:rPr lang="en-US" sz="1400" b="1" dirty="0" err="1">
                <a:solidFill>
                  <a:srgbClr val="CC3300"/>
                </a:solidFill>
              </a:rPr>
              <a:t>lingkup</a:t>
            </a:r>
            <a:r>
              <a:rPr lang="en-US" sz="1400" b="1" dirty="0">
                <a:solidFill>
                  <a:srgbClr val="CC3300"/>
                </a:solidFill>
              </a:rPr>
              <a:t> data yang </a:t>
            </a:r>
            <a:r>
              <a:rPr lang="en-US" sz="1400" b="1" dirty="0" err="1">
                <a:solidFill>
                  <a:srgbClr val="CC3300"/>
                </a:solidFill>
              </a:rPr>
              <a:t>digunakan</a:t>
            </a:r>
            <a:r>
              <a:rPr lang="en-US" sz="1400" b="1" dirty="0">
                <a:solidFill>
                  <a:srgbClr val="CC3300"/>
                </a:solidFill>
              </a:rPr>
              <a:t> </a:t>
            </a:r>
            <a:r>
              <a:rPr lang="en-US" sz="1400" b="1" dirty="0" err="1">
                <a:solidFill>
                  <a:srgbClr val="CC3300"/>
                </a:solidFill>
              </a:rPr>
              <a:t>antar</a:t>
            </a:r>
            <a:r>
              <a:rPr lang="en-US" sz="1400" b="1" dirty="0">
                <a:solidFill>
                  <a:srgbClr val="CC3300"/>
                </a:solidFill>
              </a:rPr>
              <a:t> </a:t>
            </a:r>
            <a:r>
              <a:rPr lang="en-US" sz="1400" b="1" dirty="0" err="1">
                <a:solidFill>
                  <a:srgbClr val="CC3300"/>
                </a:solidFill>
              </a:rPr>
              <a:t>kementerian</a:t>
            </a:r>
            <a:r>
              <a:rPr lang="en-US" sz="1400" b="1" dirty="0">
                <a:solidFill>
                  <a:srgbClr val="CC3300"/>
                </a:solidFill>
              </a:rPr>
              <a:t> </a:t>
            </a:r>
            <a:r>
              <a:rPr lang="en-US" sz="1400" b="1" dirty="0" err="1">
                <a:solidFill>
                  <a:srgbClr val="CC3300"/>
                </a:solidFill>
              </a:rPr>
              <a:t>berbeda-beda</a:t>
            </a:r>
            <a:r>
              <a:rPr lang="en-US" sz="1400" b="1" dirty="0">
                <a:solidFill>
                  <a:srgbClr val="CC3300"/>
                </a:solidFill>
              </a:rPr>
              <a:t>.</a:t>
            </a:r>
          </a:p>
        </p:txBody>
      </p:sp>
      <p:sp>
        <p:nvSpPr>
          <p:cNvPr id="18" name="Rectangle 17"/>
          <p:cNvSpPr/>
          <p:nvPr/>
        </p:nvSpPr>
        <p:spPr>
          <a:xfrm>
            <a:off x="152400" y="2514600"/>
            <a:ext cx="4648200" cy="37338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8" name="Group 27"/>
          <p:cNvGrpSpPr/>
          <p:nvPr/>
        </p:nvGrpSpPr>
        <p:grpSpPr>
          <a:xfrm>
            <a:off x="2465388" y="3200408"/>
            <a:ext cx="1828800" cy="914400"/>
            <a:chOff x="2312988" y="3200408"/>
            <a:chExt cx="1828800" cy="914400"/>
          </a:xfrm>
        </p:grpSpPr>
        <p:sp>
          <p:nvSpPr>
            <p:cNvPr id="19" name="24-Point Star 18"/>
            <p:cNvSpPr/>
            <p:nvPr/>
          </p:nvSpPr>
          <p:spPr>
            <a:xfrm>
              <a:off x="2312988" y="3200408"/>
              <a:ext cx="1828800" cy="914400"/>
            </a:xfrm>
            <a:prstGeom prst="star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 name="TextBox 19"/>
            <p:cNvSpPr txBox="1"/>
            <p:nvPr/>
          </p:nvSpPr>
          <p:spPr>
            <a:xfrm rot="331414">
              <a:off x="2565614" y="3391827"/>
              <a:ext cx="1295400" cy="585788"/>
            </a:xfrm>
            <a:prstGeom prst="rect">
              <a:avLst/>
            </a:prstGeom>
            <a:noFill/>
          </p:spPr>
          <p:txBody>
            <a:bodyPr>
              <a:spAutoFit/>
            </a:bodyPr>
            <a:lstStyle/>
            <a:p>
              <a:pPr algn="ctr">
                <a:defRPr/>
              </a:pPr>
              <a:r>
                <a:rPr lang="en-US" sz="3200" b="1" dirty="0">
                  <a:solidFill>
                    <a:schemeClr val="bg1"/>
                  </a:solidFill>
                  <a:effectLst>
                    <a:outerShdw blurRad="38100" dist="38100" dir="2700000" algn="tl">
                      <a:srgbClr val="000000">
                        <a:alpha val="43137"/>
                      </a:srgbClr>
                    </a:outerShdw>
                  </a:effectLst>
                </a:rPr>
                <a:t>PIHPS</a:t>
              </a:r>
            </a:p>
          </p:txBody>
        </p:sp>
      </p:grpSp>
      <p:graphicFrame>
        <p:nvGraphicFramePr>
          <p:cNvPr id="21" name="Table 20"/>
          <p:cNvGraphicFramePr>
            <a:graphicFrameLocks noGrp="1"/>
          </p:cNvGraphicFramePr>
          <p:nvPr>
            <p:extLst>
              <p:ext uri="{D42A27DB-BD31-4B8C-83A1-F6EECF244321}">
                <p14:modId xmlns:p14="http://schemas.microsoft.com/office/powerpoint/2010/main" val="1637702980"/>
              </p:ext>
            </p:extLst>
          </p:nvPr>
        </p:nvGraphicFramePr>
        <p:xfrm>
          <a:off x="5105401" y="978932"/>
          <a:ext cx="6934200" cy="5715001"/>
        </p:xfrm>
        <a:graphic>
          <a:graphicData uri="http://schemas.openxmlformats.org/drawingml/2006/table">
            <a:tbl>
              <a:tblPr firstRow="1" bandRow="1">
                <a:tableStyleId>{073A0DAA-6AF3-43AB-8588-CEC1D06C72B9}</a:tableStyleId>
              </a:tblPr>
              <a:tblGrid>
                <a:gridCol w="1024372">
                  <a:extLst>
                    <a:ext uri="{9D8B030D-6E8A-4147-A177-3AD203B41FA5}">
                      <a16:colId xmlns="" xmlns:a16="http://schemas.microsoft.com/office/drawing/2014/main" val="20000"/>
                    </a:ext>
                  </a:extLst>
                </a:gridCol>
                <a:gridCol w="1654752">
                  <a:extLst>
                    <a:ext uri="{9D8B030D-6E8A-4147-A177-3AD203B41FA5}">
                      <a16:colId xmlns="" xmlns:a16="http://schemas.microsoft.com/office/drawing/2014/main" val="20001"/>
                    </a:ext>
                  </a:extLst>
                </a:gridCol>
                <a:gridCol w="1997429">
                  <a:extLst>
                    <a:ext uri="{9D8B030D-6E8A-4147-A177-3AD203B41FA5}">
                      <a16:colId xmlns="" xmlns:a16="http://schemas.microsoft.com/office/drawing/2014/main" val="20002"/>
                    </a:ext>
                  </a:extLst>
                </a:gridCol>
                <a:gridCol w="2257647">
                  <a:extLst>
                    <a:ext uri="{9D8B030D-6E8A-4147-A177-3AD203B41FA5}">
                      <a16:colId xmlns="" xmlns:a16="http://schemas.microsoft.com/office/drawing/2014/main" val="20003"/>
                    </a:ext>
                  </a:extLst>
                </a:gridCol>
              </a:tblGrid>
              <a:tr h="314395">
                <a:tc>
                  <a:txBody>
                    <a:bodyPr/>
                    <a:lstStyle/>
                    <a:p>
                      <a:pPr algn="ctr"/>
                      <a:endParaRPr lang="en-US" sz="1400" dirty="0"/>
                    </a:p>
                  </a:txBody>
                  <a:tcPr marT="45727" marB="45727"/>
                </a:tc>
                <a:tc>
                  <a:txBody>
                    <a:bodyPr/>
                    <a:lstStyle/>
                    <a:p>
                      <a:pPr algn="ctr"/>
                      <a:r>
                        <a:rPr lang="en-US" sz="1400" dirty="0" smtClean="0"/>
                        <a:t>KEMENTAN</a:t>
                      </a:r>
                      <a:endParaRPr lang="en-US" sz="1400" dirty="0"/>
                    </a:p>
                  </a:txBody>
                  <a:tcPr marT="45727" marB="45727"/>
                </a:tc>
                <a:tc>
                  <a:txBody>
                    <a:bodyPr/>
                    <a:lstStyle/>
                    <a:p>
                      <a:pPr algn="ctr"/>
                      <a:r>
                        <a:rPr lang="en-US" sz="1400" dirty="0" smtClean="0"/>
                        <a:t>KEMENDAG</a:t>
                      </a:r>
                      <a:endParaRPr lang="en-US" sz="1400" dirty="0"/>
                    </a:p>
                  </a:txBody>
                  <a:tcPr marT="45727" marB="45727"/>
                </a:tc>
                <a:tc>
                  <a:txBody>
                    <a:bodyPr/>
                    <a:lstStyle/>
                    <a:p>
                      <a:pPr algn="ctr"/>
                      <a:r>
                        <a:rPr lang="en-US" sz="1400" dirty="0" smtClean="0"/>
                        <a:t>POKJANAS TPID (PIHPS)</a:t>
                      </a:r>
                      <a:endParaRPr lang="en-US" sz="1400" dirty="0"/>
                    </a:p>
                  </a:txBody>
                  <a:tcPr marT="45727" marB="45727"/>
                </a:tc>
                <a:extLst>
                  <a:ext uri="{0D108BD9-81ED-4DB2-BD59-A6C34878D82A}">
                    <a16:rowId xmlns="" xmlns:a16="http://schemas.microsoft.com/office/drawing/2014/main" val="10000"/>
                  </a:ext>
                </a:extLst>
              </a:tr>
              <a:tr h="907357">
                <a:tc>
                  <a:txBody>
                    <a:bodyPr/>
                    <a:lstStyle/>
                    <a:p>
                      <a:pPr algn="ctr"/>
                      <a:r>
                        <a:rPr lang="en-US" sz="1200" dirty="0" smtClean="0">
                          <a:solidFill>
                            <a:schemeClr val="bg1"/>
                          </a:solidFill>
                        </a:rPr>
                        <a:t>CAKUPAN DATA</a:t>
                      </a:r>
                      <a:endParaRPr lang="en-US" sz="1200" dirty="0">
                        <a:solidFill>
                          <a:schemeClr val="bg1"/>
                        </a:solidFill>
                      </a:endParaRPr>
                    </a:p>
                  </a:txBody>
                  <a:tcPr marT="45727" marB="45727">
                    <a:solidFill>
                      <a:schemeClr val="tx1"/>
                    </a:solidFill>
                  </a:tcPr>
                </a:tc>
                <a:tc>
                  <a:txBody>
                    <a:bodyPr/>
                    <a:lstStyle/>
                    <a:p>
                      <a:pPr algn="ctr"/>
                      <a:r>
                        <a:rPr lang="en-US" sz="1200" dirty="0" smtClean="0"/>
                        <a:t>Data </a:t>
                      </a:r>
                      <a:r>
                        <a:rPr lang="en-US" sz="1200" dirty="0" err="1" smtClean="0"/>
                        <a:t>tingkat</a:t>
                      </a:r>
                      <a:r>
                        <a:rPr lang="en-US" sz="1200" dirty="0" smtClean="0"/>
                        <a:t> </a:t>
                      </a:r>
                      <a:r>
                        <a:rPr lang="en-US" sz="1200" dirty="0" err="1" smtClean="0"/>
                        <a:t>produsen</a:t>
                      </a:r>
                      <a:r>
                        <a:rPr lang="en-US" sz="1200" dirty="0" smtClean="0"/>
                        <a:t> &amp; </a:t>
                      </a:r>
                      <a:r>
                        <a:rPr lang="en-US" sz="1200" dirty="0" err="1" smtClean="0"/>
                        <a:t>grosir</a:t>
                      </a:r>
                      <a:endParaRPr lang="en-US" sz="1200" dirty="0"/>
                    </a:p>
                  </a:txBody>
                  <a:tcPr marT="45727" marB="45727"/>
                </a:tc>
                <a:tc>
                  <a:txBody>
                    <a:bodyPr/>
                    <a:lstStyle/>
                    <a:p>
                      <a:pPr algn="ctr"/>
                      <a:r>
                        <a:rPr lang="en-US" sz="1200" dirty="0" smtClean="0"/>
                        <a:t>Data </a:t>
                      </a:r>
                      <a:r>
                        <a:rPr lang="en-US" sz="1200" dirty="0" err="1" smtClean="0"/>
                        <a:t>tingkat</a:t>
                      </a:r>
                      <a:r>
                        <a:rPr lang="en-US" sz="1200" dirty="0" smtClean="0"/>
                        <a:t> </a:t>
                      </a:r>
                      <a:r>
                        <a:rPr lang="en-US" sz="1200" dirty="0" err="1" smtClean="0"/>
                        <a:t>konsumen</a:t>
                      </a:r>
                      <a:endParaRPr lang="en-US" sz="1200" dirty="0" smtClean="0"/>
                    </a:p>
                  </a:txBody>
                  <a:tcPr marT="45727" marB="45727"/>
                </a:tc>
                <a:tc>
                  <a:txBody>
                    <a:bodyPr/>
                    <a:lstStyle/>
                    <a:p>
                      <a:pPr algn="l"/>
                      <a:r>
                        <a:rPr lang="en-US" sz="1200" dirty="0" err="1" smtClean="0"/>
                        <a:t>Gabungan</a:t>
                      </a:r>
                      <a:r>
                        <a:rPr lang="en-US" sz="1200" dirty="0" smtClean="0"/>
                        <a:t> data </a:t>
                      </a:r>
                      <a:r>
                        <a:rPr lang="en-US" sz="1200" dirty="0" err="1" smtClean="0"/>
                        <a:t>tingkat</a:t>
                      </a:r>
                      <a:r>
                        <a:rPr lang="en-US" sz="1200" dirty="0" smtClean="0"/>
                        <a:t> </a:t>
                      </a:r>
                      <a:r>
                        <a:rPr lang="en-US" sz="1200" dirty="0" err="1" smtClean="0"/>
                        <a:t>produsen</a:t>
                      </a:r>
                      <a:r>
                        <a:rPr lang="en-US" sz="1200" baseline="0" dirty="0" smtClean="0"/>
                        <a:t> </a:t>
                      </a:r>
                      <a:r>
                        <a:rPr lang="en-US" sz="1200" baseline="0" dirty="0" err="1" smtClean="0"/>
                        <a:t>dan</a:t>
                      </a:r>
                      <a:r>
                        <a:rPr lang="en-US" sz="1200" dirty="0" smtClean="0"/>
                        <a:t> </a:t>
                      </a:r>
                      <a:r>
                        <a:rPr lang="en-US" sz="1200" dirty="0" err="1" smtClean="0"/>
                        <a:t>konsumen</a:t>
                      </a:r>
                      <a:r>
                        <a:rPr lang="en-US" sz="1200" dirty="0" smtClean="0"/>
                        <a:t> </a:t>
                      </a:r>
                      <a:r>
                        <a:rPr lang="en-US" sz="1200" dirty="0" err="1" smtClean="0"/>
                        <a:t>dengan</a:t>
                      </a:r>
                      <a:r>
                        <a:rPr lang="en-US" sz="1200" dirty="0" smtClean="0"/>
                        <a:t> </a:t>
                      </a:r>
                      <a:r>
                        <a:rPr lang="en-US" sz="1200" dirty="0" err="1" smtClean="0"/>
                        <a:t>fokus</a:t>
                      </a:r>
                      <a:r>
                        <a:rPr lang="en-US" sz="1200" dirty="0" smtClean="0"/>
                        <a:t> </a:t>
                      </a:r>
                      <a:r>
                        <a:rPr lang="en-US" sz="1200" dirty="0" err="1" smtClean="0"/>
                        <a:t>awal</a:t>
                      </a:r>
                      <a:r>
                        <a:rPr lang="en-US" sz="1200" baseline="0" dirty="0" smtClean="0"/>
                        <a:t> </a:t>
                      </a:r>
                      <a:r>
                        <a:rPr lang="en-US" sz="1200" baseline="0" dirty="0" err="1" smtClean="0"/>
                        <a:t>pada</a:t>
                      </a:r>
                      <a:r>
                        <a:rPr lang="en-US" sz="1200" baseline="0" dirty="0" smtClean="0"/>
                        <a:t> </a:t>
                      </a:r>
                      <a:r>
                        <a:rPr lang="en-US" sz="1200" baseline="0" dirty="0" err="1" smtClean="0"/>
                        <a:t>harga</a:t>
                      </a:r>
                      <a:r>
                        <a:rPr lang="en-US" sz="1200" baseline="0" dirty="0" smtClean="0"/>
                        <a:t> </a:t>
                      </a:r>
                      <a:r>
                        <a:rPr lang="en-US" sz="1200" baseline="0" dirty="0" err="1" smtClean="0"/>
                        <a:t>tingkat</a:t>
                      </a:r>
                      <a:r>
                        <a:rPr lang="en-US" sz="1200" baseline="0" dirty="0" smtClean="0"/>
                        <a:t> </a:t>
                      </a:r>
                      <a:r>
                        <a:rPr lang="en-US" sz="1200" baseline="0" dirty="0" err="1" smtClean="0"/>
                        <a:t>konsumen</a:t>
                      </a:r>
                      <a:endParaRPr lang="en-US" sz="1200" dirty="0"/>
                    </a:p>
                  </a:txBody>
                  <a:tcPr marT="45727" marB="45727"/>
                </a:tc>
                <a:extLst>
                  <a:ext uri="{0D108BD9-81ED-4DB2-BD59-A6C34878D82A}">
                    <a16:rowId xmlns="" xmlns:a16="http://schemas.microsoft.com/office/drawing/2014/main" val="10001"/>
                  </a:ext>
                </a:extLst>
              </a:tr>
              <a:tr h="702473">
                <a:tc>
                  <a:txBody>
                    <a:bodyPr/>
                    <a:lstStyle/>
                    <a:p>
                      <a:pPr algn="ctr"/>
                      <a:endParaRPr lang="en-US" sz="1200" dirty="0">
                        <a:solidFill>
                          <a:schemeClr val="bg1"/>
                        </a:solidFill>
                      </a:endParaRPr>
                    </a:p>
                  </a:txBody>
                  <a:tcPr marT="45727" marB="45727">
                    <a:solidFill>
                      <a:schemeClr val="tx1"/>
                    </a:solidFill>
                  </a:tcPr>
                </a:tc>
                <a:tc>
                  <a:txBody>
                    <a:bodyPr/>
                    <a:lstStyle/>
                    <a:p>
                      <a:pPr algn="ctr"/>
                      <a:r>
                        <a:rPr lang="en-US" sz="1200" dirty="0" smtClean="0"/>
                        <a:t>Data </a:t>
                      </a:r>
                      <a:r>
                        <a:rPr lang="en-US" sz="1200" dirty="0" err="1" smtClean="0"/>
                        <a:t>tingkat</a:t>
                      </a:r>
                      <a:r>
                        <a:rPr lang="en-US" sz="1200" dirty="0" smtClean="0"/>
                        <a:t> </a:t>
                      </a:r>
                      <a:r>
                        <a:rPr lang="en-US" sz="1200" dirty="0" err="1" smtClean="0"/>
                        <a:t>provinsi</a:t>
                      </a:r>
                      <a:r>
                        <a:rPr lang="en-US" sz="1200" dirty="0" smtClean="0"/>
                        <a:t> </a:t>
                      </a:r>
                      <a:r>
                        <a:rPr lang="en-US" sz="1200" dirty="0" err="1" smtClean="0"/>
                        <a:t>dan</a:t>
                      </a:r>
                      <a:r>
                        <a:rPr lang="en-US" sz="1200" dirty="0" smtClean="0"/>
                        <a:t> </a:t>
                      </a:r>
                      <a:r>
                        <a:rPr lang="en-US" sz="1200" dirty="0" err="1" smtClean="0"/>
                        <a:t>kab</a:t>
                      </a:r>
                      <a:r>
                        <a:rPr lang="en-US" sz="1200" dirty="0" smtClean="0"/>
                        <a:t>/</a:t>
                      </a:r>
                      <a:r>
                        <a:rPr lang="en-US" sz="1200" dirty="0" err="1" smtClean="0"/>
                        <a:t>kota</a:t>
                      </a:r>
                      <a:endParaRPr lang="en-US" sz="1200" dirty="0"/>
                    </a:p>
                  </a:txBody>
                  <a:tcPr marT="45727" marB="45727"/>
                </a:tc>
                <a:tc>
                  <a:txBody>
                    <a:bodyPr/>
                    <a:lstStyle/>
                    <a:p>
                      <a:pPr algn="ctr"/>
                      <a:r>
                        <a:rPr lang="en-US" sz="1200" dirty="0" smtClean="0"/>
                        <a:t>Data </a:t>
                      </a:r>
                      <a:r>
                        <a:rPr lang="en-US" sz="1200" dirty="0" err="1" smtClean="0"/>
                        <a:t>kota</a:t>
                      </a:r>
                      <a:r>
                        <a:rPr lang="en-US" sz="1200" dirty="0" smtClean="0"/>
                        <a:t> </a:t>
                      </a:r>
                      <a:r>
                        <a:rPr lang="en-US" sz="1200" dirty="0" err="1" smtClean="0"/>
                        <a:t>sampel</a:t>
                      </a:r>
                      <a:endParaRPr lang="en-US" sz="1200" dirty="0"/>
                    </a:p>
                  </a:txBody>
                  <a:tcPr marT="45727" marB="45727"/>
                </a:tc>
                <a:tc>
                  <a:txBody>
                    <a:bodyPr/>
                    <a:lstStyle/>
                    <a:p>
                      <a:pPr algn="l"/>
                      <a:r>
                        <a:rPr lang="en-US" sz="1200" dirty="0" smtClean="0"/>
                        <a:t>Data </a:t>
                      </a:r>
                      <a:r>
                        <a:rPr lang="en-US" sz="1200" dirty="0" err="1" smtClean="0"/>
                        <a:t>tingkat</a:t>
                      </a:r>
                      <a:r>
                        <a:rPr lang="en-US" sz="1200" dirty="0" smtClean="0"/>
                        <a:t> </a:t>
                      </a:r>
                      <a:r>
                        <a:rPr lang="en-US" sz="1200" dirty="0" err="1" smtClean="0"/>
                        <a:t>provinsi</a:t>
                      </a:r>
                      <a:r>
                        <a:rPr lang="en-US" sz="1200" baseline="0" dirty="0" smtClean="0"/>
                        <a:t> </a:t>
                      </a:r>
                      <a:r>
                        <a:rPr lang="en-US" sz="1200" baseline="0" dirty="0" err="1" smtClean="0"/>
                        <a:t>dan</a:t>
                      </a:r>
                      <a:r>
                        <a:rPr lang="en-US" sz="1200" baseline="0" dirty="0" smtClean="0"/>
                        <a:t> </a:t>
                      </a:r>
                      <a:r>
                        <a:rPr lang="en-US" sz="1200" baseline="0" dirty="0" err="1" smtClean="0"/>
                        <a:t>kota</a:t>
                      </a:r>
                      <a:r>
                        <a:rPr lang="en-US" sz="1200" baseline="0" dirty="0" smtClean="0"/>
                        <a:t> (</a:t>
                      </a:r>
                      <a:r>
                        <a:rPr lang="en-US" sz="1200" baseline="0" dirty="0" err="1" smtClean="0"/>
                        <a:t>informasinya</a:t>
                      </a:r>
                      <a:r>
                        <a:rPr lang="en-US" sz="1200" baseline="0" dirty="0" smtClean="0"/>
                        <a:t> </a:t>
                      </a:r>
                      <a:r>
                        <a:rPr lang="en-US" sz="1200" baseline="0" dirty="0" err="1" smtClean="0"/>
                        <a:t>mencakup</a:t>
                      </a:r>
                      <a:r>
                        <a:rPr lang="en-US" sz="1200" baseline="0" dirty="0" smtClean="0"/>
                        <a:t> </a:t>
                      </a:r>
                      <a:r>
                        <a:rPr lang="en-US" sz="1200" baseline="0" dirty="0" err="1" smtClean="0"/>
                        <a:t>setiap</a:t>
                      </a:r>
                      <a:r>
                        <a:rPr lang="en-US" sz="1200" baseline="0" dirty="0" smtClean="0"/>
                        <a:t> </a:t>
                      </a:r>
                      <a:r>
                        <a:rPr lang="en-US" sz="1200" baseline="0" dirty="0" err="1" smtClean="0"/>
                        <a:t>pasar</a:t>
                      </a:r>
                      <a:r>
                        <a:rPr lang="en-US" sz="1200" baseline="0" dirty="0" smtClean="0"/>
                        <a:t>)</a:t>
                      </a:r>
                      <a:endParaRPr lang="en-US" sz="1200" dirty="0"/>
                    </a:p>
                  </a:txBody>
                  <a:tcPr marT="45727" marB="45727"/>
                </a:tc>
                <a:extLst>
                  <a:ext uri="{0D108BD9-81ED-4DB2-BD59-A6C34878D82A}">
                    <a16:rowId xmlns="" xmlns:a16="http://schemas.microsoft.com/office/drawing/2014/main" val="10002"/>
                  </a:ext>
                </a:extLst>
              </a:tr>
              <a:tr h="907357">
                <a:tc>
                  <a:txBody>
                    <a:bodyPr/>
                    <a:lstStyle/>
                    <a:p>
                      <a:pPr algn="ctr"/>
                      <a:r>
                        <a:rPr lang="en-US" sz="1200" dirty="0" smtClean="0">
                          <a:solidFill>
                            <a:schemeClr val="bg1"/>
                          </a:solidFill>
                        </a:rPr>
                        <a:t>KOMODITAS</a:t>
                      </a:r>
                      <a:endParaRPr lang="en-US" sz="1200" dirty="0">
                        <a:solidFill>
                          <a:schemeClr val="bg1"/>
                        </a:solidFill>
                      </a:endParaRPr>
                    </a:p>
                  </a:txBody>
                  <a:tcPr marT="45727" marB="45727">
                    <a:solidFill>
                      <a:schemeClr val="tx1"/>
                    </a:solidFill>
                  </a:tcPr>
                </a:tc>
                <a:tc>
                  <a:txBody>
                    <a:bodyPr/>
                    <a:lstStyle/>
                    <a:p>
                      <a:pPr algn="ctr"/>
                      <a:r>
                        <a:rPr lang="en-US" sz="1200" dirty="0" smtClean="0"/>
                        <a:t>73 </a:t>
                      </a:r>
                      <a:r>
                        <a:rPr lang="en-US" sz="1200" dirty="0" err="1" smtClean="0"/>
                        <a:t>komoditas</a:t>
                      </a:r>
                      <a:r>
                        <a:rPr lang="en-US" sz="1200" dirty="0" smtClean="0"/>
                        <a:t> </a:t>
                      </a:r>
                      <a:r>
                        <a:rPr lang="en-US" sz="1200" dirty="0" err="1" smtClean="0"/>
                        <a:t>pangan</a:t>
                      </a:r>
                      <a:endParaRPr lang="en-US" sz="1200" dirty="0"/>
                    </a:p>
                  </a:txBody>
                  <a:tcPr marT="45727" marB="45727"/>
                </a:tc>
                <a:tc>
                  <a:txBody>
                    <a:bodyPr/>
                    <a:lstStyle/>
                    <a:p>
                      <a:pPr algn="ctr"/>
                      <a:r>
                        <a:rPr lang="en-US" sz="1200" dirty="0" smtClean="0"/>
                        <a:t>17 </a:t>
                      </a:r>
                      <a:r>
                        <a:rPr lang="en-US" sz="1200" dirty="0" err="1" smtClean="0"/>
                        <a:t>komoditas</a:t>
                      </a:r>
                      <a:r>
                        <a:rPr lang="en-US" sz="1200" dirty="0" smtClean="0"/>
                        <a:t> </a:t>
                      </a:r>
                      <a:r>
                        <a:rPr lang="en-US" sz="1200" dirty="0" err="1" smtClean="0"/>
                        <a:t>pangan</a:t>
                      </a:r>
                      <a:endParaRPr lang="en-US" sz="1200" dirty="0"/>
                    </a:p>
                  </a:txBody>
                  <a:tcPr marT="45727" marB="45727"/>
                </a:tc>
                <a:tc>
                  <a:txBody>
                    <a:bodyPr/>
                    <a:lstStyle/>
                    <a:p>
                      <a:pPr algn="l"/>
                      <a:r>
                        <a:rPr lang="en-US" sz="1200" dirty="0" err="1" smtClean="0"/>
                        <a:t>Fokus</a:t>
                      </a:r>
                      <a:r>
                        <a:rPr lang="en-US" sz="1200" dirty="0" smtClean="0"/>
                        <a:t> </a:t>
                      </a:r>
                      <a:r>
                        <a:rPr lang="en-US" sz="1200" dirty="0" err="1" smtClean="0"/>
                        <a:t>jangka</a:t>
                      </a:r>
                      <a:r>
                        <a:rPr lang="en-US" sz="1200" dirty="0" smtClean="0"/>
                        <a:t> </a:t>
                      </a:r>
                      <a:r>
                        <a:rPr lang="en-US" sz="1200" dirty="0" err="1" smtClean="0"/>
                        <a:t>pendek</a:t>
                      </a:r>
                      <a:r>
                        <a:rPr lang="en-US" sz="1200" dirty="0" smtClean="0"/>
                        <a:t> </a:t>
                      </a:r>
                      <a:r>
                        <a:rPr lang="en-US" sz="1200" dirty="0" err="1" smtClean="0"/>
                        <a:t>pada</a:t>
                      </a:r>
                      <a:r>
                        <a:rPr lang="en-US" sz="1200" dirty="0" smtClean="0"/>
                        <a:t> 10 </a:t>
                      </a:r>
                      <a:r>
                        <a:rPr lang="en-US" sz="1200" dirty="0" err="1" smtClean="0"/>
                        <a:t>komoditas</a:t>
                      </a:r>
                      <a:r>
                        <a:rPr lang="en-US" sz="1200" dirty="0" smtClean="0"/>
                        <a:t> </a:t>
                      </a:r>
                      <a:r>
                        <a:rPr lang="en-US" sz="1200" dirty="0" err="1" smtClean="0"/>
                        <a:t>pangan</a:t>
                      </a:r>
                      <a:r>
                        <a:rPr lang="en-US" sz="1200" dirty="0" smtClean="0"/>
                        <a:t> </a:t>
                      </a:r>
                      <a:r>
                        <a:rPr lang="en-US" sz="1200" dirty="0" err="1" smtClean="0"/>
                        <a:t>strategis</a:t>
                      </a:r>
                      <a:r>
                        <a:rPr lang="en-US" sz="1200" dirty="0" smtClean="0"/>
                        <a:t> yang </a:t>
                      </a:r>
                      <a:r>
                        <a:rPr lang="en-US" sz="1200" dirty="0" err="1" smtClean="0"/>
                        <a:t>memiliki</a:t>
                      </a:r>
                      <a:r>
                        <a:rPr lang="en-US" sz="1200" dirty="0" smtClean="0"/>
                        <a:t> </a:t>
                      </a:r>
                      <a:r>
                        <a:rPr lang="en-US" sz="1200" dirty="0" err="1" smtClean="0"/>
                        <a:t>bobot</a:t>
                      </a:r>
                      <a:r>
                        <a:rPr lang="en-US" sz="1200" dirty="0" smtClean="0"/>
                        <a:t> </a:t>
                      </a:r>
                      <a:r>
                        <a:rPr lang="en-US" sz="1200" dirty="0" err="1" smtClean="0"/>
                        <a:t>besar</a:t>
                      </a:r>
                      <a:r>
                        <a:rPr lang="en-US" sz="1200" dirty="0" smtClean="0"/>
                        <a:t> </a:t>
                      </a:r>
                      <a:r>
                        <a:rPr lang="en-US" sz="1200" dirty="0" err="1" smtClean="0"/>
                        <a:t>dlm</a:t>
                      </a:r>
                      <a:r>
                        <a:rPr lang="en-US" sz="1200" dirty="0" smtClean="0"/>
                        <a:t> IHK</a:t>
                      </a:r>
                      <a:endParaRPr lang="en-US" sz="1200" dirty="0"/>
                    </a:p>
                  </a:txBody>
                  <a:tcPr marT="45727" marB="45727"/>
                </a:tc>
                <a:extLst>
                  <a:ext uri="{0D108BD9-81ED-4DB2-BD59-A6C34878D82A}">
                    <a16:rowId xmlns="" xmlns:a16="http://schemas.microsoft.com/office/drawing/2014/main" val="10003"/>
                  </a:ext>
                </a:extLst>
              </a:tr>
              <a:tr h="1317124">
                <a:tc>
                  <a:txBody>
                    <a:bodyPr/>
                    <a:lstStyle/>
                    <a:p>
                      <a:pPr algn="ctr"/>
                      <a:r>
                        <a:rPr lang="en-US" sz="1200" dirty="0" smtClean="0">
                          <a:solidFill>
                            <a:schemeClr val="bg1"/>
                          </a:solidFill>
                        </a:rPr>
                        <a:t>TUJUAN</a:t>
                      </a:r>
                      <a:endParaRPr lang="en-US" sz="1200" dirty="0">
                        <a:solidFill>
                          <a:schemeClr val="bg1"/>
                        </a:solidFill>
                      </a:endParaRPr>
                    </a:p>
                  </a:txBody>
                  <a:tcPr marT="45727" marB="45727">
                    <a:solidFill>
                      <a:schemeClr val="tx1"/>
                    </a:solidFill>
                  </a:tcPr>
                </a:tc>
                <a:tc>
                  <a:txBody>
                    <a:bodyPr/>
                    <a:lstStyle/>
                    <a:p>
                      <a:pPr algn="ctr"/>
                      <a:r>
                        <a:rPr lang="en-US" sz="1200" dirty="0" err="1" smtClean="0"/>
                        <a:t>Mendukung</a:t>
                      </a:r>
                      <a:r>
                        <a:rPr lang="en-US" sz="1200" dirty="0" smtClean="0"/>
                        <a:t> </a:t>
                      </a:r>
                      <a:r>
                        <a:rPr lang="en-US" sz="1200" dirty="0" err="1" smtClean="0"/>
                        <a:t>informasi</a:t>
                      </a:r>
                      <a:r>
                        <a:rPr lang="en-US" sz="1200" dirty="0" smtClean="0"/>
                        <a:t> </a:t>
                      </a:r>
                      <a:r>
                        <a:rPr lang="en-US" sz="1200" dirty="0" err="1" smtClean="0"/>
                        <a:t>pertanian</a:t>
                      </a:r>
                      <a:endParaRPr lang="en-US" sz="1200" dirty="0"/>
                    </a:p>
                  </a:txBody>
                  <a:tcPr marT="45727" marB="45727"/>
                </a:tc>
                <a:tc>
                  <a:txBody>
                    <a:bodyPr/>
                    <a:lstStyle/>
                    <a:p>
                      <a:pPr algn="ctr"/>
                      <a:r>
                        <a:rPr lang="en-US" sz="1200" dirty="0" err="1" smtClean="0"/>
                        <a:t>Sistem</a:t>
                      </a:r>
                      <a:r>
                        <a:rPr lang="en-US" sz="1200" baseline="0" dirty="0" smtClean="0"/>
                        <a:t> monitoring </a:t>
                      </a:r>
                      <a:r>
                        <a:rPr lang="en-US" sz="1200" baseline="0" dirty="0" err="1" smtClean="0"/>
                        <a:t>deteksi</a:t>
                      </a:r>
                      <a:r>
                        <a:rPr lang="en-US" sz="1200" baseline="0" dirty="0" smtClean="0"/>
                        <a:t> </a:t>
                      </a:r>
                      <a:r>
                        <a:rPr lang="en-US" sz="1200" baseline="0" dirty="0" err="1" smtClean="0"/>
                        <a:t>dini</a:t>
                      </a:r>
                      <a:r>
                        <a:rPr lang="en-US" sz="1200" baseline="0" dirty="0" smtClean="0"/>
                        <a:t> (EWS)</a:t>
                      </a:r>
                      <a:endParaRPr lang="en-US" sz="1200" dirty="0"/>
                    </a:p>
                  </a:txBody>
                  <a:tcPr marT="45727" marB="45727"/>
                </a:tc>
                <a:tc>
                  <a:txBody>
                    <a:bodyPr/>
                    <a:lstStyle/>
                    <a:p>
                      <a:pPr algn="l"/>
                      <a:r>
                        <a:rPr lang="en-US" sz="1200" dirty="0" err="1" smtClean="0"/>
                        <a:t>Menciptakan</a:t>
                      </a:r>
                      <a:r>
                        <a:rPr lang="en-US" sz="1200" dirty="0" smtClean="0"/>
                        <a:t> </a:t>
                      </a:r>
                      <a:r>
                        <a:rPr lang="en-US" sz="1200" dirty="0" err="1" smtClean="0"/>
                        <a:t>referensi</a:t>
                      </a:r>
                      <a:r>
                        <a:rPr lang="en-US" sz="1200" dirty="0" smtClean="0"/>
                        <a:t> </a:t>
                      </a:r>
                      <a:r>
                        <a:rPr lang="en-US" sz="1200" dirty="0" err="1" smtClean="0"/>
                        <a:t>harga</a:t>
                      </a:r>
                      <a:r>
                        <a:rPr lang="en-US" sz="1200" dirty="0" smtClean="0"/>
                        <a:t> </a:t>
                      </a:r>
                      <a:r>
                        <a:rPr lang="en-US" sz="1200" dirty="0" err="1" smtClean="0"/>
                        <a:t>bagi</a:t>
                      </a:r>
                      <a:r>
                        <a:rPr lang="en-US" sz="1200" dirty="0" smtClean="0"/>
                        <a:t> </a:t>
                      </a:r>
                      <a:r>
                        <a:rPr lang="en-US" sz="1200" dirty="0" err="1" smtClean="0"/>
                        <a:t>pelaku</a:t>
                      </a:r>
                      <a:r>
                        <a:rPr lang="en-US" sz="1200" dirty="0" smtClean="0"/>
                        <a:t> </a:t>
                      </a:r>
                      <a:r>
                        <a:rPr lang="en-US" sz="1200" dirty="0" err="1" smtClean="0"/>
                        <a:t>ekonomi</a:t>
                      </a:r>
                      <a:r>
                        <a:rPr lang="en-US" sz="1200" baseline="0" dirty="0" smtClean="0"/>
                        <a:t> </a:t>
                      </a:r>
                      <a:r>
                        <a:rPr lang="en-US" sz="1200" baseline="0" dirty="0" err="1" smtClean="0"/>
                        <a:t>dalam</a:t>
                      </a:r>
                      <a:r>
                        <a:rPr lang="en-US" sz="1200" baseline="0" dirty="0" smtClean="0"/>
                        <a:t> </a:t>
                      </a:r>
                      <a:r>
                        <a:rPr lang="en-US" sz="1200" baseline="0" dirty="0" err="1" smtClean="0"/>
                        <a:t>rangka</a:t>
                      </a:r>
                      <a:r>
                        <a:rPr lang="en-US" sz="1200" baseline="0" dirty="0" smtClean="0"/>
                        <a:t> </a:t>
                      </a:r>
                      <a:r>
                        <a:rPr lang="en-US" sz="1200" baseline="0" dirty="0" err="1" smtClean="0"/>
                        <a:t>mengarahkan</a:t>
                      </a:r>
                      <a:r>
                        <a:rPr lang="en-US" sz="1200" baseline="0" dirty="0" smtClean="0"/>
                        <a:t> </a:t>
                      </a:r>
                      <a:r>
                        <a:rPr lang="en-US" sz="1200" baseline="0" dirty="0" err="1" smtClean="0"/>
                        <a:t>ekspektasi</a:t>
                      </a:r>
                      <a:r>
                        <a:rPr lang="en-US" sz="1200" baseline="0" dirty="0" smtClean="0"/>
                        <a:t> </a:t>
                      </a:r>
                      <a:r>
                        <a:rPr lang="en-US" sz="1200" baseline="0" dirty="0" err="1" smtClean="0"/>
                        <a:t>dan</a:t>
                      </a:r>
                      <a:r>
                        <a:rPr lang="en-US" sz="1200" baseline="0" dirty="0" smtClean="0"/>
                        <a:t> </a:t>
                      </a:r>
                      <a:r>
                        <a:rPr lang="en-US" sz="1200" baseline="0" dirty="0" err="1" smtClean="0"/>
                        <a:t>meningkatkan</a:t>
                      </a:r>
                      <a:r>
                        <a:rPr lang="en-US" sz="1200" baseline="0" dirty="0" smtClean="0"/>
                        <a:t> </a:t>
                      </a:r>
                      <a:r>
                        <a:rPr lang="en-US" sz="1200" baseline="0" dirty="0" err="1" smtClean="0"/>
                        <a:t>efisiensi</a:t>
                      </a:r>
                      <a:r>
                        <a:rPr lang="en-US" sz="1200" baseline="0" dirty="0" smtClean="0"/>
                        <a:t> </a:t>
                      </a:r>
                      <a:r>
                        <a:rPr lang="en-US" sz="1200" baseline="0" dirty="0" err="1" smtClean="0"/>
                        <a:t>perekonomian</a:t>
                      </a:r>
                      <a:endParaRPr lang="en-US" sz="1200" dirty="0"/>
                    </a:p>
                  </a:txBody>
                  <a:tcPr marT="45727" marB="45727"/>
                </a:tc>
                <a:extLst>
                  <a:ext uri="{0D108BD9-81ED-4DB2-BD59-A6C34878D82A}">
                    <a16:rowId xmlns="" xmlns:a16="http://schemas.microsoft.com/office/drawing/2014/main" val="10004"/>
                  </a:ext>
                </a:extLst>
              </a:tr>
              <a:tr h="907357">
                <a:tc>
                  <a:txBody>
                    <a:bodyPr/>
                    <a:lstStyle/>
                    <a:p>
                      <a:pPr algn="ctr"/>
                      <a:r>
                        <a:rPr lang="en-US" sz="1200" dirty="0" smtClean="0">
                          <a:solidFill>
                            <a:schemeClr val="bg1"/>
                          </a:solidFill>
                        </a:rPr>
                        <a:t>DISEMINASI</a:t>
                      </a:r>
                      <a:endParaRPr lang="en-US" sz="1200" dirty="0">
                        <a:solidFill>
                          <a:schemeClr val="bg1"/>
                        </a:solidFill>
                      </a:endParaRPr>
                    </a:p>
                  </a:txBody>
                  <a:tcPr marT="45727" marB="45727">
                    <a:solidFill>
                      <a:schemeClr val="tx1"/>
                    </a:solidFill>
                  </a:tcPr>
                </a:tc>
                <a:tc>
                  <a:txBody>
                    <a:bodyPr/>
                    <a:lstStyle/>
                    <a:p>
                      <a:pPr algn="ctr"/>
                      <a:r>
                        <a:rPr lang="en-US" sz="1200" dirty="0" smtClean="0"/>
                        <a:t>Web portal, SMS, media</a:t>
                      </a:r>
                      <a:r>
                        <a:rPr lang="en-US" sz="1200" baseline="0" dirty="0" smtClean="0"/>
                        <a:t> </a:t>
                      </a:r>
                      <a:r>
                        <a:rPr lang="en-US" sz="1200" baseline="0" dirty="0" err="1" smtClean="0"/>
                        <a:t>cetak</a:t>
                      </a:r>
                      <a:r>
                        <a:rPr lang="en-US" sz="1200" baseline="0" dirty="0" smtClean="0"/>
                        <a:t> </a:t>
                      </a:r>
                      <a:r>
                        <a:rPr lang="en-US" sz="1200" baseline="0" dirty="0" err="1" smtClean="0"/>
                        <a:t>dan</a:t>
                      </a:r>
                      <a:r>
                        <a:rPr lang="en-US" sz="1200" baseline="0" dirty="0" smtClean="0"/>
                        <a:t> </a:t>
                      </a:r>
                      <a:r>
                        <a:rPr lang="en-US" sz="1200" baseline="0" dirty="0" err="1" smtClean="0"/>
                        <a:t>elektronik</a:t>
                      </a:r>
                      <a:endParaRPr lang="en-US" sz="1200" dirty="0"/>
                    </a:p>
                  </a:txBody>
                  <a:tcPr marT="45727" marB="45727"/>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Web portal, SMS, media</a:t>
                      </a:r>
                      <a:r>
                        <a:rPr lang="en-US" sz="1200" baseline="0" dirty="0" smtClean="0"/>
                        <a:t> </a:t>
                      </a:r>
                      <a:r>
                        <a:rPr lang="en-US" sz="1200" baseline="0" dirty="0" err="1" smtClean="0"/>
                        <a:t>cetak</a:t>
                      </a:r>
                      <a:r>
                        <a:rPr lang="en-US" sz="1200" baseline="0" dirty="0" smtClean="0"/>
                        <a:t> </a:t>
                      </a:r>
                      <a:r>
                        <a:rPr lang="en-US" sz="1200" baseline="0" dirty="0" err="1" smtClean="0"/>
                        <a:t>dan</a:t>
                      </a:r>
                      <a:r>
                        <a:rPr lang="en-US" sz="1200" baseline="0" dirty="0" smtClean="0"/>
                        <a:t> </a:t>
                      </a:r>
                      <a:r>
                        <a:rPr lang="en-US" sz="1200" baseline="0" dirty="0" err="1" smtClean="0"/>
                        <a:t>elektronik</a:t>
                      </a:r>
                      <a:endParaRPr lang="en-US" sz="1200" dirty="0" smtClean="0"/>
                    </a:p>
                    <a:p>
                      <a:pPr algn="ctr"/>
                      <a:endParaRPr lang="en-US" sz="1200" dirty="0"/>
                    </a:p>
                  </a:txBody>
                  <a:tcPr marT="45727" marB="45727"/>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Web portal, SMS, media</a:t>
                      </a:r>
                      <a:r>
                        <a:rPr lang="en-US" sz="1200" baseline="0" dirty="0" smtClean="0"/>
                        <a:t> </a:t>
                      </a:r>
                      <a:r>
                        <a:rPr lang="en-US" sz="1200" baseline="0" dirty="0" err="1" smtClean="0"/>
                        <a:t>cetak</a:t>
                      </a:r>
                      <a:r>
                        <a:rPr lang="en-US" sz="1200" baseline="0" dirty="0" smtClean="0"/>
                        <a:t> </a:t>
                      </a:r>
                      <a:r>
                        <a:rPr lang="en-US" sz="1200" baseline="0" dirty="0" err="1" smtClean="0"/>
                        <a:t>dan</a:t>
                      </a:r>
                      <a:r>
                        <a:rPr lang="en-US" sz="1200" baseline="0" dirty="0" smtClean="0"/>
                        <a:t> </a:t>
                      </a:r>
                      <a:r>
                        <a:rPr lang="en-US" sz="1200" baseline="0" dirty="0" err="1" smtClean="0"/>
                        <a:t>elektronik</a:t>
                      </a:r>
                      <a:endParaRPr lang="en-US" sz="1200" dirty="0" smtClean="0"/>
                    </a:p>
                    <a:p>
                      <a:pPr algn="l"/>
                      <a:endParaRPr lang="en-US" sz="1200" dirty="0"/>
                    </a:p>
                  </a:txBody>
                  <a:tcPr marT="45727" marB="45727"/>
                </a:tc>
                <a:extLst>
                  <a:ext uri="{0D108BD9-81ED-4DB2-BD59-A6C34878D82A}">
                    <a16:rowId xmlns="" xmlns:a16="http://schemas.microsoft.com/office/drawing/2014/main" val="10005"/>
                  </a:ext>
                </a:extLst>
              </a:tr>
              <a:tr h="658938">
                <a:tc>
                  <a:txBody>
                    <a:bodyPr/>
                    <a:lstStyle/>
                    <a:p>
                      <a:pPr algn="ctr">
                        <a:spcBef>
                          <a:spcPts val="0"/>
                        </a:spcBef>
                        <a:spcAft>
                          <a:spcPts val="0"/>
                        </a:spcAft>
                      </a:pPr>
                      <a:r>
                        <a:rPr lang="en-US" sz="1200" dirty="0" smtClean="0">
                          <a:solidFill>
                            <a:schemeClr val="bg1"/>
                          </a:solidFill>
                        </a:rPr>
                        <a:t>ALAMAT</a:t>
                      </a:r>
                      <a:r>
                        <a:rPr lang="en-US" sz="1200" baseline="0" dirty="0" smtClean="0">
                          <a:solidFill>
                            <a:schemeClr val="bg1"/>
                          </a:solidFill>
                        </a:rPr>
                        <a:t> </a:t>
                      </a:r>
                    </a:p>
                    <a:p>
                      <a:pPr algn="ctr">
                        <a:spcBef>
                          <a:spcPts val="0"/>
                        </a:spcBef>
                        <a:spcAft>
                          <a:spcPts val="0"/>
                        </a:spcAft>
                      </a:pPr>
                      <a:r>
                        <a:rPr lang="en-US" sz="1200" baseline="0" dirty="0" smtClean="0">
                          <a:solidFill>
                            <a:schemeClr val="bg1"/>
                          </a:solidFill>
                        </a:rPr>
                        <a:t>WEB</a:t>
                      </a:r>
                      <a:endParaRPr lang="en-US" sz="1200" dirty="0">
                        <a:solidFill>
                          <a:schemeClr val="bg1"/>
                        </a:solidFill>
                      </a:endParaRPr>
                    </a:p>
                  </a:txBody>
                  <a:tcPr marT="45727" marB="45727">
                    <a:solidFill>
                      <a:schemeClr val="tx1"/>
                    </a:solidFill>
                  </a:tcPr>
                </a:tc>
                <a:tc>
                  <a:txBody>
                    <a:bodyPr/>
                    <a:lstStyle/>
                    <a:p>
                      <a:pPr algn="ctr">
                        <a:spcBef>
                          <a:spcPts val="0"/>
                        </a:spcBef>
                        <a:spcAft>
                          <a:spcPts val="0"/>
                        </a:spcAft>
                      </a:pPr>
                      <a:r>
                        <a:rPr lang="en-US" sz="1200" dirty="0" smtClean="0"/>
                        <a:t>Kementan.go.id</a:t>
                      </a:r>
                      <a:endParaRPr lang="en-US" sz="1200" dirty="0"/>
                    </a:p>
                  </a:txBody>
                  <a:tcPr marT="45727" marB="45727"/>
                </a:tc>
                <a:tc>
                  <a:txBody>
                    <a:bodyPr/>
                    <a:lstStyle/>
                    <a:p>
                      <a:pPr algn="ctr">
                        <a:spcBef>
                          <a:spcPts val="0"/>
                        </a:spcBef>
                        <a:spcAft>
                          <a:spcPts val="0"/>
                        </a:spcAft>
                      </a:pPr>
                      <a:r>
                        <a:rPr lang="en-US" sz="1200" dirty="0" smtClean="0"/>
                        <a:t>Ews.kemendag.go.id</a:t>
                      </a:r>
                      <a:endParaRPr lang="en-US" sz="1200" dirty="0"/>
                    </a:p>
                  </a:txBody>
                  <a:tcPr marT="45727" marB="45727"/>
                </a:tc>
                <a:tc>
                  <a:txBody>
                    <a:bodyPr/>
                    <a:lstStyle/>
                    <a:p>
                      <a:pPr algn="l">
                        <a:spcBef>
                          <a:spcPts val="0"/>
                        </a:spcBef>
                        <a:spcAft>
                          <a:spcPts val="0"/>
                        </a:spcAft>
                      </a:pPr>
                      <a:r>
                        <a:rPr lang="en-US" sz="1200" dirty="0" smtClean="0"/>
                        <a:t>Hargapangan.id</a:t>
                      </a:r>
                      <a:endParaRPr lang="en-US" sz="1200" dirty="0"/>
                    </a:p>
                  </a:txBody>
                  <a:tcPr marT="45727" marB="45727"/>
                </a:tc>
                <a:extLst>
                  <a:ext uri="{0D108BD9-81ED-4DB2-BD59-A6C34878D82A}">
                    <a16:rowId xmlns="" xmlns:a16="http://schemas.microsoft.com/office/drawing/2014/main" val="10006"/>
                  </a:ext>
                </a:extLst>
              </a:tr>
            </a:tbl>
          </a:graphicData>
        </a:graphic>
      </p:graphicFrame>
      <p:sp>
        <p:nvSpPr>
          <p:cNvPr id="23" name="TextBox 22"/>
          <p:cNvSpPr txBox="1"/>
          <p:nvPr/>
        </p:nvSpPr>
        <p:spPr>
          <a:xfrm>
            <a:off x="5105400" y="609601"/>
            <a:ext cx="6934200" cy="384721"/>
          </a:xfrm>
          <a:prstGeom prst="rect">
            <a:avLst/>
          </a:prstGeom>
          <a:solidFill>
            <a:srgbClr val="C00000"/>
          </a:solidFill>
        </p:spPr>
        <p:txBody>
          <a:bodyPr wrap="square" rtlCol="0">
            <a:spAutoFit/>
          </a:bodyPr>
          <a:lstStyle/>
          <a:p>
            <a:pPr algn="ctr"/>
            <a:r>
              <a:rPr lang="en-US" b="1" dirty="0" err="1">
                <a:solidFill>
                  <a:schemeClr val="bg1"/>
                </a:solidFill>
              </a:rPr>
              <a:t>Perbandingan</a:t>
            </a:r>
            <a:r>
              <a:rPr lang="en-US" b="1" dirty="0">
                <a:solidFill>
                  <a:schemeClr val="bg1"/>
                </a:solidFill>
              </a:rPr>
              <a:t> Data K/L </a:t>
            </a:r>
            <a:r>
              <a:rPr lang="en-US" b="1" dirty="0" err="1">
                <a:solidFill>
                  <a:schemeClr val="bg1"/>
                </a:solidFill>
              </a:rPr>
              <a:t>dan</a:t>
            </a:r>
            <a:r>
              <a:rPr lang="en-US" b="1" dirty="0">
                <a:solidFill>
                  <a:schemeClr val="bg1"/>
                </a:solidFill>
              </a:rPr>
              <a:t> PIHPS</a:t>
            </a:r>
          </a:p>
        </p:txBody>
      </p:sp>
      <p:grpSp>
        <p:nvGrpSpPr>
          <p:cNvPr id="26" name="Group 25"/>
          <p:cNvGrpSpPr/>
          <p:nvPr/>
        </p:nvGrpSpPr>
        <p:grpSpPr>
          <a:xfrm>
            <a:off x="228600" y="4876802"/>
            <a:ext cx="2133600" cy="1371599"/>
            <a:chOff x="76200" y="4876801"/>
            <a:chExt cx="2133600" cy="1371599"/>
          </a:xfrm>
        </p:grpSpPr>
        <p:sp>
          <p:nvSpPr>
            <p:cNvPr id="10" name="Flowchart: Data 9"/>
            <p:cNvSpPr/>
            <p:nvPr/>
          </p:nvSpPr>
          <p:spPr>
            <a:xfrm>
              <a:off x="76200" y="5354638"/>
              <a:ext cx="2133600" cy="893762"/>
            </a:xfrm>
            <a:prstGeom prst="flowChartInputOutput">
              <a:avLst/>
            </a:prstGeom>
            <a:solidFill>
              <a:schemeClr val="accent2">
                <a:lumMod val="40000"/>
                <a:lumOff val="60000"/>
              </a:schemeClr>
            </a:solidFill>
          </p:spPr>
          <p:style>
            <a:lnRef idx="2">
              <a:schemeClr val="accent2"/>
            </a:lnRef>
            <a:fillRef idx="1">
              <a:schemeClr val="lt1"/>
            </a:fillRef>
            <a:effectRef idx="0">
              <a:schemeClr val="accent2"/>
            </a:effectRef>
            <a:fontRef idx="minor">
              <a:schemeClr val="dk1"/>
            </a:fontRef>
          </p:style>
          <p:txBody>
            <a:bodyPr anchor="ctr"/>
            <a:lstStyle/>
            <a:p>
              <a:pPr algn="ctr">
                <a:defRPr/>
              </a:pPr>
              <a:r>
                <a:rPr lang="en-US" b="1" dirty="0" err="1"/>
                <a:t>Harga</a:t>
              </a:r>
              <a:r>
                <a:rPr lang="en-US" b="1" dirty="0"/>
                <a:t> </a:t>
              </a:r>
              <a:r>
                <a:rPr lang="en-US" b="1" dirty="0" err="1"/>
                <a:t>Produsen</a:t>
              </a:r>
              <a:r>
                <a:rPr lang="en-US" b="1" dirty="0"/>
                <a:t> (</a:t>
              </a:r>
              <a:r>
                <a:rPr lang="en-US" b="1" dirty="0" err="1"/>
                <a:t>tahap</a:t>
              </a:r>
              <a:r>
                <a:rPr lang="en-US" b="1" dirty="0"/>
                <a:t> II)</a:t>
              </a:r>
            </a:p>
          </p:txBody>
        </p:sp>
        <p:cxnSp>
          <p:nvCxnSpPr>
            <p:cNvPr id="24" name="Elbow Connector 23"/>
            <p:cNvCxnSpPr>
              <a:stCxn id="10" idx="1"/>
              <a:endCxn id="12" idx="2"/>
            </p:cNvCxnSpPr>
            <p:nvPr/>
          </p:nvCxnSpPr>
          <p:spPr>
            <a:xfrm rot="5400000" flipH="1" flipV="1">
              <a:off x="957659" y="5062141"/>
              <a:ext cx="477838" cy="107157"/>
            </a:xfrm>
            <a:prstGeom prst="bentConnector3">
              <a:avLst>
                <a:gd name="adj1" fmla="val 50000"/>
              </a:avLst>
            </a:prstGeom>
            <a:ln w="3810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2" name="Rectangle 21"/>
          <p:cNvSpPr/>
          <p:nvPr/>
        </p:nvSpPr>
        <p:spPr>
          <a:xfrm>
            <a:off x="250146"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381000" y="2667000"/>
            <a:ext cx="2133600" cy="1447800"/>
            <a:chOff x="228600" y="2667000"/>
            <a:chExt cx="2133600" cy="1447800"/>
          </a:xfrm>
        </p:grpSpPr>
        <p:sp>
          <p:nvSpPr>
            <p:cNvPr id="11" name="Flowchart: Data 10"/>
            <p:cNvSpPr/>
            <p:nvPr/>
          </p:nvSpPr>
          <p:spPr>
            <a:xfrm>
              <a:off x="228600" y="2667000"/>
              <a:ext cx="2133600" cy="838200"/>
            </a:xfrm>
            <a:prstGeom prst="flowChartInputOutput">
              <a:avLst/>
            </a:prstGeom>
            <a:solidFill>
              <a:schemeClr val="accent2">
                <a:lumMod val="40000"/>
                <a:lumOff val="60000"/>
              </a:schemeClr>
            </a:solidFill>
          </p:spPr>
          <p:style>
            <a:lnRef idx="2">
              <a:schemeClr val="accent2"/>
            </a:lnRef>
            <a:fillRef idx="1">
              <a:schemeClr val="lt1"/>
            </a:fillRef>
            <a:effectRef idx="0">
              <a:schemeClr val="accent2"/>
            </a:effectRef>
            <a:fontRef idx="minor">
              <a:schemeClr val="dk1"/>
            </a:fontRef>
          </p:style>
          <p:txBody>
            <a:bodyPr anchor="ctr"/>
            <a:lstStyle/>
            <a:p>
              <a:pPr algn="ctr">
                <a:defRPr/>
              </a:pPr>
              <a:r>
                <a:rPr lang="en-US" b="1" dirty="0" err="1"/>
                <a:t>Harga</a:t>
              </a:r>
              <a:r>
                <a:rPr lang="en-US" b="1" dirty="0"/>
                <a:t> </a:t>
              </a:r>
              <a:r>
                <a:rPr lang="en-US" b="1" dirty="0" err="1"/>
                <a:t>Konsumen</a:t>
              </a:r>
              <a:r>
                <a:rPr lang="en-US" b="1" dirty="0"/>
                <a:t> (</a:t>
              </a:r>
              <a:r>
                <a:rPr lang="en-US" b="1" dirty="0" err="1"/>
                <a:t>tahap</a:t>
              </a:r>
              <a:r>
                <a:rPr lang="en-US" b="1" dirty="0"/>
                <a:t> I)</a:t>
              </a:r>
            </a:p>
          </p:txBody>
        </p:sp>
        <p:cxnSp>
          <p:nvCxnSpPr>
            <p:cNvPr id="25" name="Elbow Connector 24"/>
            <p:cNvCxnSpPr>
              <a:stCxn id="11" idx="3"/>
              <a:endCxn id="12" idx="0"/>
            </p:cNvCxnSpPr>
            <p:nvPr/>
          </p:nvCxnSpPr>
          <p:spPr>
            <a:xfrm rot="16200000" flipH="1">
              <a:off x="861298" y="3725941"/>
              <a:ext cx="609600" cy="168117"/>
            </a:xfrm>
            <a:prstGeom prst="bentConnector3">
              <a:avLst>
                <a:gd name="adj1" fmla="val 50000"/>
              </a:avLst>
            </a:prstGeom>
            <a:ln w="3810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9" name="Title 1"/>
          <p:cNvSpPr txBox="1">
            <a:spLocks/>
          </p:cNvSpPr>
          <p:nvPr/>
        </p:nvSpPr>
        <p:spPr>
          <a:xfrm>
            <a:off x="213837" y="139293"/>
            <a:ext cx="11430000" cy="562632"/>
          </a:xfrm>
          <a:prstGeom prst="rect">
            <a:avLst/>
          </a:prstGeom>
        </p:spPr>
        <p:txBody>
          <a:bodyPr vert="horz" lIns="91438" tIns="45719" rIns="91438" bIns="45719" rtlCol="0" anchor="ctr">
            <a:noAutofit/>
          </a:bodyPr>
          <a:lstStyle/>
          <a:p>
            <a:pPr marL="33934" defTabSz="914400" fontAlgn="base">
              <a:spcBef>
                <a:spcPts val="600"/>
              </a:spcBef>
              <a:spcAft>
                <a:spcPts val="600"/>
              </a:spcAft>
              <a:defRPr/>
            </a:pPr>
            <a:r>
              <a:rPr lang="id-ID" sz="5400" b="1" dirty="0">
                <a:solidFill>
                  <a:srgbClr val="002060"/>
                </a:solidFill>
                <a:latin typeface="DilleniaUPC" pitchFamily="18" charset="-34"/>
                <a:cs typeface="DilleniaUPC" pitchFamily="18" charset="-34"/>
              </a:rPr>
              <a:t>P</a:t>
            </a:r>
            <a:r>
              <a:rPr lang="id-ID" sz="4800" b="1" dirty="0">
                <a:solidFill>
                  <a:srgbClr val="002060"/>
                </a:solidFill>
                <a:latin typeface="DilleniaUPC" pitchFamily="18" charset="-34"/>
                <a:cs typeface="DilleniaUPC" pitchFamily="18" charset="-34"/>
              </a:rPr>
              <a:t>IHPS NASIONAL</a:t>
            </a:r>
            <a:endParaRPr lang="en-US" sz="48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388235305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22" presetClass="entr" presetSubtype="1"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Effect transition="in" filter="wipe(up)">
                                      <p:cBhvr>
                                        <p:cTn id="12" dur="750"/>
                                        <p:tgtEl>
                                          <p:spTgt spid="15"/>
                                        </p:tgtEl>
                                      </p:cBhvr>
                                    </p:animEffect>
                                  </p:childTnLst>
                                </p:cTn>
                              </p:par>
                              <p:par>
                                <p:cTn id="13" presetID="22" presetClass="entr" presetSubtype="4" fill="hold" nodeType="withEffect">
                                  <p:stCondLst>
                                    <p:cond delay="250"/>
                                  </p:stCondLst>
                                  <p:childTnLst>
                                    <p:set>
                                      <p:cBhvr>
                                        <p:cTn id="14" dur="1" fill="hold">
                                          <p:stCondLst>
                                            <p:cond delay="0"/>
                                          </p:stCondLst>
                                        </p:cTn>
                                        <p:tgtEl>
                                          <p:spTgt spid="26"/>
                                        </p:tgtEl>
                                        <p:attrNameLst>
                                          <p:attrName>style.visibility</p:attrName>
                                        </p:attrNameLst>
                                      </p:cBhvr>
                                      <p:to>
                                        <p:strVal val="visible"/>
                                      </p:to>
                                    </p:set>
                                    <p:animEffect transition="in" filter="wipe(down)">
                                      <p:cBhvr>
                                        <p:cTn id="15" dur="750"/>
                                        <p:tgtEl>
                                          <p:spTgt spid="26"/>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750"/>
                                        <p:tgtEl>
                                          <p:spTgt spid="12"/>
                                        </p:tgtEl>
                                      </p:cBhvr>
                                    </p:animEffect>
                                  </p:childTnLst>
                                </p:cTn>
                              </p:par>
                              <p:par>
                                <p:cTn id="19" presetID="22" presetClass="entr" presetSubtype="8" fill="hold" nodeType="withEffect">
                                  <p:stCondLst>
                                    <p:cond delay="75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750"/>
                                        <p:tgtEl>
                                          <p:spTgt spid="27"/>
                                        </p:tgtEl>
                                      </p:cBhvr>
                                    </p:animEffect>
                                  </p:childTnLst>
                                </p:cTn>
                              </p:par>
                              <p:par>
                                <p:cTn id="22" presetID="10" presetClass="entr" presetSubtype="0" fill="hold" nodeType="withEffect">
                                  <p:stCondLst>
                                    <p:cond delay="10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childTnLst>
                          </p:cTn>
                        </p:par>
                        <p:par>
                          <p:cTn id="25" fill="hold">
                            <p:stCondLst>
                              <p:cond delay="1500"/>
                            </p:stCondLst>
                            <p:childTnLst>
                              <p:par>
                                <p:cTn id="26" presetID="42" presetClass="entr" presetSubtype="0" fill="hold" grpId="0" nodeType="after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1000"/>
                                        <p:tgtEl>
                                          <p:spTgt spid="17"/>
                                        </p:tgtEl>
                                      </p:cBhvr>
                                    </p:animEffect>
                                    <p:anim calcmode="lin" valueType="num">
                                      <p:cBhvr>
                                        <p:cTn id="29" dur="1000" fill="hold"/>
                                        <p:tgtEl>
                                          <p:spTgt spid="17"/>
                                        </p:tgtEl>
                                        <p:attrNameLst>
                                          <p:attrName>ppt_x</p:attrName>
                                        </p:attrNameLst>
                                      </p:cBhvr>
                                      <p:tavLst>
                                        <p:tav tm="0">
                                          <p:val>
                                            <p:strVal val="#ppt_x"/>
                                          </p:val>
                                        </p:tav>
                                        <p:tav tm="100000">
                                          <p:val>
                                            <p:strVal val="#ppt_x"/>
                                          </p:val>
                                        </p:tav>
                                      </p:tavLst>
                                    </p:anim>
                                    <p:anim calcmode="lin" valueType="num">
                                      <p:cBhvr>
                                        <p:cTn id="30" dur="1000" fill="hold"/>
                                        <p:tgtEl>
                                          <p:spTgt spid="17"/>
                                        </p:tgtEl>
                                        <p:attrNameLst>
                                          <p:attrName>ppt_y</p:attrName>
                                        </p:attrNameLst>
                                      </p:cBhvr>
                                      <p:tavLst>
                                        <p:tav tm="0">
                                          <p:val>
                                            <p:strVal val="#ppt_y+.1"/>
                                          </p:val>
                                        </p:tav>
                                        <p:tav tm="100000">
                                          <p:val>
                                            <p:strVal val="#ppt_y"/>
                                          </p:val>
                                        </p:tav>
                                      </p:tavLst>
                                    </p:anim>
                                  </p:childTnLst>
                                </p:cTn>
                              </p:par>
                              <p:par>
                                <p:cTn id="31" presetID="53" presetClass="entr" presetSubtype="16"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p:cTn id="33" dur="500" fill="hold"/>
                                        <p:tgtEl>
                                          <p:spTgt spid="23"/>
                                        </p:tgtEl>
                                        <p:attrNameLst>
                                          <p:attrName>ppt_w</p:attrName>
                                        </p:attrNameLst>
                                      </p:cBhvr>
                                      <p:tavLst>
                                        <p:tav tm="0">
                                          <p:val>
                                            <p:fltVal val="0"/>
                                          </p:val>
                                        </p:tav>
                                        <p:tav tm="100000">
                                          <p:val>
                                            <p:strVal val="#ppt_w"/>
                                          </p:val>
                                        </p:tav>
                                      </p:tavLst>
                                    </p:anim>
                                    <p:anim calcmode="lin" valueType="num">
                                      <p:cBhvr>
                                        <p:cTn id="34" dur="500" fill="hold"/>
                                        <p:tgtEl>
                                          <p:spTgt spid="23"/>
                                        </p:tgtEl>
                                        <p:attrNameLst>
                                          <p:attrName>ppt_h</p:attrName>
                                        </p:attrNameLst>
                                      </p:cBhvr>
                                      <p:tavLst>
                                        <p:tav tm="0">
                                          <p:val>
                                            <p:fltVal val="0"/>
                                          </p:val>
                                        </p:tav>
                                        <p:tav tm="100000">
                                          <p:val>
                                            <p:strVal val="#ppt_h"/>
                                          </p:val>
                                        </p:tav>
                                      </p:tavLst>
                                    </p:anim>
                                    <p:animEffect transition="in" filter="fade">
                                      <p:cBhvr>
                                        <p:cTn id="35" dur="500"/>
                                        <p:tgtEl>
                                          <p:spTgt spid="23"/>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7" grpId="0"/>
      <p:bldP spid="23"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131333136"/>
              </p:ext>
            </p:extLst>
          </p:nvPr>
        </p:nvGraphicFramePr>
        <p:xfrm>
          <a:off x="304800" y="990600"/>
          <a:ext cx="11613607" cy="5537568"/>
        </p:xfrm>
        <a:graphic>
          <a:graphicData uri="http://schemas.openxmlformats.org/drawingml/2006/table">
            <a:tbl>
              <a:tblPr firstRow="1" bandRow="1">
                <a:tableStyleId>{5A111915-BE36-4E01-A7E5-04B1672EAD32}</a:tableStyleId>
              </a:tblPr>
              <a:tblGrid>
                <a:gridCol w="566783">
                  <a:extLst>
                    <a:ext uri="{9D8B030D-6E8A-4147-A177-3AD203B41FA5}">
                      <a16:colId xmlns="" xmlns:a16="http://schemas.microsoft.com/office/drawing/2014/main" val="20000"/>
                    </a:ext>
                  </a:extLst>
                </a:gridCol>
                <a:gridCol w="7301412">
                  <a:extLst>
                    <a:ext uri="{9D8B030D-6E8A-4147-A177-3AD203B41FA5}">
                      <a16:colId xmlns="" xmlns:a16="http://schemas.microsoft.com/office/drawing/2014/main" val="20001"/>
                    </a:ext>
                  </a:extLst>
                </a:gridCol>
                <a:gridCol w="3745412">
                  <a:extLst>
                    <a:ext uri="{9D8B030D-6E8A-4147-A177-3AD203B41FA5}">
                      <a16:colId xmlns="" xmlns:a16="http://schemas.microsoft.com/office/drawing/2014/main" val="20002"/>
                    </a:ext>
                  </a:extLst>
                </a:gridCol>
              </a:tblGrid>
              <a:tr h="386448">
                <a:tc>
                  <a:txBody>
                    <a:bodyPr/>
                    <a:lstStyle/>
                    <a:p>
                      <a:pPr marL="0" algn="ctr" defTabSz="514363" rtl="0" eaLnBrk="1" latinLnBrk="0" hangingPunct="1"/>
                      <a:r>
                        <a:rPr lang="en-US" sz="1600" b="1" kern="1200" dirty="0" smtClean="0">
                          <a:solidFill>
                            <a:schemeClr val="tx1"/>
                          </a:solidFill>
                          <a:latin typeface="Arial Narrow" panose="020B0606020202030204" pitchFamily="34" charset="0"/>
                          <a:ea typeface="+mn-ea"/>
                          <a:cs typeface="+mn-cs"/>
                        </a:rPr>
                        <a:t>NO</a:t>
                      </a:r>
                      <a:endParaRPr lang="en-US" sz="16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514363" rtl="0" eaLnBrk="1" latinLnBrk="0" hangingPunct="1"/>
                      <a:r>
                        <a:rPr lang="en-US" sz="1600" b="1" kern="1200" dirty="0" smtClean="0">
                          <a:solidFill>
                            <a:schemeClr val="tx1"/>
                          </a:solidFill>
                          <a:latin typeface="Arial Narrow" panose="020B0606020202030204" pitchFamily="34" charset="0"/>
                          <a:ea typeface="+mn-ea"/>
                          <a:cs typeface="+mn-cs"/>
                        </a:rPr>
                        <a:t>KESEPAKATAN</a:t>
                      </a:r>
                      <a:endParaRPr lang="en-US" sz="16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514363" rtl="0" eaLnBrk="1" latinLnBrk="0" hangingPunct="1"/>
                      <a:r>
                        <a:rPr lang="en-US" sz="1600" b="1" kern="1200" dirty="0" smtClean="0">
                          <a:solidFill>
                            <a:schemeClr val="tx1"/>
                          </a:solidFill>
                          <a:latin typeface="Arial Narrow" panose="020B0606020202030204" pitchFamily="34" charset="0"/>
                          <a:ea typeface="+mn-ea"/>
                          <a:cs typeface="+mn-cs"/>
                        </a:rPr>
                        <a:t>TINDAK LANJUT</a:t>
                      </a:r>
                      <a:endParaRPr lang="en-US" sz="16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294290">
                <a:tc gridSpan="3">
                  <a:txBody>
                    <a:bodyPr/>
                    <a:lstStyle/>
                    <a:p>
                      <a:r>
                        <a:rPr lang="en-US" sz="1400" b="1" kern="1200" dirty="0" smtClean="0">
                          <a:solidFill>
                            <a:srgbClr val="7E0000"/>
                          </a:solidFill>
                          <a:latin typeface="Arial Narrow" panose="020B0606020202030204" pitchFamily="34" charset="0"/>
                        </a:rPr>
                        <a:t>PENGUATAN KELEMBAGAAN</a:t>
                      </a:r>
                      <a:endParaRPr lang="en-US" sz="1400" b="1" kern="1200" dirty="0">
                        <a:solidFill>
                          <a:srgbClr val="7E0000"/>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hMerge="1">
                  <a:txBody>
                    <a:bodyPr/>
                    <a:lstStyle/>
                    <a:p>
                      <a:endParaRPr lang="id-ID"/>
                    </a:p>
                  </a:txBody>
                  <a:tcPr/>
                </a:tc>
                <a:tc hMerge="1">
                  <a:txBody>
                    <a:bodyPr/>
                    <a:lstStyle/>
                    <a:p>
                      <a:endParaRPr lang="id-ID"/>
                    </a:p>
                  </a:txBody>
                  <a:tcPr/>
                </a:tc>
                <a:extLst>
                  <a:ext uri="{0D108BD9-81ED-4DB2-BD59-A6C34878D82A}">
                    <a16:rowId xmlns="" xmlns:a16="http://schemas.microsoft.com/office/drawing/2014/main" val="10002"/>
                  </a:ext>
                </a:extLst>
              </a:tr>
              <a:tr h="903890">
                <a:tc>
                  <a:txBody>
                    <a:bodyPr/>
                    <a:lstStyle/>
                    <a:p>
                      <a:pPr algn="ctr"/>
                      <a:r>
                        <a:rPr lang="en-US" sz="1200" b="1" dirty="0" smtClean="0">
                          <a:latin typeface="Arial Narrow" panose="020B0606020202030204" pitchFamily="34" charset="0"/>
                        </a:rPr>
                        <a:t>8</a:t>
                      </a:r>
                      <a:endParaRPr lang="en-US" sz="1200" b="1"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400" b="1" kern="1200" dirty="0" smtClean="0">
                          <a:solidFill>
                            <a:schemeClr val="tx1">
                              <a:lumMod val="95000"/>
                              <a:lumOff val="5000"/>
                            </a:schemeClr>
                          </a:solidFill>
                          <a:latin typeface="Arial Narrow" panose="020B0606020202030204" pitchFamily="34" charset="0"/>
                        </a:rPr>
                        <a:t>PENGUATAN KOORDINASI DENGAN KPPU MELALUI KETERLIBATAN KPPU SEBAGAI ANGGOTA TPI DAN POKJANAS TPID AKAN DITINDAKLANJUTI DENGAN PENYUSUNAN  NOTA KESEPAHAMAN  ANTARA KETUA POKJANAS TPID (MENKO PEREKONOMIAN) DENGAN KPPU SERTA MEMASUKKAN KPPU MENJADI ANGGOTA TPI SEBAGAIMANA AKAN DIATUR DALAM KEPUTUSAN MENTERI KEUANGAN TAHUN 2016</a:t>
                      </a:r>
                      <a:endParaRPr lang="en-US" sz="1400" b="1"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buFont typeface="Arial" pitchFamily="34" charset="0"/>
                        <a:buChar char="•"/>
                      </a:pPr>
                      <a:r>
                        <a:rPr lang="en-US" sz="1400" b="1" dirty="0" smtClean="0">
                          <a:solidFill>
                            <a:schemeClr val="tx1">
                              <a:lumMod val="95000"/>
                              <a:lumOff val="5000"/>
                            </a:schemeClr>
                          </a:solidFill>
                          <a:latin typeface="Arial Narrow" panose="020B0606020202030204" pitchFamily="34" charset="0"/>
                        </a:rPr>
                        <a:t>ADDENDUM  PKS</a:t>
                      </a:r>
                      <a:r>
                        <a:rPr lang="en-US" sz="1400" b="1" baseline="0" dirty="0" smtClean="0">
                          <a:solidFill>
                            <a:schemeClr val="tx1">
                              <a:lumMod val="95000"/>
                              <a:lumOff val="5000"/>
                            </a:schemeClr>
                          </a:solidFill>
                          <a:latin typeface="Arial Narrow" panose="020B0606020202030204" pitchFamily="34" charset="0"/>
                        </a:rPr>
                        <a:t> YANG MENCAKUP KLAUSUL KERJASAMA DENGAN KPPU, KEPOLISIAN DAN KEJAKSAAN AGUNG TELAH SELESAI</a:t>
                      </a:r>
                    </a:p>
                    <a:p>
                      <a:pPr marL="177800" indent="-177800">
                        <a:buFont typeface="Arial" pitchFamily="34" charset="0"/>
                        <a:buChar char="•"/>
                      </a:pPr>
                      <a:r>
                        <a:rPr lang="en-US" sz="1400" b="1" kern="1200" dirty="0" smtClean="0">
                          <a:solidFill>
                            <a:schemeClr val="tx1">
                              <a:lumMod val="95000"/>
                              <a:lumOff val="5000"/>
                            </a:schemeClr>
                          </a:solidFill>
                          <a:latin typeface="Arial Narrow" panose="020B0606020202030204" pitchFamily="34" charset="0"/>
                          <a:ea typeface="+mn-ea"/>
                          <a:cs typeface="+mn-cs"/>
                        </a:rPr>
                        <a:t>AKAN DILAKUKAN PILOTING KERJASAMA ANTARA KEPOLISIAN DENGAN TPID PROVINSI BANTEN DI AWAL BULAN JUNI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533400">
                <a:tc>
                  <a:txBody>
                    <a:bodyPr/>
                    <a:lstStyle/>
                    <a:p>
                      <a:pPr marL="0" algn="ctr" defTabSz="514363" rtl="0" eaLnBrk="1" latinLnBrk="0" hangingPunct="1"/>
                      <a:r>
                        <a:rPr lang="en-US" sz="1200" b="1" kern="1200" dirty="0" smtClean="0">
                          <a:solidFill>
                            <a:schemeClr val="tx1"/>
                          </a:solidFill>
                          <a:latin typeface="Arial Narrow" panose="020B0606020202030204" pitchFamily="34" charset="0"/>
                          <a:ea typeface="+mn-ea"/>
                          <a:cs typeface="+mn-cs"/>
                        </a:rPr>
                        <a:t>9</a:t>
                      </a:r>
                      <a:endParaRPr lang="en-US" sz="12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400" b="1" kern="1200" dirty="0" smtClean="0">
                          <a:solidFill>
                            <a:schemeClr val="tx1">
                              <a:lumMod val="95000"/>
                              <a:lumOff val="5000"/>
                            </a:schemeClr>
                          </a:solidFill>
                          <a:latin typeface="Arial Narrow" panose="020B0606020202030204" pitchFamily="34" charset="0"/>
                        </a:rPr>
                        <a:t>UNTUK MEMPERCEPAT PEMBENTUKAN TPID DI KAB/KOTA YANG BELUM, MAKA MENDAGRI AKAN MENYAMPAIKAN SURAT EDARAN KEPADA SELURUH KEPALA DAERAH UNTUK SEGERA MEMBENTUK TPID</a:t>
                      </a:r>
                      <a:endParaRPr lang="en-US" sz="1400" b="1"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baseline="0" dirty="0" smtClean="0">
                          <a:solidFill>
                            <a:schemeClr val="tx1">
                              <a:lumMod val="95000"/>
                              <a:lumOff val="5000"/>
                            </a:schemeClr>
                          </a:solidFill>
                          <a:latin typeface="Arial Narrow" panose="020B0606020202030204" pitchFamily="34" charset="0"/>
                        </a:rPr>
                        <a:t>SURAT EDARAN DALAM PROSES DI TI TTD MENDAGRI</a:t>
                      </a:r>
                      <a:endParaRPr lang="en-US" sz="1400" b="1" dirty="0">
                        <a:solidFill>
                          <a:schemeClr val="tx1">
                            <a:lumMod val="95000"/>
                            <a:lumOff val="5000"/>
                          </a:schemeClr>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4"/>
                  </a:ext>
                </a:extLst>
              </a:tr>
              <a:tr h="1066800">
                <a:tc>
                  <a:txBody>
                    <a:bodyPr/>
                    <a:lstStyle/>
                    <a:p>
                      <a:pPr algn="ctr"/>
                      <a:r>
                        <a:rPr lang="en-US" sz="1200" b="1" dirty="0" smtClean="0">
                          <a:latin typeface="Arial Narrow" panose="020B0606020202030204" pitchFamily="34" charset="0"/>
                        </a:rPr>
                        <a:t>10</a:t>
                      </a:r>
                      <a:endParaRPr lang="en-US" sz="1200" b="1"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400" b="1" kern="1200" dirty="0" smtClean="0">
                          <a:solidFill>
                            <a:schemeClr val="tx1">
                              <a:lumMod val="95000"/>
                              <a:lumOff val="5000"/>
                            </a:schemeClr>
                          </a:solidFill>
                          <a:latin typeface="Arial Narrow" panose="020B0606020202030204" pitchFamily="34" charset="0"/>
                        </a:rPr>
                        <a:t>DENGAN JUMLAH TPID YANG SEMAKIN BERTAMBAH, UPAYA SINKRONISASI KEBIJAKAN YANG SEJALAN DENGAN KONDISI KARAKTERISTIK INFLASI DAERAH MEMERLUKAN SEKRETARIAT YANG KUAT, SEHINGGA HLM SEPAKAT UNTUK SEGERA MENGOPERASIONALKAN SEKRETARIAT PENGENDALIAN INFLASI DI KANTOR MENKO PEREKONOMIAN. TERKAIT HAL INI, MASING-MASING K/L SEPAKAT UNTUK MEMBERIKAN DUKUNGAN SUMBER DAYA SESUAI KEWENANGAN</a:t>
                      </a:r>
                      <a:endParaRPr lang="en-US" sz="1400" b="1"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smtClean="0">
                          <a:solidFill>
                            <a:schemeClr val="tx1">
                              <a:lumMod val="95000"/>
                              <a:lumOff val="5000"/>
                            </a:schemeClr>
                          </a:solidFill>
                          <a:latin typeface="Arial Narrow" panose="020B0606020202030204" pitchFamily="34" charset="0"/>
                        </a:rPr>
                        <a:t>SEKRETARIAT</a:t>
                      </a:r>
                      <a:r>
                        <a:rPr lang="en-US" sz="1400" b="1" baseline="0" dirty="0" smtClean="0">
                          <a:solidFill>
                            <a:schemeClr val="tx1">
                              <a:lumMod val="95000"/>
                              <a:lumOff val="5000"/>
                            </a:schemeClr>
                          </a:solidFill>
                          <a:latin typeface="Arial Narrow" panose="020B0606020202030204" pitchFamily="34" charset="0"/>
                        </a:rPr>
                        <a:t> SUDAH MULAI BEROPERASI DENGAN DUKUNGAN SDM DARI K/L YANG TERLIBAT </a:t>
                      </a:r>
                      <a:endParaRPr lang="en-US" sz="1400" b="1" dirty="0">
                        <a:solidFill>
                          <a:schemeClr val="tx1">
                            <a:lumMod val="95000"/>
                            <a:lumOff val="5000"/>
                          </a:schemeClr>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5"/>
                  </a:ext>
                </a:extLst>
              </a:tr>
              <a:tr h="1447800">
                <a:tc>
                  <a:txBody>
                    <a:bodyPr/>
                    <a:lstStyle/>
                    <a:p>
                      <a:pPr algn="ctr"/>
                      <a:r>
                        <a:rPr lang="en-US" sz="1200" b="1" dirty="0" smtClean="0">
                          <a:latin typeface="Arial Narrow" panose="020B0606020202030204" pitchFamily="34" charset="0"/>
                        </a:rPr>
                        <a:t>11</a:t>
                      </a:r>
                      <a:endParaRPr lang="en-US" sz="1200" b="1"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400" b="1" kern="1200" dirty="0" smtClean="0">
                          <a:solidFill>
                            <a:schemeClr val="tx1">
                              <a:lumMod val="95000"/>
                              <a:lumOff val="5000"/>
                            </a:schemeClr>
                          </a:solidFill>
                          <a:latin typeface="Arial Narrow" panose="020B0606020202030204" pitchFamily="34" charset="0"/>
                        </a:rPr>
                        <a:t>MENUGASKAN TIM TEKNIS UNTUK MEREVIEW DAN MEREKOMENDASIKAN DASAR HUKUM PEMBENTUKAN TPI DAN POKJANAS TPID SERTA MENDESAIN STRUKTUR TPI DAN POKJANAS TPID</a:t>
                      </a:r>
                      <a:endParaRPr lang="en-US" sz="1400" b="1"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itchFamily="34" charset="0"/>
                        <a:buChar char="•"/>
                      </a:pPr>
                      <a:r>
                        <a:rPr lang="en-US" sz="1400" b="1" dirty="0" smtClean="0">
                          <a:solidFill>
                            <a:schemeClr val="tx1">
                              <a:lumMod val="95000"/>
                              <a:lumOff val="5000"/>
                            </a:schemeClr>
                          </a:solidFill>
                          <a:latin typeface="Arial Narrow" pitchFamily="34" charset="0"/>
                        </a:rPr>
                        <a:t>KAJIAN TERKAIT</a:t>
                      </a:r>
                      <a:r>
                        <a:rPr lang="en-US" sz="1400" b="1" baseline="0" dirty="0" smtClean="0">
                          <a:solidFill>
                            <a:schemeClr val="tx1">
                              <a:lumMod val="95000"/>
                              <a:lumOff val="5000"/>
                            </a:schemeClr>
                          </a:solidFill>
                          <a:latin typeface="Arial Narrow" pitchFamily="34" charset="0"/>
                        </a:rPr>
                        <a:t> PENGUATAN DASAR HUKUM TPID SEDANG DILAKSANAKAN DENGAN BANTUAN TENAGA AHLI</a:t>
                      </a:r>
                    </a:p>
                    <a:p>
                      <a:pPr marL="171450" indent="-171450">
                        <a:buFont typeface="Arial" pitchFamily="34" charset="0"/>
                        <a:buChar char="•"/>
                      </a:pPr>
                      <a:r>
                        <a:rPr lang="en-US" sz="1400" b="1" dirty="0" smtClean="0">
                          <a:solidFill>
                            <a:schemeClr val="tx1">
                              <a:lumMod val="95000"/>
                              <a:lumOff val="5000"/>
                            </a:schemeClr>
                          </a:solidFill>
                          <a:latin typeface="Arial Narrow" pitchFamily="34" charset="0"/>
                        </a:rPr>
                        <a:t>KONSEP</a:t>
                      </a:r>
                      <a:r>
                        <a:rPr lang="en-US" sz="1400" b="1" baseline="0" dirty="0" smtClean="0">
                          <a:solidFill>
                            <a:schemeClr val="tx1">
                              <a:lumMod val="95000"/>
                              <a:lumOff val="5000"/>
                            </a:schemeClr>
                          </a:solidFill>
                          <a:latin typeface="Arial Narrow" pitchFamily="34" charset="0"/>
                        </a:rPr>
                        <a:t> MOU ANTARA KEMENDAGRI DENGAN BPS UNTUK PENGHITUNGAN INFLASI SETIAP DAERAH AGAR PEMERINTAH DAERAH DAPAT MENGALOKASIKAN ANGGARAN</a:t>
                      </a:r>
                      <a:endParaRPr lang="en-US" sz="1400" b="1" dirty="0">
                        <a:solidFill>
                          <a:schemeClr val="tx1">
                            <a:lumMod val="95000"/>
                            <a:lumOff val="5000"/>
                          </a:schemeClr>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
        <p:nvSpPr>
          <p:cNvPr id="3" name="Slide Number Placeholder 2"/>
          <p:cNvSpPr>
            <a:spLocks noGrp="1"/>
          </p:cNvSpPr>
          <p:nvPr>
            <p:ph type="sldNum" sz="quarter" idx="12"/>
          </p:nvPr>
        </p:nvSpPr>
        <p:spPr/>
        <p:txBody>
          <a:bodyPr/>
          <a:lstStyle/>
          <a:p>
            <a:fld id="{7D08530B-D843-4B68-A89E-667FFE5D1D6F}" type="slidenum">
              <a:rPr lang="en-US" smtClean="0"/>
              <a:t>40</a:t>
            </a:fld>
            <a:endParaRPr lang="en-US"/>
          </a:p>
        </p:txBody>
      </p:sp>
      <p:sp>
        <p:nvSpPr>
          <p:cNvPr id="7" name="Rectangle 6"/>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8" name="Rectangle 7"/>
          <p:cNvSpPr/>
          <p:nvPr/>
        </p:nvSpPr>
        <p:spPr>
          <a:xfrm>
            <a:off x="1016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KEGIATAN POKJANAS TPID TAHUN 2016 (2)</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206964176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Box 2"/>
          <p:cNvSpPr txBox="1"/>
          <p:nvPr/>
        </p:nvSpPr>
        <p:spPr>
          <a:xfrm>
            <a:off x="304800" y="1219200"/>
            <a:ext cx="11049000" cy="5109091"/>
          </a:xfrm>
          <a:prstGeom prst="rect">
            <a:avLst/>
          </a:prstGeom>
          <a:noFill/>
        </p:spPr>
        <p:txBody>
          <a:bodyPr wrap="square" rtlCol="0">
            <a:spAutoFit/>
          </a:bodyPr>
          <a:lstStyle/>
          <a:p>
            <a:pPr marL="449263" indent="-449263" algn="just"/>
            <a:r>
              <a:rPr lang="en-US" sz="2800" b="1" dirty="0" smtClean="0">
                <a:solidFill>
                  <a:schemeClr val="tx1">
                    <a:lumMod val="95000"/>
                    <a:lumOff val="5000"/>
                  </a:schemeClr>
                </a:solidFill>
                <a:latin typeface="Agency FB" pitchFamily="34" charset="0"/>
              </a:rPr>
              <a:t>2.</a:t>
            </a:r>
            <a:r>
              <a:rPr lang="id-ID" sz="2800" b="1" dirty="0" smtClean="0">
                <a:solidFill>
                  <a:schemeClr val="tx1">
                    <a:lumMod val="95000"/>
                    <a:lumOff val="5000"/>
                  </a:schemeClr>
                </a:solidFill>
                <a:latin typeface="Agency FB" pitchFamily="34" charset="0"/>
              </a:rPr>
              <a:t> </a:t>
            </a:r>
            <a:r>
              <a:rPr lang="en-US" sz="2800" b="1" dirty="0" smtClean="0">
                <a:solidFill>
                  <a:schemeClr val="tx1">
                    <a:lumMod val="95000"/>
                    <a:lumOff val="5000"/>
                  </a:schemeClr>
                </a:solidFill>
                <a:latin typeface="Agency FB" pitchFamily="34" charset="0"/>
              </a:rPr>
              <a:t>MENINDAKLANJUTI ARAHAN PRESIDEN DALAM RAKORNAS VI TPID 2015 TERKAIT KEIKUTSERTAAN KPPU, KEPOLISIAN, DAN KEJAKSAAN AGUNG UNTUK MENGAWAL TPID DALAM RANGKA STABILISASI HARGA</a:t>
            </a:r>
          </a:p>
          <a:p>
            <a:pPr marL="690563" indent="-241300" algn="just">
              <a:buFont typeface="Arial" pitchFamily="34" charset="0"/>
              <a:buChar char="•"/>
            </a:pPr>
            <a:r>
              <a:rPr lang="en-US" sz="2800" dirty="0" err="1" smtClean="0">
                <a:solidFill>
                  <a:schemeClr val="tx1">
                    <a:lumMod val="95000"/>
                    <a:lumOff val="5000"/>
                  </a:schemeClr>
                </a:solidFill>
                <a:latin typeface="Agency FB" pitchFamily="34" charset="0"/>
              </a:rPr>
              <a:t>Pokjanas</a:t>
            </a:r>
            <a:r>
              <a:rPr lang="en-US" sz="2800" dirty="0" smtClean="0">
                <a:solidFill>
                  <a:schemeClr val="tx1">
                    <a:lumMod val="95000"/>
                    <a:lumOff val="5000"/>
                  </a:schemeClr>
                </a:solidFill>
                <a:latin typeface="Agency FB" pitchFamily="34" charset="0"/>
              </a:rPr>
              <a:t> </a:t>
            </a:r>
            <a:r>
              <a:rPr lang="en-US" sz="2800" dirty="0">
                <a:solidFill>
                  <a:schemeClr val="tx1">
                    <a:lumMod val="95000"/>
                    <a:lumOff val="5000"/>
                  </a:schemeClr>
                </a:solidFill>
                <a:latin typeface="Agency FB" pitchFamily="34" charset="0"/>
              </a:rPr>
              <a:t>TPID </a:t>
            </a:r>
            <a:r>
              <a:rPr lang="en-US" sz="2800" dirty="0" err="1">
                <a:solidFill>
                  <a:schemeClr val="tx1">
                    <a:lumMod val="95000"/>
                    <a:lumOff val="5000"/>
                  </a:schemeClr>
                </a:solidFill>
                <a:latin typeface="Agency FB" pitchFamily="34" charset="0"/>
              </a:rPr>
              <a:t>dalam</a:t>
            </a:r>
            <a:r>
              <a:rPr lang="en-US" sz="2800" dirty="0">
                <a:solidFill>
                  <a:schemeClr val="tx1">
                    <a:lumMod val="95000"/>
                    <a:lumOff val="5000"/>
                  </a:schemeClr>
                </a:solidFill>
                <a:latin typeface="Agency FB" pitchFamily="34" charset="0"/>
              </a:rPr>
              <a:t> proses addendum </a:t>
            </a:r>
            <a:r>
              <a:rPr lang="en-US" sz="2800" dirty="0" err="1">
                <a:solidFill>
                  <a:schemeClr val="tx1">
                    <a:lumMod val="95000"/>
                    <a:lumOff val="5000"/>
                  </a:schemeClr>
                </a:solidFill>
                <a:latin typeface="Agency FB" pitchFamily="34" charset="0"/>
              </a:rPr>
              <a:t>Perjanji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rj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Sama</a:t>
            </a:r>
            <a:r>
              <a:rPr lang="en-US" sz="2800" dirty="0">
                <a:solidFill>
                  <a:schemeClr val="tx1">
                    <a:lumMod val="95000"/>
                    <a:lumOff val="5000"/>
                  </a:schemeClr>
                </a:solidFill>
                <a:latin typeface="Agency FB" pitchFamily="34" charset="0"/>
              </a:rPr>
              <a:t> (PKS) yang </a:t>
            </a:r>
            <a:r>
              <a:rPr lang="en-US" sz="2800" dirty="0" err="1">
                <a:solidFill>
                  <a:schemeClr val="tx1">
                    <a:lumMod val="95000"/>
                    <a:lumOff val="5000"/>
                  </a:schemeClr>
                </a:solidFill>
                <a:latin typeface="Agency FB" pitchFamily="34" charset="0"/>
              </a:rPr>
              <a:t>memasukk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lausul</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rjasam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dengan</a:t>
            </a:r>
            <a:r>
              <a:rPr lang="en-US" sz="2800" dirty="0">
                <a:solidFill>
                  <a:schemeClr val="tx1">
                    <a:lumMod val="95000"/>
                    <a:lumOff val="5000"/>
                  </a:schemeClr>
                </a:solidFill>
                <a:latin typeface="Agency FB" pitchFamily="34" charset="0"/>
              </a:rPr>
              <a:t> KPPU, </a:t>
            </a:r>
            <a:r>
              <a:rPr lang="en-US" sz="2800" dirty="0" err="1">
                <a:solidFill>
                  <a:schemeClr val="tx1">
                    <a:lumMod val="95000"/>
                    <a:lumOff val="5000"/>
                  </a:schemeClr>
                </a:solidFill>
                <a:latin typeface="Agency FB" pitchFamily="34" charset="0"/>
              </a:rPr>
              <a:t>Kepolisi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d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jaksa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Agung</a:t>
            </a:r>
            <a:r>
              <a:rPr lang="en-US" sz="2800" dirty="0">
                <a:solidFill>
                  <a:schemeClr val="tx1">
                    <a:lumMod val="95000"/>
                    <a:lumOff val="5000"/>
                  </a:schemeClr>
                </a:solidFill>
                <a:latin typeface="Agency FB" pitchFamily="34" charset="0"/>
              </a:rPr>
              <a:t>.</a:t>
            </a:r>
          </a:p>
          <a:p>
            <a:pPr marL="690563" indent="-241300" algn="just">
              <a:buFont typeface="Arial" pitchFamily="34" charset="0"/>
              <a:buChar char="•"/>
            </a:pPr>
            <a:r>
              <a:rPr lang="en-US" sz="2800" dirty="0">
                <a:solidFill>
                  <a:schemeClr val="tx1">
                    <a:lumMod val="95000"/>
                    <a:lumOff val="5000"/>
                  </a:schemeClr>
                </a:solidFill>
                <a:latin typeface="Agency FB" pitchFamily="34" charset="0"/>
              </a:rPr>
              <a:t>Akan </a:t>
            </a:r>
            <a:r>
              <a:rPr lang="en-US" sz="2800" dirty="0" err="1">
                <a:solidFill>
                  <a:schemeClr val="tx1">
                    <a:lumMod val="95000"/>
                    <a:lumOff val="5000"/>
                  </a:schemeClr>
                </a:solidFill>
                <a:latin typeface="Agency FB" pitchFamily="34" charset="0"/>
              </a:rPr>
              <a:t>dilakukan</a:t>
            </a:r>
            <a:r>
              <a:rPr lang="en-US" sz="2800" dirty="0">
                <a:solidFill>
                  <a:schemeClr val="tx1">
                    <a:lumMod val="95000"/>
                    <a:lumOff val="5000"/>
                  </a:schemeClr>
                </a:solidFill>
                <a:latin typeface="Agency FB" pitchFamily="34" charset="0"/>
              </a:rPr>
              <a:t> </a:t>
            </a:r>
            <a:r>
              <a:rPr lang="en-US" sz="2800" i="1" dirty="0">
                <a:solidFill>
                  <a:schemeClr val="tx1">
                    <a:lumMod val="95000"/>
                    <a:lumOff val="5000"/>
                  </a:schemeClr>
                </a:solidFill>
                <a:latin typeface="Agency FB" pitchFamily="34" charset="0"/>
              </a:rPr>
              <a:t>piloting</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rjasam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antar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polisi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dengan</a:t>
            </a:r>
            <a:r>
              <a:rPr lang="en-US" sz="2800" dirty="0">
                <a:solidFill>
                  <a:schemeClr val="tx1">
                    <a:lumMod val="95000"/>
                    <a:lumOff val="5000"/>
                  </a:schemeClr>
                </a:solidFill>
                <a:latin typeface="Agency FB" pitchFamily="34" charset="0"/>
              </a:rPr>
              <a:t> TPID </a:t>
            </a:r>
            <a:r>
              <a:rPr lang="en-US" sz="2800" dirty="0" err="1">
                <a:solidFill>
                  <a:schemeClr val="tx1">
                    <a:lumMod val="95000"/>
                    <a:lumOff val="5000"/>
                  </a:schemeClr>
                </a:solidFill>
                <a:latin typeface="Agency FB" pitchFamily="34" charset="0"/>
              </a:rPr>
              <a:t>Provinsi</a:t>
            </a:r>
            <a:r>
              <a:rPr lang="en-US" sz="2800" dirty="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anten</a:t>
            </a:r>
            <a:r>
              <a:rPr lang="en-US" sz="2800" dirty="0" smtClean="0">
                <a:solidFill>
                  <a:schemeClr val="tx1">
                    <a:lumMod val="95000"/>
                    <a:lumOff val="5000"/>
                  </a:schemeClr>
                </a:solidFill>
                <a:latin typeface="Agency FB" pitchFamily="34" charset="0"/>
              </a:rPr>
              <a:t> di </a:t>
            </a:r>
            <a:r>
              <a:rPr lang="en-US" sz="2800" dirty="0" err="1" smtClean="0">
                <a:solidFill>
                  <a:schemeClr val="tx1">
                    <a:lumMod val="95000"/>
                    <a:lumOff val="5000"/>
                  </a:schemeClr>
                </a:solidFill>
                <a:latin typeface="Agency FB" pitchFamily="34" charset="0"/>
              </a:rPr>
              <a:t>awal</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ul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Juni</a:t>
            </a:r>
            <a:r>
              <a:rPr lang="en-US" sz="2800" dirty="0" smtClean="0">
                <a:solidFill>
                  <a:schemeClr val="tx1">
                    <a:lumMod val="95000"/>
                    <a:lumOff val="5000"/>
                  </a:schemeClr>
                </a:solidFill>
                <a:latin typeface="Agency FB" pitchFamily="34" charset="0"/>
              </a:rPr>
              <a:t> 2016</a:t>
            </a:r>
          </a:p>
          <a:p>
            <a:pPr marL="347663" algn="just"/>
            <a:endParaRPr lang="en-US" sz="1800" b="1" dirty="0" smtClean="0">
              <a:solidFill>
                <a:schemeClr val="tx1">
                  <a:lumMod val="95000"/>
                  <a:lumOff val="5000"/>
                </a:schemeClr>
              </a:solidFill>
              <a:latin typeface="Agency FB" pitchFamily="34" charset="0"/>
            </a:endParaRPr>
          </a:p>
          <a:p>
            <a:pPr marL="1588" algn="just"/>
            <a:r>
              <a:rPr lang="en-US" sz="2800" b="1" dirty="0" smtClean="0">
                <a:solidFill>
                  <a:schemeClr val="tx1">
                    <a:lumMod val="95000"/>
                    <a:lumOff val="5000"/>
                  </a:schemeClr>
                </a:solidFill>
                <a:latin typeface="Agency FB" pitchFamily="34" charset="0"/>
              </a:rPr>
              <a:t>3. PERSIAPAN RAKORNAS VII TPID 2016</a:t>
            </a:r>
          </a:p>
          <a:p>
            <a:pPr marL="690563" indent="-342900" algn="just">
              <a:buFont typeface="Arial" pitchFamily="34" charset="0"/>
              <a:buChar char="•"/>
            </a:pPr>
            <a:r>
              <a:rPr lang="en-US" sz="2800" dirty="0" err="1" smtClean="0">
                <a:solidFill>
                  <a:schemeClr val="tx1">
                    <a:lumMod val="95000"/>
                    <a:lumOff val="5000"/>
                  </a:schemeClr>
                </a:solidFill>
                <a:latin typeface="Agency FB" pitchFamily="34" charset="0"/>
              </a:rPr>
              <a:t>Tem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Rakornas</a:t>
            </a:r>
            <a:r>
              <a:rPr lang="en-US" sz="2800" dirty="0" smtClean="0">
                <a:solidFill>
                  <a:schemeClr val="tx1">
                    <a:lumMod val="95000"/>
                    <a:lumOff val="5000"/>
                  </a:schemeClr>
                </a:solidFill>
                <a:latin typeface="Agency FB" pitchFamily="34" charset="0"/>
              </a:rPr>
              <a:t> VII TPID 2016</a:t>
            </a:r>
            <a:r>
              <a:rPr lang="id-ID" sz="2800" dirty="0" smtClean="0">
                <a:solidFill>
                  <a:schemeClr val="tx1">
                    <a:lumMod val="95000"/>
                    <a:lumOff val="5000"/>
                  </a:schemeClr>
                </a:solidFill>
                <a:latin typeface="Agency FB" pitchFamily="34" charset="0"/>
              </a:rPr>
              <a:t> </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Memperkuat</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Sinkronisasi</a:t>
            </a:r>
            <a:r>
              <a:rPr lang="en-US" sz="2800" dirty="0" smtClean="0">
                <a:solidFill>
                  <a:schemeClr val="tx1">
                    <a:lumMod val="95000"/>
                    <a:lumOff val="5000"/>
                  </a:schemeClr>
                </a:solidFill>
                <a:latin typeface="Agency FB" pitchFamily="34" charset="0"/>
              </a:rPr>
              <a:t> </a:t>
            </a:r>
            <a:r>
              <a:rPr lang="id-ID" sz="2800" dirty="0" smtClean="0">
                <a:solidFill>
                  <a:schemeClr val="tx1">
                    <a:lumMod val="95000"/>
                    <a:lumOff val="5000"/>
                  </a:schemeClr>
                </a:solidFill>
                <a:latin typeface="Agency FB" pitchFamily="34" charset="0"/>
              </a:rPr>
              <a:t>Kebijakan </a:t>
            </a:r>
            <a:r>
              <a:rPr lang="en-US" sz="2800" dirty="0" err="1" smtClean="0">
                <a:solidFill>
                  <a:schemeClr val="tx1">
                    <a:lumMod val="95000"/>
                    <a:lumOff val="5000"/>
                  </a:schemeClr>
                </a:solidFill>
                <a:latin typeface="Agency FB" pitchFamily="34" charset="0"/>
              </a:rPr>
              <a:t>Pusat</a:t>
            </a:r>
            <a:r>
              <a:rPr lang="en-US" sz="2800" dirty="0" smtClean="0">
                <a:solidFill>
                  <a:schemeClr val="tx1">
                    <a:lumMod val="95000"/>
                    <a:lumOff val="5000"/>
                  </a:schemeClr>
                </a:solidFill>
                <a:latin typeface="Agency FB" pitchFamily="34" charset="0"/>
              </a:rPr>
              <a:t> Dan Daerah </a:t>
            </a:r>
            <a:r>
              <a:rPr lang="en-US" sz="2800" dirty="0" err="1" smtClean="0">
                <a:solidFill>
                  <a:schemeClr val="tx1">
                    <a:lumMod val="95000"/>
                    <a:lumOff val="5000"/>
                  </a:schemeClr>
                </a:solidFill>
                <a:latin typeface="Agency FB" pitchFamily="34" charset="0"/>
              </a:rPr>
              <a:t>Gun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Mempercepat</a:t>
            </a:r>
            <a:r>
              <a:rPr lang="en-US" sz="2800" dirty="0" smtClean="0">
                <a:solidFill>
                  <a:schemeClr val="tx1">
                    <a:lumMod val="95000"/>
                    <a:lumOff val="5000"/>
                  </a:schemeClr>
                </a:solidFill>
                <a:latin typeface="Agency FB" pitchFamily="34" charset="0"/>
              </a:rPr>
              <a:t> Pembangunan </a:t>
            </a:r>
            <a:r>
              <a:rPr lang="en-US" sz="2800" dirty="0" err="1" smtClean="0">
                <a:solidFill>
                  <a:schemeClr val="tx1">
                    <a:lumMod val="95000"/>
                    <a:lumOff val="5000"/>
                  </a:schemeClr>
                </a:solidFill>
                <a:latin typeface="Agency FB" pitchFamily="34" charset="0"/>
              </a:rPr>
              <a:t>Infrastruktur</a:t>
            </a:r>
            <a:r>
              <a:rPr lang="en-US" sz="2800" dirty="0" smtClean="0">
                <a:solidFill>
                  <a:schemeClr val="tx1">
                    <a:lumMod val="95000"/>
                    <a:lumOff val="5000"/>
                  </a:schemeClr>
                </a:solidFill>
                <a:latin typeface="Agency FB" pitchFamily="34" charset="0"/>
              </a:rPr>
              <a:t> Dan </a:t>
            </a:r>
            <a:r>
              <a:rPr lang="en-US" sz="2800" dirty="0" err="1" smtClean="0">
                <a:solidFill>
                  <a:schemeClr val="tx1">
                    <a:lumMod val="95000"/>
                    <a:lumOff val="5000"/>
                  </a:schemeClr>
                </a:solidFill>
                <a:latin typeface="Agency FB" pitchFamily="34" charset="0"/>
              </a:rPr>
              <a:t>Pembenahan</a:t>
            </a:r>
            <a:r>
              <a:rPr lang="en-US" sz="2800" dirty="0" smtClean="0">
                <a:solidFill>
                  <a:schemeClr val="tx1">
                    <a:lumMod val="95000"/>
                    <a:lumOff val="5000"/>
                  </a:schemeClr>
                </a:solidFill>
                <a:latin typeface="Agency FB" pitchFamily="34" charset="0"/>
              </a:rPr>
              <a:t> Tata </a:t>
            </a:r>
            <a:r>
              <a:rPr lang="en-US" sz="2800" dirty="0" err="1" smtClean="0">
                <a:solidFill>
                  <a:schemeClr val="tx1">
                    <a:lumMod val="95000"/>
                    <a:lumOff val="5000"/>
                  </a:schemeClr>
                </a:solidFill>
                <a:latin typeface="Agency FB" pitchFamily="34" charset="0"/>
              </a:rPr>
              <a:t>Niag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Pangan</a:t>
            </a:r>
            <a:endParaRPr lang="en-US" sz="2800" dirty="0" smtClean="0">
              <a:solidFill>
                <a:schemeClr val="tx1">
                  <a:lumMod val="95000"/>
                  <a:lumOff val="5000"/>
                </a:schemeClr>
              </a:solidFill>
              <a:latin typeface="Agency FB" pitchFamily="34" charset="0"/>
            </a:endParaRPr>
          </a:p>
          <a:p>
            <a:pPr marL="690563" indent="-342900" algn="just">
              <a:buFont typeface="Arial" pitchFamily="34" charset="0"/>
              <a:buChar char="•"/>
            </a:pPr>
            <a:r>
              <a:rPr lang="en-US" sz="2800" dirty="0" err="1" smtClean="0">
                <a:solidFill>
                  <a:schemeClr val="tx1">
                    <a:lumMod val="95000"/>
                    <a:lumOff val="5000"/>
                  </a:schemeClr>
                </a:solidFill>
                <a:latin typeface="Agency FB" pitchFamily="34" charset="0"/>
              </a:rPr>
              <a:t>Direncanak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ak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dilaksanak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pad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minggu</a:t>
            </a:r>
            <a:r>
              <a:rPr lang="en-US" sz="2800" dirty="0" smtClean="0">
                <a:solidFill>
                  <a:schemeClr val="tx1">
                    <a:lumMod val="95000"/>
                    <a:lumOff val="5000"/>
                  </a:schemeClr>
                </a:solidFill>
                <a:latin typeface="Agency FB" pitchFamily="34" charset="0"/>
              </a:rPr>
              <a:t>-I </a:t>
            </a:r>
            <a:r>
              <a:rPr lang="en-US" sz="2800" dirty="0" err="1" smtClean="0">
                <a:solidFill>
                  <a:schemeClr val="tx1">
                    <a:lumMod val="95000"/>
                    <a:lumOff val="5000"/>
                  </a:schemeClr>
                </a:solidFill>
                <a:latin typeface="Agency FB" pitchFamily="34" charset="0"/>
              </a:rPr>
              <a:t>bul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Agustus</a:t>
            </a:r>
            <a:r>
              <a:rPr lang="en-US" sz="2800" dirty="0" smtClean="0">
                <a:solidFill>
                  <a:schemeClr val="tx1">
                    <a:lumMod val="95000"/>
                    <a:lumOff val="5000"/>
                  </a:schemeClr>
                </a:solidFill>
                <a:latin typeface="Agency FB" pitchFamily="34" charset="0"/>
              </a:rPr>
              <a:t> </a:t>
            </a:r>
            <a:r>
              <a:rPr lang="id-ID" sz="2800" dirty="0" smtClean="0">
                <a:solidFill>
                  <a:schemeClr val="tx1">
                    <a:lumMod val="95000"/>
                    <a:lumOff val="5000"/>
                  </a:schemeClr>
                </a:solidFill>
                <a:latin typeface="Agency FB" pitchFamily="34" charset="0"/>
              </a:rPr>
              <a:t>2016</a:t>
            </a:r>
            <a:endParaRPr lang="en-US" sz="2800" dirty="0" smtClean="0">
              <a:solidFill>
                <a:schemeClr val="tx1">
                  <a:lumMod val="95000"/>
                  <a:lumOff val="5000"/>
                </a:schemeClr>
              </a:solidFill>
              <a:latin typeface="Agency FB" pitchFamily="34" charset="0"/>
            </a:endParaRPr>
          </a:p>
        </p:txBody>
      </p:sp>
      <p:sp>
        <p:nvSpPr>
          <p:cNvPr id="4" name="Slide Number Placeholder 3"/>
          <p:cNvSpPr>
            <a:spLocks noGrp="1"/>
          </p:cNvSpPr>
          <p:nvPr>
            <p:ph type="sldNum" sz="quarter" idx="12"/>
          </p:nvPr>
        </p:nvSpPr>
        <p:spPr/>
        <p:txBody>
          <a:bodyPr/>
          <a:lstStyle/>
          <a:p>
            <a:fld id="{7D08530B-D843-4B68-A89E-667FFE5D1D6F}" type="slidenum">
              <a:rPr lang="en-US" smtClean="0"/>
              <a:t>41</a:t>
            </a:fld>
            <a:endParaRPr lang="en-US"/>
          </a:p>
        </p:txBody>
      </p:sp>
      <p:sp>
        <p:nvSpPr>
          <p:cNvPr id="6" name="Rectangle 5"/>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7" name="Rectangle 6"/>
          <p:cNvSpPr/>
          <p:nvPr/>
        </p:nvSpPr>
        <p:spPr>
          <a:xfrm>
            <a:off x="1016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KEGIATAN POKJANAS TPID TAHUN 2016 (3)</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9174168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Box 2"/>
          <p:cNvSpPr txBox="1"/>
          <p:nvPr/>
        </p:nvSpPr>
        <p:spPr>
          <a:xfrm>
            <a:off x="304800" y="914400"/>
            <a:ext cx="10972800" cy="4524315"/>
          </a:xfrm>
          <a:prstGeom prst="rect">
            <a:avLst/>
          </a:prstGeom>
          <a:noFill/>
        </p:spPr>
        <p:txBody>
          <a:bodyPr wrap="square" rtlCol="0">
            <a:spAutoFit/>
          </a:bodyPr>
          <a:lstStyle/>
          <a:p>
            <a:pPr marL="457200" indent="-457200" algn="just"/>
            <a:r>
              <a:rPr lang="en-US" sz="2400" b="1" dirty="0" smtClean="0">
                <a:solidFill>
                  <a:schemeClr val="tx1">
                    <a:lumMod val="95000"/>
                    <a:lumOff val="5000"/>
                  </a:schemeClr>
                </a:solidFill>
                <a:latin typeface="Agency FB" pitchFamily="34" charset="0"/>
              </a:rPr>
              <a:t>4. </a:t>
            </a:r>
            <a:r>
              <a:rPr lang="id-ID" sz="2400" b="1" dirty="0" smtClean="0">
                <a:solidFill>
                  <a:schemeClr val="tx1">
                    <a:lumMod val="95000"/>
                    <a:lumOff val="5000"/>
                  </a:schemeClr>
                </a:solidFill>
                <a:latin typeface="Agency FB" pitchFamily="34" charset="0"/>
              </a:rPr>
              <a:t>	</a:t>
            </a:r>
            <a:r>
              <a:rPr lang="en-US" sz="2400" b="1" dirty="0" smtClean="0">
                <a:solidFill>
                  <a:schemeClr val="tx1">
                    <a:lumMod val="95000"/>
                    <a:lumOff val="5000"/>
                  </a:schemeClr>
                </a:solidFill>
                <a:latin typeface="Agency FB" pitchFamily="34" charset="0"/>
              </a:rPr>
              <a:t>PERSIAPAN LAUNCHING WEBSITE POKJANAS TPID. WEBSITE POKJANAS DIDESAIN UNTUK MENCAKUP:</a:t>
            </a:r>
          </a:p>
          <a:p>
            <a:pPr marL="977900" indent="-457200" algn="just">
              <a:buFont typeface="Arial" pitchFamily="34" charset="0"/>
              <a:buChar char="•"/>
            </a:pPr>
            <a:r>
              <a:rPr lang="en-US" sz="2400" dirty="0" err="1" smtClean="0">
                <a:solidFill>
                  <a:schemeClr val="tx1">
                    <a:lumMod val="95000"/>
                    <a:lumOff val="5000"/>
                  </a:schemeClr>
                </a:solidFill>
                <a:latin typeface="Agency FB" pitchFamily="34" charset="0"/>
              </a:rPr>
              <a:t>Informasi</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terkait</a:t>
            </a:r>
            <a:r>
              <a:rPr lang="en-US" sz="2400" dirty="0" smtClean="0">
                <a:solidFill>
                  <a:schemeClr val="tx1">
                    <a:lumMod val="95000"/>
                    <a:lumOff val="5000"/>
                  </a:schemeClr>
                </a:solidFill>
                <a:latin typeface="Agency FB" pitchFamily="34" charset="0"/>
              </a:rPr>
              <a:t> TPID (</a:t>
            </a:r>
            <a:r>
              <a:rPr lang="en-US" sz="2400" dirty="0" err="1" smtClean="0">
                <a:solidFill>
                  <a:schemeClr val="tx1">
                    <a:lumMod val="95000"/>
                    <a:lumOff val="5000"/>
                  </a:schemeClr>
                </a:solidFill>
                <a:latin typeface="Agency FB" pitchFamily="34" charset="0"/>
              </a:rPr>
              <a:t>pedom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dasar</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hukum</a:t>
            </a:r>
            <a:r>
              <a:rPr lang="en-US" sz="2400" dirty="0" smtClean="0">
                <a:solidFill>
                  <a:schemeClr val="tx1">
                    <a:lumMod val="95000"/>
                    <a:lumOff val="5000"/>
                  </a:schemeClr>
                </a:solidFill>
                <a:latin typeface="Agency FB" pitchFamily="34" charset="0"/>
              </a:rPr>
              <a:t>, roadmap, </a:t>
            </a:r>
            <a:r>
              <a:rPr lang="en-US" sz="2400" dirty="0" err="1" smtClean="0">
                <a:solidFill>
                  <a:schemeClr val="tx1">
                    <a:lumMod val="95000"/>
                    <a:lumOff val="5000"/>
                  </a:schemeClr>
                </a:solidFill>
                <a:latin typeface="Agency FB" pitchFamily="34" charset="0"/>
              </a:rPr>
              <a:t>informasi</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kebijak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bahan-bah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papar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kontak</a:t>
            </a:r>
            <a:r>
              <a:rPr lang="en-US" sz="2400" dirty="0" smtClean="0">
                <a:solidFill>
                  <a:schemeClr val="tx1">
                    <a:lumMod val="95000"/>
                    <a:lumOff val="5000"/>
                  </a:schemeClr>
                </a:solidFill>
                <a:latin typeface="Agency FB" pitchFamily="34" charset="0"/>
              </a:rPr>
              <a:t> TPID)</a:t>
            </a:r>
          </a:p>
          <a:p>
            <a:pPr marL="977900" indent="-457200" algn="just">
              <a:buFont typeface="Arial" pitchFamily="34" charset="0"/>
              <a:buChar char="•"/>
            </a:pPr>
            <a:r>
              <a:rPr lang="en-US" sz="2400" dirty="0" err="1" smtClean="0">
                <a:solidFill>
                  <a:schemeClr val="tx1">
                    <a:lumMod val="95000"/>
                    <a:lumOff val="5000"/>
                  </a:schemeClr>
                </a:solidFill>
                <a:latin typeface="Agency FB" pitchFamily="34" charset="0"/>
              </a:rPr>
              <a:t>Pelapor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kegiatan</a:t>
            </a:r>
            <a:r>
              <a:rPr lang="en-US" sz="2400" dirty="0" smtClean="0">
                <a:solidFill>
                  <a:schemeClr val="tx1">
                    <a:lumMod val="95000"/>
                    <a:lumOff val="5000"/>
                  </a:schemeClr>
                </a:solidFill>
                <a:latin typeface="Agency FB" pitchFamily="34" charset="0"/>
              </a:rPr>
              <a:t> TPID (semester, </a:t>
            </a:r>
            <a:r>
              <a:rPr lang="en-US" sz="2400" dirty="0" err="1" smtClean="0">
                <a:solidFill>
                  <a:schemeClr val="tx1">
                    <a:lumMod val="95000"/>
                    <a:lumOff val="5000"/>
                  </a:schemeClr>
                </a:solidFill>
                <a:latin typeface="Agency FB" pitchFamily="34" charset="0"/>
              </a:rPr>
              <a:t>tahunan</a:t>
            </a:r>
            <a:r>
              <a:rPr lang="en-US" sz="2400" dirty="0" smtClean="0">
                <a:solidFill>
                  <a:schemeClr val="tx1">
                    <a:lumMod val="95000"/>
                    <a:lumOff val="5000"/>
                  </a:schemeClr>
                </a:solidFill>
                <a:latin typeface="Agency FB" pitchFamily="34" charset="0"/>
              </a:rPr>
              <a:t>)</a:t>
            </a:r>
          </a:p>
          <a:p>
            <a:pPr marL="977900" indent="-457200" algn="just">
              <a:buFont typeface="Arial" pitchFamily="34" charset="0"/>
              <a:buChar char="•"/>
            </a:pPr>
            <a:r>
              <a:rPr lang="en-US" sz="2400" dirty="0" smtClean="0">
                <a:solidFill>
                  <a:schemeClr val="tx1">
                    <a:lumMod val="95000"/>
                    <a:lumOff val="5000"/>
                  </a:schemeClr>
                </a:solidFill>
                <a:latin typeface="Agency FB" pitchFamily="34" charset="0"/>
              </a:rPr>
              <a:t>TPID </a:t>
            </a:r>
            <a:r>
              <a:rPr lang="en-US" sz="2400" dirty="0" err="1" smtClean="0">
                <a:solidFill>
                  <a:schemeClr val="tx1">
                    <a:lumMod val="95000"/>
                    <a:lumOff val="5000"/>
                  </a:schemeClr>
                </a:solidFill>
                <a:latin typeface="Agency FB" pitchFamily="34" charset="0"/>
              </a:rPr>
              <a:t>berbagi</a:t>
            </a:r>
            <a:r>
              <a:rPr lang="en-US" sz="2400" dirty="0" smtClean="0">
                <a:solidFill>
                  <a:schemeClr val="tx1">
                    <a:lumMod val="95000"/>
                    <a:lumOff val="5000"/>
                  </a:schemeClr>
                </a:solidFill>
                <a:latin typeface="Agency FB" pitchFamily="34" charset="0"/>
              </a:rPr>
              <a:t> (TPID </a:t>
            </a:r>
            <a:r>
              <a:rPr lang="en-US" sz="2400" dirty="0" err="1" smtClean="0">
                <a:solidFill>
                  <a:schemeClr val="tx1">
                    <a:lumMod val="95000"/>
                    <a:lumOff val="5000"/>
                  </a:schemeClr>
                </a:solidFill>
                <a:latin typeface="Agency FB" pitchFamily="34" charset="0"/>
              </a:rPr>
              <a:t>dapat</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berkontribusi</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menymbang</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berita</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terkait</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kegiatan</a:t>
            </a:r>
            <a:r>
              <a:rPr lang="en-US" sz="2400" dirty="0" smtClean="0">
                <a:solidFill>
                  <a:schemeClr val="tx1">
                    <a:lumMod val="95000"/>
                    <a:lumOff val="5000"/>
                  </a:schemeClr>
                </a:solidFill>
                <a:latin typeface="Agency FB" pitchFamily="34" charset="0"/>
              </a:rPr>
              <a:t> TPID di </a:t>
            </a:r>
            <a:r>
              <a:rPr lang="en-US" sz="2400" dirty="0" err="1" smtClean="0">
                <a:solidFill>
                  <a:schemeClr val="tx1">
                    <a:lumMod val="95000"/>
                    <a:lumOff val="5000"/>
                  </a:schemeClr>
                </a:solidFill>
                <a:latin typeface="Agency FB" pitchFamily="34" charset="0"/>
              </a:rPr>
              <a:t>wilayahnya</a:t>
            </a:r>
            <a:r>
              <a:rPr lang="en-US" sz="2400" dirty="0" smtClean="0">
                <a:solidFill>
                  <a:schemeClr val="tx1">
                    <a:lumMod val="95000"/>
                    <a:lumOff val="5000"/>
                  </a:schemeClr>
                </a:solidFill>
                <a:latin typeface="Agency FB" pitchFamily="34" charset="0"/>
              </a:rPr>
              <a:t>)</a:t>
            </a:r>
          </a:p>
          <a:p>
            <a:pPr marL="977900" indent="-457200" algn="just">
              <a:buFont typeface="Arial" pitchFamily="34" charset="0"/>
              <a:buChar char="•"/>
            </a:pPr>
            <a:r>
              <a:rPr lang="en-US" sz="2400" dirty="0" err="1" smtClean="0">
                <a:solidFill>
                  <a:schemeClr val="tx1">
                    <a:lumMod val="95000"/>
                    <a:lumOff val="5000"/>
                  </a:schemeClr>
                </a:solidFill>
                <a:latin typeface="Agency FB" pitchFamily="34" charset="0"/>
              </a:rPr>
              <a:t>Konsultasi</a:t>
            </a:r>
            <a:r>
              <a:rPr lang="en-US" sz="2400" dirty="0" smtClean="0">
                <a:solidFill>
                  <a:schemeClr val="tx1">
                    <a:lumMod val="95000"/>
                    <a:lumOff val="5000"/>
                  </a:schemeClr>
                </a:solidFill>
                <a:latin typeface="Agency FB" pitchFamily="34" charset="0"/>
              </a:rPr>
              <a:t> TPID </a:t>
            </a:r>
            <a:r>
              <a:rPr lang="en-US" sz="2400" dirty="0" err="1" smtClean="0">
                <a:solidFill>
                  <a:schemeClr val="tx1">
                    <a:lumMod val="95000"/>
                    <a:lumOff val="5000"/>
                  </a:schemeClr>
                </a:solidFill>
                <a:latin typeface="Agency FB" pitchFamily="34" charset="0"/>
              </a:rPr>
              <a:t>deng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Pokjanas</a:t>
            </a:r>
            <a:r>
              <a:rPr lang="en-US" sz="2400" dirty="0" smtClean="0">
                <a:solidFill>
                  <a:schemeClr val="tx1">
                    <a:lumMod val="95000"/>
                    <a:lumOff val="5000"/>
                  </a:schemeClr>
                </a:solidFill>
                <a:latin typeface="Agency FB" pitchFamily="34" charset="0"/>
              </a:rPr>
              <a:t> TPID</a:t>
            </a:r>
          </a:p>
          <a:p>
            <a:pPr marL="977900" indent="-457200" algn="just">
              <a:buFont typeface="Arial" pitchFamily="34" charset="0"/>
              <a:buChar char="•"/>
            </a:pPr>
            <a:r>
              <a:rPr lang="en-US" sz="2400" dirty="0" smtClean="0">
                <a:solidFill>
                  <a:schemeClr val="tx1">
                    <a:lumMod val="95000"/>
                    <a:lumOff val="5000"/>
                  </a:schemeClr>
                </a:solidFill>
                <a:latin typeface="Agency FB" pitchFamily="34" charset="0"/>
              </a:rPr>
              <a:t>launching di </a:t>
            </a:r>
            <a:r>
              <a:rPr lang="en-US" sz="2400" dirty="0" err="1" smtClean="0">
                <a:solidFill>
                  <a:schemeClr val="tx1">
                    <a:lumMod val="95000"/>
                    <a:lumOff val="5000"/>
                  </a:schemeClr>
                </a:solidFill>
                <a:latin typeface="Agency FB" pitchFamily="34" charset="0"/>
              </a:rPr>
              <a:t>bulan</a:t>
            </a:r>
            <a:r>
              <a:rPr lang="en-US" sz="2400" dirty="0" smtClean="0">
                <a:solidFill>
                  <a:schemeClr val="tx1">
                    <a:lumMod val="95000"/>
                    <a:lumOff val="5000"/>
                  </a:schemeClr>
                </a:solidFill>
                <a:latin typeface="Agency FB" pitchFamily="34" charset="0"/>
              </a:rPr>
              <a:t> Mei 2016</a:t>
            </a:r>
          </a:p>
          <a:p>
            <a:pPr marL="457200" indent="-457200" algn="just">
              <a:buFont typeface="Arial" pitchFamily="34" charset="0"/>
              <a:buChar char="•"/>
            </a:pPr>
            <a:endParaRPr lang="en-US" sz="2400" b="1" dirty="0">
              <a:solidFill>
                <a:schemeClr val="tx1">
                  <a:lumMod val="95000"/>
                  <a:lumOff val="5000"/>
                </a:schemeClr>
              </a:solidFill>
              <a:latin typeface="Agency FB" pitchFamily="34" charset="0"/>
            </a:endParaRPr>
          </a:p>
          <a:p>
            <a:pPr algn="just"/>
            <a:r>
              <a:rPr lang="en-US" sz="2400" b="1" dirty="0" smtClean="0">
                <a:solidFill>
                  <a:schemeClr val="tx1">
                    <a:lumMod val="95000"/>
                    <a:lumOff val="5000"/>
                  </a:schemeClr>
                </a:solidFill>
                <a:latin typeface="Agency FB" pitchFamily="34" charset="0"/>
              </a:rPr>
              <a:t>5. PENGOPERASIAN SEKRETARIAT POKJANAS TPID</a:t>
            </a:r>
          </a:p>
          <a:p>
            <a:pPr marL="977900" indent="-457200" algn="just">
              <a:buFont typeface="Arial" pitchFamily="34" charset="0"/>
              <a:buChar char="•"/>
            </a:pPr>
            <a:r>
              <a:rPr lang="en-US" sz="2400" dirty="0" err="1" smtClean="0">
                <a:solidFill>
                  <a:schemeClr val="tx1">
                    <a:lumMod val="95000"/>
                    <a:lumOff val="5000"/>
                  </a:schemeClr>
                </a:solidFill>
                <a:latin typeface="Agency FB" pitchFamily="34" charset="0"/>
              </a:rPr>
              <a:t>Ruang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sekretariat</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sudah</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mulai</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beroperasi</a:t>
            </a:r>
            <a:r>
              <a:rPr lang="en-US" sz="2400" dirty="0" smtClean="0">
                <a:solidFill>
                  <a:schemeClr val="tx1">
                    <a:lumMod val="95000"/>
                    <a:lumOff val="5000"/>
                  </a:schemeClr>
                </a:solidFill>
                <a:latin typeface="Agency FB" pitchFamily="34" charset="0"/>
              </a:rPr>
              <a:t> di Kantor </a:t>
            </a:r>
            <a:r>
              <a:rPr lang="en-US" sz="2400" dirty="0" err="1" smtClean="0">
                <a:solidFill>
                  <a:schemeClr val="tx1">
                    <a:lumMod val="95000"/>
                    <a:lumOff val="5000"/>
                  </a:schemeClr>
                </a:solidFill>
                <a:latin typeface="Agency FB" pitchFamily="34" charset="0"/>
              </a:rPr>
              <a:t>Kementeri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Koordinator</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Bidang</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Perekonomi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Jalan</a:t>
            </a:r>
            <a:r>
              <a:rPr lang="en-US" sz="2400" dirty="0" smtClean="0">
                <a:solidFill>
                  <a:schemeClr val="tx1">
                    <a:lumMod val="95000"/>
                    <a:lumOff val="5000"/>
                  </a:schemeClr>
                </a:solidFill>
                <a:latin typeface="Agency FB" pitchFamily="34" charset="0"/>
              </a:rPr>
              <a:t> Medan </a:t>
            </a:r>
            <a:r>
              <a:rPr lang="en-US" sz="2400" dirty="0" err="1" smtClean="0">
                <a:solidFill>
                  <a:schemeClr val="tx1">
                    <a:lumMod val="95000"/>
                    <a:lumOff val="5000"/>
                  </a:schemeClr>
                </a:solidFill>
                <a:latin typeface="Agency FB" pitchFamily="34" charset="0"/>
              </a:rPr>
              <a:t>Merdeka</a:t>
            </a:r>
            <a:r>
              <a:rPr lang="en-US" sz="2400" dirty="0" smtClean="0">
                <a:solidFill>
                  <a:schemeClr val="tx1">
                    <a:lumMod val="95000"/>
                    <a:lumOff val="5000"/>
                  </a:schemeClr>
                </a:solidFill>
                <a:latin typeface="Agency FB" pitchFamily="34" charset="0"/>
              </a:rPr>
              <a:t> Barat No. 7 </a:t>
            </a:r>
            <a:r>
              <a:rPr lang="en-US" sz="2400" dirty="0" err="1" smtClean="0">
                <a:solidFill>
                  <a:schemeClr val="tx1">
                    <a:lumMod val="95000"/>
                    <a:lumOff val="5000"/>
                  </a:schemeClr>
                </a:solidFill>
                <a:latin typeface="Agency FB" pitchFamily="34" charset="0"/>
              </a:rPr>
              <a:t>Lantai</a:t>
            </a:r>
            <a:r>
              <a:rPr lang="en-US" sz="2400" dirty="0" smtClean="0">
                <a:solidFill>
                  <a:schemeClr val="tx1">
                    <a:lumMod val="95000"/>
                    <a:lumOff val="5000"/>
                  </a:schemeClr>
                </a:solidFill>
                <a:latin typeface="Agency FB" pitchFamily="34" charset="0"/>
              </a:rPr>
              <a:t> 1, Jakarta </a:t>
            </a:r>
            <a:r>
              <a:rPr lang="en-US" sz="2400" dirty="0" err="1" smtClean="0">
                <a:solidFill>
                  <a:schemeClr val="tx1">
                    <a:lumMod val="95000"/>
                    <a:lumOff val="5000"/>
                  </a:schemeClr>
                </a:solidFill>
                <a:latin typeface="Agency FB" pitchFamily="34" charset="0"/>
              </a:rPr>
              <a:t>Pusat</a:t>
            </a:r>
            <a:endParaRPr lang="en-US" sz="2400" dirty="0" smtClean="0">
              <a:solidFill>
                <a:schemeClr val="tx1">
                  <a:lumMod val="95000"/>
                  <a:lumOff val="5000"/>
                </a:schemeClr>
              </a:solidFill>
              <a:latin typeface="Agency FB" pitchFamily="34" charset="0"/>
            </a:endParaRPr>
          </a:p>
          <a:p>
            <a:pPr marL="977900" indent="-457200" algn="just">
              <a:buFont typeface="Arial" pitchFamily="34" charset="0"/>
              <a:buChar char="•"/>
            </a:pPr>
            <a:r>
              <a:rPr lang="en-US" sz="2400" dirty="0" err="1" smtClean="0">
                <a:solidFill>
                  <a:schemeClr val="tx1">
                    <a:lumMod val="95000"/>
                    <a:lumOff val="5000"/>
                  </a:schemeClr>
                </a:solidFill>
                <a:latin typeface="Agency FB" pitchFamily="34" charset="0"/>
              </a:rPr>
              <a:t>Sekretariat</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dilengkapi</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dengan</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sistem</a:t>
            </a:r>
            <a:r>
              <a:rPr lang="en-US" sz="2400" dirty="0" smtClean="0">
                <a:solidFill>
                  <a:schemeClr val="tx1">
                    <a:lumMod val="95000"/>
                    <a:lumOff val="5000"/>
                  </a:schemeClr>
                </a:solidFill>
                <a:latin typeface="Agency FB" pitchFamily="34" charset="0"/>
              </a:rPr>
              <a:t> </a:t>
            </a:r>
            <a:r>
              <a:rPr lang="en-US" sz="2400" dirty="0" err="1" smtClean="0">
                <a:solidFill>
                  <a:schemeClr val="tx1">
                    <a:lumMod val="95000"/>
                    <a:lumOff val="5000"/>
                  </a:schemeClr>
                </a:solidFill>
                <a:latin typeface="Agency FB" pitchFamily="34" charset="0"/>
              </a:rPr>
              <a:t>komunikasi</a:t>
            </a:r>
            <a:r>
              <a:rPr lang="en-US" sz="2400" dirty="0" smtClean="0">
                <a:solidFill>
                  <a:schemeClr val="tx1">
                    <a:lumMod val="95000"/>
                    <a:lumOff val="5000"/>
                  </a:schemeClr>
                </a:solidFill>
                <a:latin typeface="Agency FB" pitchFamily="34" charset="0"/>
              </a:rPr>
              <a:t> </a:t>
            </a:r>
            <a:r>
              <a:rPr lang="en-US" sz="2400" i="1" dirty="0" smtClean="0">
                <a:solidFill>
                  <a:schemeClr val="tx1">
                    <a:lumMod val="95000"/>
                    <a:lumOff val="5000"/>
                  </a:schemeClr>
                </a:solidFill>
                <a:latin typeface="Agency FB" pitchFamily="34" charset="0"/>
              </a:rPr>
              <a:t>video conference </a:t>
            </a:r>
            <a:r>
              <a:rPr lang="en-US" sz="2400" dirty="0" err="1" smtClean="0">
                <a:solidFill>
                  <a:schemeClr val="tx1">
                    <a:lumMod val="95000"/>
                    <a:lumOff val="5000"/>
                  </a:schemeClr>
                </a:solidFill>
                <a:latin typeface="Agency FB" pitchFamily="34" charset="0"/>
              </a:rPr>
              <a:t>berbasis</a:t>
            </a:r>
            <a:r>
              <a:rPr lang="en-US" sz="2400" dirty="0" smtClean="0">
                <a:solidFill>
                  <a:schemeClr val="tx1">
                    <a:lumMod val="95000"/>
                    <a:lumOff val="5000"/>
                  </a:schemeClr>
                </a:solidFill>
                <a:latin typeface="Agency FB" pitchFamily="34" charset="0"/>
              </a:rPr>
              <a:t> </a:t>
            </a:r>
            <a:r>
              <a:rPr lang="en-US" sz="2400" i="1" dirty="0" smtClean="0">
                <a:solidFill>
                  <a:schemeClr val="tx1">
                    <a:lumMod val="95000"/>
                    <a:lumOff val="5000"/>
                  </a:schemeClr>
                </a:solidFill>
                <a:latin typeface="Agency FB" pitchFamily="34" charset="0"/>
              </a:rPr>
              <a:t>web interface</a:t>
            </a:r>
            <a:r>
              <a:rPr lang="en-US" sz="2400" dirty="0" smtClean="0">
                <a:solidFill>
                  <a:schemeClr val="tx1">
                    <a:lumMod val="95000"/>
                    <a:lumOff val="5000"/>
                  </a:schemeClr>
                </a:solidFill>
                <a:latin typeface="Agency FB" pitchFamily="34" charset="0"/>
              </a:rPr>
              <a:t> </a:t>
            </a:r>
          </a:p>
        </p:txBody>
      </p:sp>
      <p:sp>
        <p:nvSpPr>
          <p:cNvPr id="4" name="Slide Number Placeholder 3"/>
          <p:cNvSpPr>
            <a:spLocks noGrp="1"/>
          </p:cNvSpPr>
          <p:nvPr>
            <p:ph type="sldNum" sz="quarter" idx="12"/>
          </p:nvPr>
        </p:nvSpPr>
        <p:spPr/>
        <p:txBody>
          <a:bodyPr/>
          <a:lstStyle/>
          <a:p>
            <a:fld id="{7D08530B-D843-4B68-A89E-667FFE5D1D6F}" type="slidenum">
              <a:rPr lang="en-US" smtClean="0"/>
              <a:t>42</a:t>
            </a:fld>
            <a:endParaRPr lang="en-US"/>
          </a:p>
        </p:txBody>
      </p:sp>
      <p:sp>
        <p:nvSpPr>
          <p:cNvPr id="6" name="Rectangle 5"/>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7" name="Rectangle 6"/>
          <p:cNvSpPr/>
          <p:nvPr/>
        </p:nvSpPr>
        <p:spPr>
          <a:xfrm>
            <a:off x="1016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KEGIATAN POKJANAS TPID TAHUN 2016 (4)</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13549258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61"/>
          <p:cNvSpPr txBox="1"/>
          <p:nvPr/>
        </p:nvSpPr>
        <p:spPr>
          <a:xfrm>
            <a:off x="762000" y="1524000"/>
            <a:ext cx="6569075" cy="461665"/>
          </a:xfrm>
          <a:prstGeom prst="rect">
            <a:avLst/>
          </a:prstGeom>
          <a:noFill/>
        </p:spPr>
        <p:txBody>
          <a:bodyPr wrap="square" rtlCol="0">
            <a:spAutoFit/>
          </a:bodyPr>
          <a:lstStyle/>
          <a:p>
            <a:pPr algn="just"/>
            <a:r>
              <a:rPr lang="en-US" sz="2400" b="1" dirty="0" smtClean="0">
                <a:solidFill>
                  <a:srgbClr val="002060"/>
                </a:solidFill>
                <a:latin typeface="Agency FB" panose="020B0503020202020204" pitchFamily="34" charset="0"/>
              </a:rPr>
              <a:t>JUMLAH TPID TERUS BERKEMBANG…</a:t>
            </a:r>
            <a:endParaRPr lang="id-ID" sz="2400" b="1" dirty="0">
              <a:solidFill>
                <a:srgbClr val="002060"/>
              </a:solidFill>
              <a:latin typeface="Agency FB" panose="020B0503020202020204" pitchFamily="34" charset="0"/>
            </a:endParaRPr>
          </a:p>
        </p:txBody>
      </p:sp>
      <p:graphicFrame>
        <p:nvGraphicFramePr>
          <p:cNvPr id="64" name="Chart 63"/>
          <p:cNvGraphicFramePr>
            <a:graphicFrameLocks/>
          </p:cNvGraphicFramePr>
          <p:nvPr>
            <p:extLst>
              <p:ext uri="{D42A27DB-BD31-4B8C-83A1-F6EECF244321}">
                <p14:modId xmlns:p14="http://schemas.microsoft.com/office/powerpoint/2010/main" val="3080313927"/>
              </p:ext>
            </p:extLst>
          </p:nvPr>
        </p:nvGraphicFramePr>
        <p:xfrm>
          <a:off x="-4700" y="881087"/>
          <a:ext cx="8891588" cy="5909312"/>
        </p:xfrm>
        <a:graphic>
          <a:graphicData uri="http://schemas.openxmlformats.org/drawingml/2006/chart">
            <c:chart xmlns:c="http://schemas.openxmlformats.org/drawingml/2006/chart" xmlns:r="http://schemas.openxmlformats.org/officeDocument/2006/relationships" r:id="rId3"/>
          </a:graphicData>
        </a:graphic>
      </p:graphicFrame>
      <p:grpSp>
        <p:nvGrpSpPr>
          <p:cNvPr id="65" name="Group 64"/>
          <p:cNvGrpSpPr/>
          <p:nvPr/>
        </p:nvGrpSpPr>
        <p:grpSpPr>
          <a:xfrm>
            <a:off x="9965975" y="1741714"/>
            <a:ext cx="1747054" cy="2220689"/>
            <a:chOff x="10101282" y="1695271"/>
            <a:chExt cx="2012930" cy="2495729"/>
          </a:xfrm>
        </p:grpSpPr>
        <p:sp>
          <p:nvSpPr>
            <p:cNvPr id="66" name="Rectangle 65"/>
            <p:cNvSpPr/>
            <p:nvPr/>
          </p:nvSpPr>
          <p:spPr>
            <a:xfrm>
              <a:off x="10101282" y="1695271"/>
              <a:ext cx="2012930" cy="1200329"/>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7" name="TextBox 66"/>
            <p:cNvSpPr txBox="1"/>
            <p:nvPr/>
          </p:nvSpPr>
          <p:spPr>
            <a:xfrm>
              <a:off x="10200484" y="1818381"/>
              <a:ext cx="1913728" cy="933919"/>
            </a:xfrm>
            <a:prstGeom prst="rect">
              <a:avLst/>
            </a:prstGeom>
            <a:noFill/>
          </p:spPr>
          <p:txBody>
            <a:bodyPr wrap="square" rtlCol="0">
              <a:spAutoFit/>
            </a:bodyPr>
            <a:lstStyle/>
            <a:p>
              <a:pPr algn="ctr"/>
              <a:r>
                <a:rPr lang="en-US" sz="2400" b="1" dirty="0" smtClean="0">
                  <a:solidFill>
                    <a:schemeClr val="tx2"/>
                  </a:solidFill>
                  <a:effectLst>
                    <a:outerShdw blurRad="38100" dist="38100" dir="2700000" algn="tl">
                      <a:srgbClr val="000000">
                        <a:alpha val="43137"/>
                      </a:srgbClr>
                    </a:outerShdw>
                  </a:effectLst>
                </a:rPr>
                <a:t>34 </a:t>
              </a:r>
              <a:r>
                <a:rPr lang="en-US" sz="2400" b="1" dirty="0" err="1" smtClean="0">
                  <a:solidFill>
                    <a:schemeClr val="tx2"/>
                  </a:solidFill>
                  <a:effectLst>
                    <a:outerShdw blurRad="38100" dist="38100" dir="2700000" algn="tl">
                      <a:srgbClr val="000000">
                        <a:alpha val="43137"/>
                      </a:srgbClr>
                    </a:outerShdw>
                  </a:effectLst>
                </a:rPr>
                <a:t>provinsi</a:t>
              </a:r>
              <a:endParaRPr lang="en-US" sz="2400" b="1" dirty="0">
                <a:solidFill>
                  <a:schemeClr val="tx2"/>
                </a:solidFill>
                <a:effectLst>
                  <a:outerShdw blurRad="38100" dist="38100" dir="2700000" algn="tl">
                    <a:srgbClr val="000000">
                      <a:alpha val="43137"/>
                    </a:srgbClr>
                  </a:outerShdw>
                </a:effectLst>
              </a:endParaRPr>
            </a:p>
          </p:txBody>
        </p:sp>
        <p:sp>
          <p:nvSpPr>
            <p:cNvPr id="68" name="Rectangle 67"/>
            <p:cNvSpPr/>
            <p:nvPr/>
          </p:nvSpPr>
          <p:spPr>
            <a:xfrm>
              <a:off x="10101282" y="2990671"/>
              <a:ext cx="2012930" cy="1200329"/>
            </a:xfrm>
            <a:prstGeom prst="rect">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TextBox 68"/>
            <p:cNvSpPr txBox="1"/>
            <p:nvPr/>
          </p:nvSpPr>
          <p:spPr>
            <a:xfrm>
              <a:off x="10101282" y="3018710"/>
              <a:ext cx="2012930" cy="1072276"/>
            </a:xfrm>
            <a:prstGeom prst="rect">
              <a:avLst/>
            </a:prstGeom>
            <a:noFill/>
          </p:spPr>
          <p:txBody>
            <a:bodyPr wrap="square" rtlCol="0">
              <a:spAutoFit/>
            </a:bodyPr>
            <a:lstStyle/>
            <a:p>
              <a:pPr algn="ctr"/>
              <a:r>
                <a:rPr lang="id-ID" sz="2800" b="1" dirty="0" smtClean="0">
                  <a:solidFill>
                    <a:schemeClr val="tx2"/>
                  </a:solidFill>
                  <a:effectLst>
                    <a:outerShdw blurRad="38100" dist="38100" dir="2700000" algn="tl">
                      <a:srgbClr val="000000">
                        <a:alpha val="43137"/>
                      </a:srgbClr>
                    </a:outerShdw>
                  </a:effectLst>
                </a:rPr>
                <a:t>41</a:t>
              </a:r>
              <a:r>
                <a:rPr lang="en-US" sz="2800" b="1" dirty="0" smtClean="0">
                  <a:solidFill>
                    <a:schemeClr val="tx2"/>
                  </a:solidFill>
                  <a:effectLst>
                    <a:outerShdw blurRad="38100" dist="38100" dir="2700000" algn="tl">
                      <a:srgbClr val="000000">
                        <a:alpha val="43137"/>
                      </a:srgbClr>
                    </a:outerShdw>
                  </a:effectLst>
                </a:rPr>
                <a:t>7 </a:t>
              </a:r>
            </a:p>
            <a:p>
              <a:pPr algn="ctr"/>
              <a:r>
                <a:rPr lang="en-US" sz="2800" b="1" dirty="0" err="1" smtClean="0">
                  <a:solidFill>
                    <a:schemeClr val="tx2"/>
                  </a:solidFill>
                  <a:effectLst>
                    <a:outerShdw blurRad="38100" dist="38100" dir="2700000" algn="tl">
                      <a:srgbClr val="000000">
                        <a:alpha val="43137"/>
                      </a:srgbClr>
                    </a:outerShdw>
                  </a:effectLst>
                </a:rPr>
                <a:t>Kab</a:t>
              </a:r>
              <a:r>
                <a:rPr lang="en-US" sz="2800" b="1" dirty="0" smtClean="0">
                  <a:solidFill>
                    <a:schemeClr val="tx2"/>
                  </a:solidFill>
                  <a:effectLst>
                    <a:outerShdw blurRad="38100" dist="38100" dir="2700000" algn="tl">
                      <a:srgbClr val="000000">
                        <a:alpha val="43137"/>
                      </a:srgbClr>
                    </a:outerShdw>
                  </a:effectLst>
                </a:rPr>
                <a:t>/</a:t>
              </a:r>
              <a:r>
                <a:rPr lang="en-US" sz="2800" b="1" dirty="0" err="1" smtClean="0">
                  <a:solidFill>
                    <a:schemeClr val="tx2"/>
                  </a:solidFill>
                  <a:effectLst>
                    <a:outerShdw blurRad="38100" dist="38100" dir="2700000" algn="tl">
                      <a:srgbClr val="000000">
                        <a:alpha val="43137"/>
                      </a:srgbClr>
                    </a:outerShdw>
                  </a:effectLst>
                </a:rPr>
                <a:t>kota</a:t>
              </a:r>
              <a:endParaRPr lang="en-US" sz="2800" b="1" dirty="0">
                <a:solidFill>
                  <a:schemeClr val="tx2"/>
                </a:solidFill>
                <a:effectLst>
                  <a:outerShdw blurRad="38100" dist="38100" dir="2700000" algn="tl">
                    <a:srgbClr val="000000">
                      <a:alpha val="43137"/>
                    </a:srgbClr>
                  </a:outerShdw>
                </a:effectLst>
              </a:endParaRPr>
            </a:p>
          </p:txBody>
        </p:sp>
      </p:grpSp>
      <p:sp>
        <p:nvSpPr>
          <p:cNvPr id="10" name="Slide Number Placeholder 4"/>
          <p:cNvSpPr txBox="1">
            <a:spLocks/>
          </p:cNvSpPr>
          <p:nvPr/>
        </p:nvSpPr>
        <p:spPr>
          <a:xfrm>
            <a:off x="9144000" y="6248400"/>
            <a:ext cx="2844800" cy="365125"/>
          </a:xfrm>
          <a:prstGeom prst="rect">
            <a:avLst/>
          </a:prstGeom>
        </p:spPr>
        <p:txBody>
          <a:bodyPr/>
          <a:ls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pPr algn="r"/>
            <a:r>
              <a:rPr lang="id-ID" dirty="0" smtClean="0"/>
              <a:t>3</a:t>
            </a:r>
            <a:endParaRPr lang="en-US" dirty="0"/>
          </a:p>
        </p:txBody>
      </p:sp>
      <p:pic>
        <p:nvPicPr>
          <p:cNvPr id="2" name="Picture 1"/>
          <p:cNvPicPr>
            <a:picLocks noChangeAspect="1"/>
          </p:cNvPicPr>
          <p:nvPr/>
        </p:nvPicPr>
        <p:blipFill rotWithShape="1">
          <a:blip r:embed="rId4"/>
          <a:srcRect l="73239" t="33333" r="23320" b="32887"/>
          <a:stretch/>
        </p:blipFill>
        <p:spPr>
          <a:xfrm>
            <a:off x="8607488" y="1181725"/>
            <a:ext cx="838200" cy="5046459"/>
          </a:xfrm>
          <a:prstGeom prst="rect">
            <a:avLst/>
          </a:prstGeom>
        </p:spPr>
      </p:pic>
      <p:sp>
        <p:nvSpPr>
          <p:cNvPr id="11" name="TextBox 196"/>
          <p:cNvSpPr txBox="1"/>
          <p:nvPr/>
        </p:nvSpPr>
        <p:spPr>
          <a:xfrm>
            <a:off x="8343122" y="6225985"/>
            <a:ext cx="1524000" cy="406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2200" b="1" dirty="0" smtClean="0">
                <a:solidFill>
                  <a:schemeClr val="tx1"/>
                </a:solidFill>
                <a:latin typeface="Agency FB" panose="020B0503020202020204" pitchFamily="34" charset="0"/>
              </a:rPr>
              <a:t>MEI</a:t>
            </a:r>
            <a:r>
              <a:rPr lang="id-ID" sz="2200" b="1" dirty="0" smtClean="0">
                <a:solidFill>
                  <a:schemeClr val="tx1"/>
                </a:solidFill>
                <a:latin typeface="Agency FB" panose="020B0503020202020204" pitchFamily="34" charset="0"/>
              </a:rPr>
              <a:t> 2016</a:t>
            </a:r>
            <a:endParaRPr lang="id-ID" sz="2200" b="1" dirty="0">
              <a:solidFill>
                <a:schemeClr val="tx1"/>
              </a:solidFill>
              <a:latin typeface="Agency FB" panose="020B0503020202020204" pitchFamily="34" charset="0"/>
            </a:endParaRPr>
          </a:p>
        </p:txBody>
      </p:sp>
      <p:sp>
        <p:nvSpPr>
          <p:cNvPr id="13" name="TextBox 190"/>
          <p:cNvSpPr txBox="1"/>
          <p:nvPr/>
        </p:nvSpPr>
        <p:spPr>
          <a:xfrm>
            <a:off x="8063722" y="673261"/>
            <a:ext cx="1803400" cy="52322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800" b="1" spc="-150" dirty="0" smtClean="0">
                <a:solidFill>
                  <a:srgbClr val="FF0000"/>
                </a:solidFill>
                <a:effectLst>
                  <a:outerShdw blurRad="38100" dist="38100" dir="2700000" algn="tl">
                    <a:srgbClr val="000000">
                      <a:alpha val="43137"/>
                    </a:srgbClr>
                  </a:outerShdw>
                </a:effectLst>
                <a:latin typeface="Agency FB" panose="020B0503020202020204" pitchFamily="34" charset="0"/>
              </a:rPr>
              <a:t>451</a:t>
            </a:r>
            <a:r>
              <a:rPr lang="id-ID" sz="2800" b="1" spc="-150" dirty="0" smtClean="0">
                <a:solidFill>
                  <a:srgbClr val="FF0000"/>
                </a:solidFill>
                <a:effectLst>
                  <a:outerShdw blurRad="38100" dist="38100" dir="2700000" algn="tl">
                    <a:srgbClr val="000000">
                      <a:alpha val="43137"/>
                    </a:srgbClr>
                  </a:outerShdw>
                </a:effectLst>
                <a:latin typeface="Agency FB" panose="020B0503020202020204" pitchFamily="34" charset="0"/>
              </a:rPr>
              <a:t>  TPID</a:t>
            </a:r>
            <a:endParaRPr lang="id-ID" sz="2800" b="1" spc="-150" dirty="0">
              <a:solidFill>
                <a:srgbClr val="FF0000"/>
              </a:solidFill>
              <a:effectLst>
                <a:outerShdw blurRad="38100" dist="38100" dir="2700000" algn="tl">
                  <a:srgbClr val="000000">
                    <a:alpha val="43137"/>
                  </a:srgbClr>
                </a:outerShdw>
              </a:effectLst>
              <a:latin typeface="Agency FB" panose="020B0503020202020204" pitchFamily="34" charset="0"/>
            </a:endParaRPr>
          </a:p>
        </p:txBody>
      </p:sp>
      <p:pic>
        <p:nvPicPr>
          <p:cNvPr id="14" name="Picture 13"/>
          <p:cNvPicPr>
            <a:picLocks noChangeAspect="1"/>
          </p:cNvPicPr>
          <p:nvPr/>
        </p:nvPicPr>
        <p:blipFill rotWithShape="1">
          <a:blip r:embed="rId4"/>
          <a:srcRect l="66444" t="64973" r="26761" b="32887"/>
          <a:stretch/>
        </p:blipFill>
        <p:spPr>
          <a:xfrm>
            <a:off x="7997888" y="5904722"/>
            <a:ext cx="1655226" cy="319708"/>
          </a:xfrm>
          <a:prstGeom prst="rect">
            <a:avLst/>
          </a:prstGeom>
        </p:spPr>
      </p:pic>
      <p:sp>
        <p:nvSpPr>
          <p:cNvPr id="15" name="Rectangle 14"/>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16" name="Rectangle 15"/>
          <p:cNvSpPr/>
          <p:nvPr/>
        </p:nvSpPr>
        <p:spPr>
          <a:xfrm>
            <a:off x="1016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PERKEMBANGAN JUMLAH TPID</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217560799"/>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2325" t="30129" r="2325" b="2067"/>
          <a:stretch/>
        </p:blipFill>
        <p:spPr>
          <a:xfrm>
            <a:off x="457200" y="1905000"/>
            <a:ext cx="11430000" cy="4572000"/>
          </a:xfrm>
          <a:prstGeom prst="rect">
            <a:avLst/>
          </a:prstGeom>
        </p:spPr>
      </p:pic>
      <p:sp>
        <p:nvSpPr>
          <p:cNvPr id="5" name="Rectangle 4"/>
          <p:cNvSpPr/>
          <p:nvPr/>
        </p:nvSpPr>
        <p:spPr>
          <a:xfrm>
            <a:off x="228600" y="997803"/>
            <a:ext cx="11709400" cy="830997"/>
          </a:xfrm>
          <a:prstGeom prst="rect">
            <a:avLst/>
          </a:prstGeom>
        </p:spPr>
        <p:txBody>
          <a:bodyPr wrap="square">
            <a:spAutoFit/>
          </a:bodyPr>
          <a:lstStyle/>
          <a:p>
            <a:r>
              <a:rPr lang="en-US" sz="2400" b="1" dirty="0">
                <a:solidFill>
                  <a:srgbClr val="002060"/>
                </a:solidFill>
                <a:latin typeface="Agency FB" panose="020B0503020202020204" pitchFamily="34" charset="0"/>
              </a:rPr>
              <a:t>SECARA NASIONAL INFLASI HARGA PANGAN MULAI MENGALAMI PENURUNAN </a:t>
            </a:r>
            <a:r>
              <a:rPr lang="en-US" sz="2400" b="1" dirty="0" smtClean="0">
                <a:solidFill>
                  <a:srgbClr val="002060"/>
                </a:solidFill>
                <a:latin typeface="Agency FB" panose="020B0503020202020204" pitchFamily="34" charset="0"/>
              </a:rPr>
              <a:t>SEIRING DENGAN PERKEMBANGAN JUMLAH TPID…</a:t>
            </a:r>
            <a:endParaRPr lang="en-US" sz="2400" b="1" dirty="0">
              <a:solidFill>
                <a:srgbClr val="002060"/>
              </a:solidFill>
              <a:latin typeface="Agency FB" panose="020B0503020202020204" pitchFamily="34" charset="0"/>
            </a:endParaRPr>
          </a:p>
        </p:txBody>
      </p:sp>
      <p:sp>
        <p:nvSpPr>
          <p:cNvPr id="6" name="Rectangle 5"/>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7" name="Rectangle 6"/>
          <p:cNvSpPr/>
          <p:nvPr/>
        </p:nvSpPr>
        <p:spPr>
          <a:xfrm>
            <a:off x="1016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PERGERAKAN INFLASI</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246276015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12"/>
          <p:cNvSpPr/>
          <p:nvPr/>
        </p:nvSpPr>
        <p:spPr>
          <a:xfrm>
            <a:off x="152397" y="5595926"/>
            <a:ext cx="11445670" cy="969494"/>
          </a:xfrm>
          <a:prstGeom prst="rect">
            <a:avLst/>
          </a:prstGeom>
        </p:spPr>
        <p:txBody>
          <a:bodyPr wrap="square" lIns="91438" tIns="45719" rIns="91438" bIns="45719">
            <a:spAutoFit/>
          </a:bodyPr>
          <a:lstStyle/>
          <a:p>
            <a:pPr algn="ctr"/>
            <a:r>
              <a:rPr lang="en-US" b="1" i="1" dirty="0" smtClean="0">
                <a:latin typeface="Arial Narrow" panose="020B0606020202030204" pitchFamily="34" charset="0"/>
              </a:rPr>
              <a:t>SESUAI KESEPAKATAN DALAM HLM TPI DAN POKJANAS TPID: PEMERINTAH DAERAH UNTUK </a:t>
            </a:r>
            <a:r>
              <a:rPr lang="id-ID" b="1" i="1" dirty="0" smtClean="0">
                <a:latin typeface="Arial Narrow" panose="020B0606020202030204" pitchFamily="34" charset="0"/>
              </a:rPr>
              <a:t>DAPAT MENJADIKAN </a:t>
            </a:r>
            <a:r>
              <a:rPr lang="en-US" b="1" i="1" dirty="0" smtClean="0">
                <a:latin typeface="Arial Narrow" panose="020B0606020202030204" pitchFamily="34" charset="0"/>
              </a:rPr>
              <a:t>ROADMAP PENGENDALIAN INFLASI </a:t>
            </a:r>
            <a:r>
              <a:rPr lang="id-ID" b="1" i="1" dirty="0" smtClean="0">
                <a:latin typeface="Arial Narrow" panose="020B0606020202030204" pitchFamily="34" charset="0"/>
              </a:rPr>
              <a:t>SEBAGAI SALAH SATU ACUAN DALAM PERUMUSAN </a:t>
            </a:r>
            <a:r>
              <a:rPr lang="en-US" b="1" i="1" dirty="0" smtClean="0">
                <a:latin typeface="Arial Narrow" panose="020B0606020202030204" pitchFamily="34" charset="0"/>
              </a:rPr>
              <a:t>RKPD, YAKNI MENJADIKANNYA SEBAGAI REFERENSI DALAM  PENYUSUNAN KEBIJAKAN TERKAIT STABILISASI HARGA</a:t>
            </a:r>
            <a:endParaRPr lang="en-US" b="1" i="1" dirty="0">
              <a:latin typeface="Arial Narrow" panose="020B0606020202030204" pitchFamily="34" charset="0"/>
            </a:endParaRPr>
          </a:p>
        </p:txBody>
      </p:sp>
      <p:sp>
        <p:nvSpPr>
          <p:cNvPr id="44" name="TextBox 43"/>
          <p:cNvSpPr txBox="1"/>
          <p:nvPr/>
        </p:nvSpPr>
        <p:spPr>
          <a:xfrm>
            <a:off x="3962400" y="1622280"/>
            <a:ext cx="3810000" cy="553996"/>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IDENTIFIKASI PERMASALAHAN KETIDAKSTABILAN HARGA DI DAERAH </a:t>
            </a:r>
            <a:endParaRPr lang="es-ES" sz="1500" i="1" dirty="0">
              <a:latin typeface="Arial Narrow" pitchFamily="34" charset="0"/>
            </a:endParaRPr>
          </a:p>
        </p:txBody>
      </p:sp>
      <p:sp>
        <p:nvSpPr>
          <p:cNvPr id="45" name="TextBox 44"/>
          <p:cNvSpPr txBox="1"/>
          <p:nvPr/>
        </p:nvSpPr>
        <p:spPr>
          <a:xfrm>
            <a:off x="3870528" y="2914248"/>
            <a:ext cx="3810000" cy="323163"/>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ROADMAP PENGENDALIAN INFLASI DAERAH</a:t>
            </a:r>
            <a:endParaRPr lang="es-ES" sz="1500" i="1" dirty="0">
              <a:latin typeface="Arial Narrow" pitchFamily="34" charset="0"/>
            </a:endParaRPr>
          </a:p>
        </p:txBody>
      </p:sp>
      <p:sp>
        <p:nvSpPr>
          <p:cNvPr id="46" name="TextBox 45"/>
          <p:cNvSpPr txBox="1"/>
          <p:nvPr/>
        </p:nvSpPr>
        <p:spPr>
          <a:xfrm>
            <a:off x="2028497" y="3634772"/>
            <a:ext cx="3810000" cy="323163"/>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PROGRAM KERJA JANGKA PENDEK</a:t>
            </a:r>
            <a:endParaRPr lang="es-ES" sz="1500" i="1" dirty="0">
              <a:latin typeface="Arial Narrow" pitchFamily="34" charset="0"/>
            </a:endParaRPr>
          </a:p>
        </p:txBody>
      </p:sp>
      <p:sp>
        <p:nvSpPr>
          <p:cNvPr id="47" name="TextBox 46"/>
          <p:cNvSpPr txBox="1"/>
          <p:nvPr/>
        </p:nvSpPr>
        <p:spPr>
          <a:xfrm>
            <a:off x="5867400" y="3634772"/>
            <a:ext cx="3810000" cy="323163"/>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PROGRAM KERJA JANGKA PANJANG</a:t>
            </a:r>
            <a:endParaRPr lang="es-ES" sz="1500" i="1" dirty="0">
              <a:latin typeface="Arial Narrow" pitchFamily="34" charset="0"/>
            </a:endParaRPr>
          </a:p>
        </p:txBody>
      </p:sp>
      <p:sp>
        <p:nvSpPr>
          <p:cNvPr id="48" name="TextBox 47"/>
          <p:cNvSpPr txBox="1"/>
          <p:nvPr/>
        </p:nvSpPr>
        <p:spPr>
          <a:xfrm>
            <a:off x="762002" y="4396776"/>
            <a:ext cx="2362200" cy="323163"/>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ALOKASI ANGGARAN</a:t>
            </a:r>
            <a:endParaRPr lang="es-ES" sz="1500" i="1" dirty="0">
              <a:latin typeface="Arial Narrow" pitchFamily="34" charset="0"/>
            </a:endParaRPr>
          </a:p>
        </p:txBody>
      </p:sp>
      <p:sp>
        <p:nvSpPr>
          <p:cNvPr id="49" name="TextBox 48"/>
          <p:cNvSpPr txBox="1"/>
          <p:nvPr/>
        </p:nvSpPr>
        <p:spPr>
          <a:xfrm>
            <a:off x="3352802" y="4396776"/>
            <a:ext cx="2362200" cy="323163"/>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SINERGI ANTAR SKPD</a:t>
            </a:r>
            <a:endParaRPr lang="es-ES" sz="1500" i="1" dirty="0">
              <a:latin typeface="Arial Narrow" pitchFamily="34" charset="0"/>
            </a:endParaRPr>
          </a:p>
        </p:txBody>
      </p:sp>
      <p:sp>
        <p:nvSpPr>
          <p:cNvPr id="50" name="TextBox 49"/>
          <p:cNvSpPr txBox="1"/>
          <p:nvPr/>
        </p:nvSpPr>
        <p:spPr>
          <a:xfrm>
            <a:off x="6096002" y="4396771"/>
            <a:ext cx="2362200" cy="553996"/>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KERJASAMA ANTAR DAERAH</a:t>
            </a:r>
            <a:endParaRPr lang="es-ES" sz="1500" i="1" dirty="0">
              <a:latin typeface="Arial Narrow" pitchFamily="34" charset="0"/>
            </a:endParaRPr>
          </a:p>
        </p:txBody>
      </p:sp>
      <p:sp>
        <p:nvSpPr>
          <p:cNvPr id="51" name="TextBox 50"/>
          <p:cNvSpPr txBox="1"/>
          <p:nvPr/>
        </p:nvSpPr>
        <p:spPr>
          <a:xfrm>
            <a:off x="8839202" y="4396772"/>
            <a:ext cx="2362200" cy="784828"/>
          </a:xfrm>
          <a:prstGeom prst="rect">
            <a:avLst/>
          </a:prstGeom>
          <a:noFill/>
          <a:ln w="28575">
            <a:solidFill>
              <a:schemeClr val="accent1">
                <a:lumMod val="75000"/>
              </a:schemeClr>
            </a:solidFill>
          </a:ln>
        </p:spPr>
        <p:txBody>
          <a:bodyPr wrap="square" lIns="91438" tIns="45719" rIns="91438" bIns="45719" rtlCol="0">
            <a:spAutoFit/>
          </a:bodyPr>
          <a:lstStyle/>
          <a:p>
            <a:pPr algn="ctr"/>
            <a:r>
              <a:rPr lang="en-US" sz="1500" b="1" dirty="0">
                <a:latin typeface="Arial Narrow" pitchFamily="34" charset="0"/>
              </a:rPr>
              <a:t>MENDORONG PEMBANGUNAN INFRASTRUKTUR </a:t>
            </a:r>
            <a:endParaRPr lang="es-ES" sz="1500" i="1" dirty="0">
              <a:latin typeface="Arial Narrow" pitchFamily="34" charset="0"/>
            </a:endParaRPr>
          </a:p>
        </p:txBody>
      </p:sp>
      <p:pic>
        <p:nvPicPr>
          <p:cNvPr id="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5263" t="21491" r="18871" b="25319"/>
          <a:stretch/>
        </p:blipFill>
        <p:spPr bwMode="auto">
          <a:xfrm>
            <a:off x="8882808" y="320838"/>
            <a:ext cx="2505795" cy="2686341"/>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Title 1"/>
          <p:cNvSpPr txBox="1">
            <a:spLocks/>
          </p:cNvSpPr>
          <p:nvPr/>
        </p:nvSpPr>
        <p:spPr>
          <a:xfrm>
            <a:off x="1442540" y="1112837"/>
            <a:ext cx="8768260" cy="563563"/>
          </a:xfrm>
          <a:prstGeom prst="rect">
            <a:avLst/>
          </a:prstGeom>
        </p:spPr>
        <p:txBody>
          <a:bodyPr vert="horz" lIns="91438" tIns="45719" rIns="91438" bIns="45719" rtlCol="0" anchor="ctr">
            <a:normAutofit fontScale="97500"/>
          </a:bodyPr>
          <a:lstStyle>
            <a:lvl1pPr algn="ctr" defTabSz="914377"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rgbClr val="FF0000"/>
                </a:solidFill>
                <a:latin typeface="Agency FB" pitchFamily="34" charset="0"/>
              </a:rPr>
              <a:t>INTEGRASI ROADMAP PENGENDALIAN INFLASI NASIONAL DENGAN KEBIJAKAN DAERAH</a:t>
            </a:r>
            <a:endParaRPr lang="en-US" sz="1600" b="1" dirty="0">
              <a:solidFill>
                <a:srgbClr val="FF0000"/>
              </a:solidFill>
              <a:latin typeface="Agency FB" pitchFamily="34" charset="0"/>
            </a:endParaRPr>
          </a:p>
        </p:txBody>
      </p:sp>
      <p:cxnSp>
        <p:nvCxnSpPr>
          <p:cNvPr id="5" name="Straight Connector 4"/>
          <p:cNvCxnSpPr>
            <a:stCxn id="45" idx="2"/>
            <a:endCxn id="46" idx="0"/>
          </p:cNvCxnSpPr>
          <p:nvPr/>
        </p:nvCxnSpPr>
        <p:spPr>
          <a:xfrm flipH="1">
            <a:off x="3933497" y="3237411"/>
            <a:ext cx="1842031" cy="397361"/>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45" idx="2"/>
            <a:endCxn id="47" idx="0"/>
          </p:cNvCxnSpPr>
          <p:nvPr/>
        </p:nvCxnSpPr>
        <p:spPr>
          <a:xfrm>
            <a:off x="5775528" y="3237411"/>
            <a:ext cx="1996872" cy="39736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48" idx="0"/>
          </p:cNvCxnSpPr>
          <p:nvPr/>
        </p:nvCxnSpPr>
        <p:spPr>
          <a:xfrm flipH="1">
            <a:off x="1943102" y="3957935"/>
            <a:ext cx="3895395" cy="438841"/>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endCxn id="49" idx="0"/>
          </p:cNvCxnSpPr>
          <p:nvPr/>
        </p:nvCxnSpPr>
        <p:spPr>
          <a:xfrm flipH="1">
            <a:off x="4533902" y="3957935"/>
            <a:ext cx="1304595" cy="438841"/>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p:cNvCxnSpPr>
            <a:endCxn id="50" idx="0"/>
          </p:cNvCxnSpPr>
          <p:nvPr/>
        </p:nvCxnSpPr>
        <p:spPr>
          <a:xfrm>
            <a:off x="5791200" y="3957935"/>
            <a:ext cx="1485902" cy="438836"/>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p:cNvCxnSpPr>
            <a:endCxn id="51" idx="0"/>
          </p:cNvCxnSpPr>
          <p:nvPr/>
        </p:nvCxnSpPr>
        <p:spPr>
          <a:xfrm>
            <a:off x="5775528" y="3957935"/>
            <a:ext cx="4244774" cy="438837"/>
          </a:xfrm>
          <a:prstGeom prst="line">
            <a:avLst/>
          </a:prstGeom>
        </p:spPr>
        <p:style>
          <a:lnRef idx="1">
            <a:schemeClr val="accent1"/>
          </a:lnRef>
          <a:fillRef idx="0">
            <a:schemeClr val="accent1"/>
          </a:fillRef>
          <a:effectRef idx="0">
            <a:schemeClr val="accent1"/>
          </a:effectRef>
          <a:fontRef idx="minor">
            <a:schemeClr val="tx1"/>
          </a:fontRef>
        </p:style>
      </p:cxnSp>
      <p:sp>
        <p:nvSpPr>
          <p:cNvPr id="62" name="Down Arrow 61"/>
          <p:cNvSpPr/>
          <p:nvPr/>
        </p:nvSpPr>
        <p:spPr>
          <a:xfrm rot="3436212">
            <a:off x="8165009" y="2552246"/>
            <a:ext cx="440908" cy="70056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p:cNvCxnSpPr>
            <a:stCxn id="44" idx="2"/>
          </p:cNvCxnSpPr>
          <p:nvPr/>
        </p:nvCxnSpPr>
        <p:spPr>
          <a:xfrm>
            <a:off x="5867400" y="2176276"/>
            <a:ext cx="0" cy="737972"/>
          </a:xfrm>
          <a:prstGeom prst="line">
            <a:avLst/>
          </a:prstGeom>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fld id="{7D08530B-D843-4B68-A89E-667FFE5D1D6F}" type="slidenum">
              <a:rPr lang="en-US" smtClean="0"/>
              <a:t>45</a:t>
            </a:fld>
            <a:endParaRPr lang="en-US"/>
          </a:p>
        </p:txBody>
      </p:sp>
      <p:sp>
        <p:nvSpPr>
          <p:cNvPr id="24" name="Rectangle 23"/>
          <p:cNvSpPr/>
          <p:nvPr/>
        </p:nvSpPr>
        <p:spPr>
          <a:xfrm>
            <a:off x="76200" y="214848"/>
            <a:ext cx="536027" cy="553998"/>
          </a:xfrm>
          <a:prstGeom prst="rect">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sp>
        <p:nvSpPr>
          <p:cNvPr id="25" name="Rectangle 24"/>
          <p:cNvSpPr/>
          <p:nvPr/>
        </p:nvSpPr>
        <p:spPr>
          <a:xfrm>
            <a:off x="177800" y="152400"/>
            <a:ext cx="12471400" cy="707886"/>
          </a:xfrm>
          <a:prstGeom prst="rect">
            <a:avLst/>
          </a:prstGeom>
          <a:noFill/>
        </p:spPr>
        <p:txBody>
          <a:bodyPr vert="horz" wrap="square" lIns="91440" tIns="45720" rIns="91440" bIns="45720" rtlCol="0" anchor="ctr">
            <a:spAutoFit/>
          </a:bodyPr>
          <a:lstStyle/>
          <a:p>
            <a:pPr>
              <a:spcBef>
                <a:spcPct val="0"/>
              </a:spcBef>
            </a:pPr>
            <a:r>
              <a:rPr lang="en-US" sz="4000" b="1" dirty="0" smtClean="0">
                <a:solidFill>
                  <a:srgbClr val="002060"/>
                </a:solidFill>
                <a:latin typeface="DilleniaUPC" pitchFamily="18" charset="-34"/>
                <a:cs typeface="DilleniaUPC" pitchFamily="18" charset="-34"/>
              </a:rPr>
              <a:t>ROADMAP PENGENDALIAN INFLASI</a:t>
            </a:r>
            <a:endParaRPr lang="id-ID" sz="4000" b="1" dirty="0">
              <a:solidFill>
                <a:srgbClr val="002060"/>
              </a:solidFill>
              <a:latin typeface="DilleniaUPC" pitchFamily="18" charset="-34"/>
              <a:cs typeface="DilleniaUPC" pitchFamily="18" charset="-34"/>
            </a:endParaRPr>
          </a:p>
        </p:txBody>
      </p:sp>
    </p:spTree>
    <p:extLst>
      <p:ext uri="{BB962C8B-B14F-4D97-AF65-F5344CB8AC3E}">
        <p14:creationId xmlns:p14="http://schemas.microsoft.com/office/powerpoint/2010/main" val="199093509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479" y="3415556"/>
            <a:ext cx="12192000" cy="1385047"/>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5" name="Title 1"/>
          <p:cNvSpPr>
            <a:spLocks noGrp="1"/>
          </p:cNvSpPr>
          <p:nvPr>
            <p:ph type="title"/>
          </p:nvPr>
        </p:nvSpPr>
        <p:spPr>
          <a:xfrm>
            <a:off x="7194176" y="3875169"/>
            <a:ext cx="3989295" cy="523875"/>
          </a:xfrm>
        </p:spPr>
        <p:txBody>
          <a:bodyPr>
            <a:normAutofit fontScale="90000"/>
          </a:bodyPr>
          <a:lstStyle/>
          <a:p>
            <a:pPr algn="r">
              <a:lnSpc>
                <a:spcPct val="80000"/>
              </a:lnSpc>
            </a:pPr>
            <a:r>
              <a:rPr lang="id-ID" sz="5400" b="1" dirty="0" smtClean="0">
                <a:solidFill>
                  <a:schemeClr val="tx1"/>
                </a:solidFill>
                <a:latin typeface="Agency FB" panose="020B0503020202020204" pitchFamily="34" charset="0"/>
              </a:rPr>
              <a:t>TERIMA KASIH</a:t>
            </a:r>
            <a:endParaRPr lang="en-US" sz="5400" b="1" dirty="0">
              <a:solidFill>
                <a:schemeClr val="tx1"/>
              </a:solidFill>
              <a:latin typeface="Agency FB" panose="020B0503020202020204" pitchFamily="34" charset="0"/>
            </a:endParaRPr>
          </a:p>
        </p:txBody>
      </p:sp>
      <p:sp>
        <p:nvSpPr>
          <p:cNvPr id="2" name="Rectangle 1"/>
          <p:cNvSpPr/>
          <p:nvPr/>
        </p:nvSpPr>
        <p:spPr>
          <a:xfrm>
            <a:off x="8647816" y="5085489"/>
            <a:ext cx="2634054" cy="355482"/>
          </a:xfrm>
          <a:prstGeom prst="rect">
            <a:avLst/>
          </a:prstGeom>
        </p:spPr>
        <p:txBody>
          <a:bodyPr wrap="none">
            <a:spAutoFit/>
          </a:bodyPr>
          <a:lstStyle/>
          <a:p>
            <a:pPr lvl="0" algn="r" defTabSz="1219170">
              <a:lnSpc>
                <a:spcPct val="90000"/>
              </a:lnSpc>
              <a:spcBef>
                <a:spcPct val="0"/>
              </a:spcBef>
              <a:defRPr/>
            </a:pPr>
            <a:r>
              <a:rPr lang="id-ID" b="1" dirty="0" smtClean="0">
                <a:latin typeface="Agency FB" panose="020B0503020202020204" pitchFamily="34" charset="0"/>
              </a:rPr>
              <a:t>SEKRETARIAT POKJANAS TPID</a:t>
            </a:r>
            <a:endParaRPr lang="id-ID" sz="1600" b="1" dirty="0">
              <a:latin typeface="Agency FB" panose="020B0503020202020204" pitchFamily="34" charset="0"/>
            </a:endParaRPr>
          </a:p>
        </p:txBody>
      </p:sp>
      <p:pic>
        <p:nvPicPr>
          <p:cNvPr id="32770" name="Picture 2" descr="http://www.clker.com/cliparts/2/e/0/7/12422395911228769102Copyright_thin.svg.me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9844727" y="5367641"/>
            <a:ext cx="199135" cy="19913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0016966" y="5320137"/>
            <a:ext cx="1245854" cy="313932"/>
          </a:xfrm>
          <a:prstGeom prst="rect">
            <a:avLst/>
          </a:prstGeom>
        </p:spPr>
        <p:txBody>
          <a:bodyPr wrap="none">
            <a:spAutoFit/>
          </a:bodyPr>
          <a:lstStyle/>
          <a:p>
            <a:pPr lvl="0" algn="ctr" defTabSz="1219170">
              <a:lnSpc>
                <a:spcPct val="90000"/>
              </a:lnSpc>
              <a:spcBef>
                <a:spcPct val="0"/>
              </a:spcBef>
              <a:defRPr/>
            </a:pPr>
            <a:r>
              <a:rPr lang="id-ID" sz="1600" dirty="0" smtClean="0">
                <a:latin typeface="Agency FB" panose="020B0503020202020204" pitchFamily="34" charset="0"/>
              </a:rPr>
              <a:t>COPYRIGHT 2016</a:t>
            </a:r>
            <a:endParaRPr lang="id-ID" sz="1400" dirty="0">
              <a:latin typeface="Agency FB" panose="020B0503020202020204" pitchFamily="34" charset="0"/>
            </a:endParaRPr>
          </a:p>
        </p:txBody>
      </p:sp>
      <p:sp>
        <p:nvSpPr>
          <p:cNvPr id="3" name="Slide Number Placeholder 2"/>
          <p:cNvSpPr>
            <a:spLocks noGrp="1"/>
          </p:cNvSpPr>
          <p:nvPr>
            <p:ph type="sldNum" sz="quarter" idx="12"/>
          </p:nvPr>
        </p:nvSpPr>
        <p:spPr/>
        <p:txBody>
          <a:bodyPr/>
          <a:lstStyle/>
          <a:p>
            <a:fld id="{7D08530B-D843-4B68-A89E-667FFE5D1D6F}" type="slidenum">
              <a:rPr lang="en-US" smtClean="0"/>
              <a:t>46</a:t>
            </a:fld>
            <a:endParaRPr lang="en-US"/>
          </a:p>
        </p:txBody>
      </p:sp>
    </p:spTree>
    <p:extLst>
      <p:ext uri="{BB962C8B-B14F-4D97-AF65-F5344CB8AC3E}">
        <p14:creationId xmlns:p14="http://schemas.microsoft.com/office/powerpoint/2010/main" val="3742931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113520" y="198438"/>
            <a:ext cx="2773680" cy="365125"/>
          </a:xfrm>
        </p:spPr>
        <p:txBody>
          <a:bodyPr/>
          <a:lstStyle/>
          <a:p>
            <a:fld id="{4B585D86-0C40-4A6D-B8BC-4DE78E43623A}" type="slidenum">
              <a:rPr lang="en-US" sz="1600" b="1"/>
              <a:pPr/>
              <a:t>5</a:t>
            </a:fld>
            <a:endParaRPr lang="en-US" sz="1600" b="1"/>
          </a:p>
        </p:txBody>
      </p:sp>
      <p:grpSp>
        <p:nvGrpSpPr>
          <p:cNvPr id="2" name="Group 1"/>
          <p:cNvGrpSpPr/>
          <p:nvPr/>
        </p:nvGrpSpPr>
        <p:grpSpPr>
          <a:xfrm>
            <a:off x="228600" y="1097280"/>
            <a:ext cx="9220200" cy="381000"/>
            <a:chOff x="76200" y="1097280"/>
            <a:chExt cx="9220200" cy="381000"/>
          </a:xfrm>
        </p:grpSpPr>
        <p:sp>
          <p:nvSpPr>
            <p:cNvPr id="24" name="Pentagon 23"/>
            <p:cNvSpPr/>
            <p:nvPr/>
          </p:nvSpPr>
          <p:spPr>
            <a:xfrm>
              <a:off x="5867400" y="1097280"/>
              <a:ext cx="3429000" cy="381000"/>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2014</a:t>
              </a:r>
            </a:p>
          </p:txBody>
        </p:sp>
        <p:sp>
          <p:nvSpPr>
            <p:cNvPr id="25" name="Pentagon 24"/>
            <p:cNvSpPr/>
            <p:nvPr/>
          </p:nvSpPr>
          <p:spPr>
            <a:xfrm>
              <a:off x="2895600" y="1097280"/>
              <a:ext cx="3352800" cy="381000"/>
            </a:xfrm>
            <a:prstGeom prst="homePlat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001236"/>
                  </a:solidFill>
                </a:rPr>
                <a:t>2013</a:t>
              </a:r>
            </a:p>
          </p:txBody>
        </p:sp>
        <p:sp>
          <p:nvSpPr>
            <p:cNvPr id="26" name="Pentagon 25"/>
            <p:cNvSpPr/>
            <p:nvPr/>
          </p:nvSpPr>
          <p:spPr>
            <a:xfrm>
              <a:off x="76200" y="1097280"/>
              <a:ext cx="3219450" cy="381000"/>
            </a:xfrm>
            <a:prstGeom prst="homePlate">
              <a:avLst/>
            </a:prstGeom>
            <a:solidFill>
              <a:srgbClr val="0043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2012</a:t>
              </a:r>
            </a:p>
          </p:txBody>
        </p:sp>
      </p:grpSp>
      <p:graphicFrame>
        <p:nvGraphicFramePr>
          <p:cNvPr id="27" name="Table 26"/>
          <p:cNvGraphicFramePr>
            <a:graphicFrameLocks noGrp="1"/>
          </p:cNvGraphicFramePr>
          <p:nvPr>
            <p:extLst/>
          </p:nvPr>
        </p:nvGraphicFramePr>
        <p:xfrm>
          <a:off x="228600" y="1478280"/>
          <a:ext cx="3026764" cy="4815840"/>
        </p:xfrm>
        <a:graphic>
          <a:graphicData uri="http://schemas.openxmlformats.org/drawingml/2006/table">
            <a:tbl>
              <a:tblPr firstRow="1" bandRow="1">
                <a:tableStyleId>{616DA210-FB5B-4158-B5E0-FEB733F419BA}</a:tableStyleId>
              </a:tblPr>
              <a:tblGrid>
                <a:gridCol w="3026764">
                  <a:extLst>
                    <a:ext uri="{9D8B030D-6E8A-4147-A177-3AD203B41FA5}">
                      <a16:colId xmlns="" xmlns:a16="http://schemas.microsoft.com/office/drawing/2014/main" val="20000"/>
                    </a:ext>
                  </a:extLst>
                </a:gridCol>
              </a:tblGrid>
              <a:tr h="1341120">
                <a:tc>
                  <a:txBody>
                    <a:bodyPr/>
                    <a:lstStyle/>
                    <a:p>
                      <a:r>
                        <a:rPr lang="id-ID" sz="1400" dirty="0" smtClean="0"/>
                        <a:t>Kesepakatan </a:t>
                      </a:r>
                      <a:r>
                        <a:rPr lang="en-US" sz="1400" dirty="0" err="1" smtClean="0"/>
                        <a:t>Rakornas</a:t>
                      </a:r>
                      <a:r>
                        <a:rPr lang="en-US" sz="1400" dirty="0" smtClean="0"/>
                        <a:t> 2012: </a:t>
                      </a:r>
                      <a:r>
                        <a:rPr lang="en-US" sz="1400" b="0" dirty="0" err="1" smtClean="0"/>
                        <a:t>Memperluas</a:t>
                      </a:r>
                      <a:r>
                        <a:rPr lang="en-US" sz="1400" b="0" dirty="0" smtClean="0"/>
                        <a:t> </a:t>
                      </a:r>
                      <a:r>
                        <a:rPr lang="en-US" sz="1400" b="0" dirty="0" err="1" smtClean="0"/>
                        <a:t>akses</a:t>
                      </a:r>
                      <a:r>
                        <a:rPr lang="en-US" sz="1400" b="0" dirty="0" smtClean="0"/>
                        <a:t> </a:t>
                      </a:r>
                      <a:r>
                        <a:rPr lang="en-US" sz="1400" b="0" dirty="0" err="1" smtClean="0"/>
                        <a:t>informasi</a:t>
                      </a:r>
                      <a:r>
                        <a:rPr lang="en-US" sz="1400" b="0" dirty="0" smtClean="0"/>
                        <a:t> </a:t>
                      </a:r>
                      <a:r>
                        <a:rPr lang="en-US" sz="1400" b="0" dirty="0" err="1" smtClean="0"/>
                        <a:t>harga</a:t>
                      </a:r>
                      <a:r>
                        <a:rPr lang="en-US" sz="1400" b="0" dirty="0" smtClean="0"/>
                        <a:t> </a:t>
                      </a:r>
                      <a:r>
                        <a:rPr lang="en-US" sz="1400" b="0" dirty="0" err="1" smtClean="0"/>
                        <a:t>pangan</a:t>
                      </a:r>
                      <a:r>
                        <a:rPr lang="en-US" sz="1400" b="0" dirty="0" smtClean="0"/>
                        <a:t> di </a:t>
                      </a:r>
                      <a:r>
                        <a:rPr lang="en-US" sz="1400" b="0" dirty="0" err="1" smtClean="0"/>
                        <a:t>daerah</a:t>
                      </a:r>
                      <a:r>
                        <a:rPr lang="en-US" sz="1400" b="0" dirty="0" smtClean="0"/>
                        <a:t> </a:t>
                      </a:r>
                      <a:r>
                        <a:rPr lang="en-US" sz="1400" b="0" dirty="0" err="1" smtClean="0"/>
                        <a:t>sebagai</a:t>
                      </a:r>
                      <a:r>
                        <a:rPr lang="en-US" sz="1400" b="0" dirty="0" smtClean="0"/>
                        <a:t> </a:t>
                      </a:r>
                      <a:r>
                        <a:rPr lang="en-US" sz="1400" b="0" dirty="0" err="1" smtClean="0"/>
                        <a:t>upaya</a:t>
                      </a:r>
                      <a:r>
                        <a:rPr lang="en-US" sz="1400" b="0" dirty="0" smtClean="0"/>
                        <a:t> </a:t>
                      </a:r>
                      <a:r>
                        <a:rPr lang="en-US" sz="1400" b="0" dirty="0" err="1" smtClean="0"/>
                        <a:t>menjaga</a:t>
                      </a:r>
                      <a:r>
                        <a:rPr lang="en-US" sz="1400" b="0" dirty="0" smtClean="0"/>
                        <a:t> </a:t>
                      </a:r>
                      <a:r>
                        <a:rPr lang="en-US" sz="1400" b="0" dirty="0" err="1" smtClean="0"/>
                        <a:t>stabilitas</a:t>
                      </a:r>
                      <a:r>
                        <a:rPr lang="en-US" sz="1400" b="0" dirty="0" smtClean="0"/>
                        <a:t> </a:t>
                      </a:r>
                      <a:r>
                        <a:rPr lang="en-US" sz="1400" b="0" dirty="0" err="1" smtClean="0"/>
                        <a:t>harga</a:t>
                      </a:r>
                      <a:r>
                        <a:rPr lang="en-US" sz="1400" b="0" dirty="0" smtClean="0"/>
                        <a:t> </a:t>
                      </a:r>
                      <a:r>
                        <a:rPr lang="en-US" sz="1400" b="0" dirty="0" err="1" smtClean="0"/>
                        <a:t>melalui</a:t>
                      </a:r>
                      <a:r>
                        <a:rPr lang="en-US" sz="1400" b="0" dirty="0" smtClean="0"/>
                        <a:t> </a:t>
                      </a:r>
                      <a:r>
                        <a:rPr lang="en-US" sz="1400" b="0" dirty="0" err="1" smtClean="0"/>
                        <a:t>pengembangan</a:t>
                      </a:r>
                      <a:r>
                        <a:rPr lang="en-US" sz="1400" b="0" dirty="0" smtClean="0"/>
                        <a:t> PIHPS.</a:t>
                      </a:r>
                      <a:endParaRPr lang="id-ID" sz="1400" b="0" dirty="0" smtClean="0"/>
                    </a:p>
                    <a:p>
                      <a:endParaRPr lang="id-ID" sz="1400" b="0" dirty="0" smtClean="0"/>
                    </a:p>
                  </a:txBody>
                  <a:tcPr/>
                </a:tc>
                <a:extLst>
                  <a:ext uri="{0D108BD9-81ED-4DB2-BD59-A6C34878D82A}">
                    <a16:rowId xmlns="" xmlns:a16="http://schemas.microsoft.com/office/drawing/2014/main" val="10000"/>
                  </a:ext>
                </a:extLst>
              </a:tr>
              <a:tr h="2026920">
                <a:tc>
                  <a:txBody>
                    <a:bodyPr/>
                    <a:lstStyle/>
                    <a:p>
                      <a:r>
                        <a:rPr lang="id-ID" sz="1400" dirty="0" smtClean="0"/>
                        <a:t>Pokjanas</a:t>
                      </a:r>
                      <a:r>
                        <a:rPr lang="id-ID" sz="1400" baseline="0" dirty="0" smtClean="0"/>
                        <a:t> TPID dan TPI melakukan pembahasan (</a:t>
                      </a:r>
                      <a:r>
                        <a:rPr lang="id-ID" sz="1400" dirty="0" smtClean="0"/>
                        <a:t>Kementerian Perdagangan dan Kementerian Pertanian, dengan melibatkan juga BPS), </a:t>
                      </a:r>
                      <a:r>
                        <a:rPr lang="id-ID" sz="1400" baseline="0" dirty="0" smtClean="0"/>
                        <a:t>dan melakukan kunjungan ke Sentra Pelayanan Agrobisnis , serta </a:t>
                      </a:r>
                    </a:p>
                    <a:p>
                      <a:r>
                        <a:rPr lang="en-US" sz="1400" dirty="0" err="1" smtClean="0"/>
                        <a:t>melakukan</a:t>
                      </a:r>
                      <a:r>
                        <a:rPr lang="en-US" sz="1400" dirty="0" smtClean="0"/>
                        <a:t> </a:t>
                      </a:r>
                      <a:r>
                        <a:rPr lang="id-ID" sz="1400" dirty="0" smtClean="0"/>
                        <a:t>diskusi</a:t>
                      </a:r>
                      <a:r>
                        <a:rPr lang="id-ID" sz="1400" baseline="0" dirty="0" smtClean="0"/>
                        <a:t> </a:t>
                      </a:r>
                      <a:r>
                        <a:rPr lang="en-US" sz="1400" dirty="0" err="1" smtClean="0"/>
                        <a:t>dengan</a:t>
                      </a:r>
                      <a:r>
                        <a:rPr lang="en-US" sz="1400" dirty="0" smtClean="0"/>
                        <a:t> </a:t>
                      </a:r>
                      <a:r>
                        <a:rPr lang="en-US" sz="1400" dirty="0" err="1" smtClean="0"/>
                        <a:t>perwakilan</a:t>
                      </a:r>
                      <a:r>
                        <a:rPr lang="en-US" sz="1400" dirty="0" smtClean="0"/>
                        <a:t> operator </a:t>
                      </a:r>
                      <a:r>
                        <a:rPr lang="en-US" sz="1400" dirty="0" err="1" smtClean="0"/>
                        <a:t>selular</a:t>
                      </a:r>
                      <a:r>
                        <a:rPr lang="en-US" sz="1400" dirty="0" smtClean="0"/>
                        <a:t> </a:t>
                      </a:r>
                      <a:r>
                        <a:rPr lang="id-ID" sz="1400" dirty="0" smtClean="0"/>
                        <a:t>&amp; </a:t>
                      </a:r>
                      <a:r>
                        <a:rPr lang="en-US" sz="1400" dirty="0" smtClean="0"/>
                        <a:t>media </a:t>
                      </a:r>
                      <a:r>
                        <a:rPr lang="en-US" sz="1400" dirty="0" err="1" smtClean="0"/>
                        <a:t>terkait</a:t>
                      </a:r>
                      <a:r>
                        <a:rPr lang="en-US" sz="1400" dirty="0" smtClean="0"/>
                        <a:t> </a:t>
                      </a:r>
                      <a:r>
                        <a:rPr lang="en-US" sz="1400" dirty="0" err="1" smtClean="0"/>
                        <a:t>dengan</a:t>
                      </a:r>
                      <a:r>
                        <a:rPr lang="en-US" sz="1400" dirty="0" smtClean="0"/>
                        <a:t> program </a:t>
                      </a:r>
                      <a:r>
                        <a:rPr lang="en-US" sz="1400" dirty="0" err="1" smtClean="0"/>
                        <a:t>diseminasi</a:t>
                      </a:r>
                      <a:r>
                        <a:rPr lang="en-US" sz="1400" dirty="0" smtClean="0"/>
                        <a:t> PIHPS</a:t>
                      </a:r>
                      <a:r>
                        <a:rPr lang="id-ID" sz="1400" dirty="0" smtClean="0"/>
                        <a:t>.</a:t>
                      </a:r>
                      <a:endParaRPr lang="en-US" sz="1400" b="0" dirty="0"/>
                    </a:p>
                  </a:txBody>
                  <a:tcPr/>
                </a:tc>
                <a:extLst>
                  <a:ext uri="{0D108BD9-81ED-4DB2-BD59-A6C34878D82A}">
                    <a16:rowId xmlns="" xmlns:a16="http://schemas.microsoft.com/office/drawing/2014/main" val="10001"/>
                  </a:ext>
                </a:extLst>
              </a:tr>
              <a:tr h="532818">
                <a:tc>
                  <a:txBody>
                    <a:bodyPr/>
                    <a:lstStyle/>
                    <a:p>
                      <a:r>
                        <a:rPr lang="id-ID" sz="1400" dirty="0" smtClean="0"/>
                        <a:t>TPID (difasilitasi</a:t>
                      </a:r>
                      <a:r>
                        <a:rPr lang="id-ID" sz="1400" baseline="0" dirty="0" smtClean="0"/>
                        <a:t> oleh </a:t>
                      </a:r>
                      <a:r>
                        <a:rPr lang="en-US" sz="1400" dirty="0" err="1" smtClean="0"/>
                        <a:t>KPw</a:t>
                      </a:r>
                      <a:r>
                        <a:rPr lang="id-ID" sz="1400" dirty="0" smtClean="0"/>
                        <a:t>D</a:t>
                      </a:r>
                      <a:r>
                        <a:rPr lang="en-US" sz="1400" dirty="0" smtClean="0"/>
                        <a:t>N</a:t>
                      </a:r>
                      <a:r>
                        <a:rPr lang="id-ID" sz="1400" dirty="0" smtClean="0"/>
                        <a:t>)</a:t>
                      </a:r>
                      <a:r>
                        <a:rPr lang="en-US" sz="1400" dirty="0" smtClean="0"/>
                        <a:t> </a:t>
                      </a:r>
                      <a:r>
                        <a:rPr lang="en-US" sz="1400" dirty="0" err="1" smtClean="0"/>
                        <a:t>mengembangkan</a:t>
                      </a:r>
                      <a:r>
                        <a:rPr lang="en-US" sz="1400" dirty="0" smtClean="0"/>
                        <a:t> PIHPS</a:t>
                      </a:r>
                      <a:r>
                        <a:rPr lang="id-ID" sz="1400" dirty="0" smtClean="0"/>
                        <a:t>,</a:t>
                      </a:r>
                      <a:r>
                        <a:rPr lang="id-ID" sz="1400" baseline="0" dirty="0" smtClean="0"/>
                        <a:t> sesuai </a:t>
                      </a:r>
                      <a:r>
                        <a:rPr lang="en-US" sz="1400" baseline="0" dirty="0" err="1" smtClean="0"/>
                        <a:t>dengan</a:t>
                      </a:r>
                      <a:r>
                        <a:rPr lang="en-US" sz="1400" baseline="0" dirty="0" smtClean="0"/>
                        <a:t> </a:t>
                      </a:r>
                      <a:r>
                        <a:rPr lang="en-US" sz="1400" baseline="0" dirty="0" err="1" smtClean="0"/>
                        <a:t>kapasitas</a:t>
                      </a:r>
                      <a:r>
                        <a:rPr lang="en-US" sz="1400" baseline="0" dirty="0" smtClean="0"/>
                        <a:t> </a:t>
                      </a:r>
                      <a:r>
                        <a:rPr lang="en-US" sz="1400" baseline="0" dirty="0" err="1" smtClean="0"/>
                        <a:t>daerah</a:t>
                      </a:r>
                      <a:r>
                        <a:rPr lang="id-ID" sz="1400" baseline="0" dirty="0" smtClean="0"/>
                        <a:t>.</a:t>
                      </a:r>
                    </a:p>
                  </a:txBody>
                  <a:tcPr/>
                </a:tc>
                <a:extLst>
                  <a:ext uri="{0D108BD9-81ED-4DB2-BD59-A6C34878D82A}">
                    <a16:rowId xmlns="" xmlns:a16="http://schemas.microsoft.com/office/drawing/2014/main" val="10002"/>
                  </a:ext>
                </a:extLst>
              </a:tr>
              <a:tr h="517927">
                <a:tc>
                  <a:txBody>
                    <a:bodyPr/>
                    <a:lstStyle/>
                    <a:p>
                      <a:r>
                        <a:rPr lang="en-US" sz="1300" dirty="0" smtClean="0"/>
                        <a:t>DKEM </a:t>
                      </a:r>
                      <a:r>
                        <a:rPr lang="en-US" sz="1300" dirty="0" err="1" smtClean="0"/>
                        <a:t>membuat</a:t>
                      </a:r>
                      <a:r>
                        <a:rPr lang="en-US" sz="1300" dirty="0" smtClean="0"/>
                        <a:t> </a:t>
                      </a:r>
                      <a:r>
                        <a:rPr lang="en-US" sz="1300" dirty="0" err="1" smtClean="0"/>
                        <a:t>kajian</a:t>
                      </a:r>
                      <a:r>
                        <a:rPr lang="en-US" sz="1300" dirty="0" smtClean="0"/>
                        <a:t>  </a:t>
                      </a:r>
                      <a:r>
                        <a:rPr lang="en-US" sz="1300" dirty="0" err="1" smtClean="0"/>
                        <a:t>pengembangan</a:t>
                      </a:r>
                      <a:r>
                        <a:rPr lang="en-US" sz="1300" dirty="0" smtClean="0"/>
                        <a:t> PIHPS di DKI Jakarta </a:t>
                      </a:r>
                      <a:r>
                        <a:rPr lang="id-ID" sz="1300" dirty="0" smtClean="0"/>
                        <a:t>(</a:t>
                      </a:r>
                      <a:r>
                        <a:rPr lang="en-US" sz="1300" dirty="0" smtClean="0"/>
                        <a:t>pilot project</a:t>
                      </a:r>
                      <a:r>
                        <a:rPr lang="id-ID" sz="1300" dirty="0" smtClean="0"/>
                        <a:t>)</a:t>
                      </a:r>
                      <a:r>
                        <a:rPr lang="en-US" sz="1300" dirty="0" smtClean="0"/>
                        <a:t>.</a:t>
                      </a:r>
                      <a:endParaRPr lang="id-ID" sz="1300" dirty="0" smtClean="0"/>
                    </a:p>
                    <a:p>
                      <a:endParaRPr lang="id-ID" sz="1300" dirty="0" smtClean="0"/>
                    </a:p>
                  </a:txBody>
                  <a:tcPr/>
                </a:tc>
                <a:extLst>
                  <a:ext uri="{0D108BD9-81ED-4DB2-BD59-A6C34878D82A}">
                    <a16:rowId xmlns="" xmlns:a16="http://schemas.microsoft.com/office/drawing/2014/main" val="10003"/>
                  </a:ext>
                </a:extLst>
              </a:tr>
            </a:tbl>
          </a:graphicData>
        </a:graphic>
      </p:graphicFrame>
      <p:graphicFrame>
        <p:nvGraphicFramePr>
          <p:cNvPr id="28" name="Table 27"/>
          <p:cNvGraphicFramePr>
            <a:graphicFrameLocks noGrp="1"/>
          </p:cNvGraphicFramePr>
          <p:nvPr>
            <p:extLst/>
          </p:nvPr>
        </p:nvGraphicFramePr>
        <p:xfrm>
          <a:off x="3238500" y="1478280"/>
          <a:ext cx="3009900" cy="4800600"/>
        </p:xfrm>
        <a:graphic>
          <a:graphicData uri="http://schemas.openxmlformats.org/drawingml/2006/table">
            <a:tbl>
              <a:tblPr firstRow="1" bandRow="1">
                <a:tableStyleId>{616DA210-FB5B-4158-B5E0-FEB733F419BA}</a:tableStyleId>
              </a:tblPr>
              <a:tblGrid>
                <a:gridCol w="3009900">
                  <a:extLst>
                    <a:ext uri="{9D8B030D-6E8A-4147-A177-3AD203B41FA5}">
                      <a16:colId xmlns="" xmlns:a16="http://schemas.microsoft.com/office/drawing/2014/main" val="20000"/>
                    </a:ext>
                  </a:extLst>
                </a:gridCol>
              </a:tblGrid>
              <a:tr h="370840">
                <a:tc>
                  <a:txBody>
                    <a:bodyPr/>
                    <a:lstStyle/>
                    <a:p>
                      <a:r>
                        <a:rPr lang="id-ID" sz="1400" dirty="0" smtClean="0"/>
                        <a:t>Kesepakatan </a:t>
                      </a:r>
                      <a:r>
                        <a:rPr lang="en-US" sz="1400" dirty="0" err="1" smtClean="0"/>
                        <a:t>Rakornas</a:t>
                      </a:r>
                      <a:r>
                        <a:rPr lang="en-US" sz="1400" dirty="0" smtClean="0"/>
                        <a:t> 2013: </a:t>
                      </a:r>
                      <a:r>
                        <a:rPr lang="en-US" sz="1400" b="0" dirty="0" err="1" smtClean="0"/>
                        <a:t>Meningkatkan</a:t>
                      </a:r>
                      <a:r>
                        <a:rPr lang="en-US" sz="1400" b="0" dirty="0" smtClean="0"/>
                        <a:t> </a:t>
                      </a:r>
                      <a:r>
                        <a:rPr lang="en-US" sz="1400" b="0" dirty="0" err="1" smtClean="0"/>
                        <a:t>ketersediaan</a:t>
                      </a:r>
                      <a:r>
                        <a:rPr lang="en-US" sz="1400" b="0" dirty="0" smtClean="0"/>
                        <a:t> </a:t>
                      </a:r>
                      <a:r>
                        <a:rPr lang="id-ID" sz="1400" b="0" dirty="0" smtClean="0"/>
                        <a:t>&amp;</a:t>
                      </a:r>
                      <a:r>
                        <a:rPr lang="id-ID" sz="1400" b="0" baseline="0" dirty="0" smtClean="0"/>
                        <a:t> </a:t>
                      </a:r>
                      <a:r>
                        <a:rPr lang="en-US" sz="1400" b="0" dirty="0" err="1" smtClean="0"/>
                        <a:t>kemudahan</a:t>
                      </a:r>
                      <a:r>
                        <a:rPr lang="en-US" sz="1400" b="0" dirty="0" smtClean="0"/>
                        <a:t> </a:t>
                      </a:r>
                      <a:r>
                        <a:rPr lang="en-US" sz="1400" b="0" dirty="0" err="1" smtClean="0"/>
                        <a:t>akses</a:t>
                      </a:r>
                      <a:r>
                        <a:rPr lang="en-US" sz="1400" b="0" dirty="0" smtClean="0"/>
                        <a:t> data </a:t>
                      </a:r>
                      <a:r>
                        <a:rPr lang="id-ID" sz="1400" b="0" dirty="0" smtClean="0"/>
                        <a:t>&amp;</a:t>
                      </a:r>
                      <a:r>
                        <a:rPr lang="en-US" sz="1400" b="0" dirty="0" smtClean="0"/>
                        <a:t> </a:t>
                      </a:r>
                      <a:r>
                        <a:rPr lang="en-US" sz="1400" b="0" dirty="0" err="1" smtClean="0"/>
                        <a:t>informasi</a:t>
                      </a:r>
                      <a:r>
                        <a:rPr lang="en-US" sz="1400" b="0" dirty="0" smtClean="0"/>
                        <a:t> </a:t>
                      </a:r>
                      <a:r>
                        <a:rPr lang="en-US" sz="1400" b="0" dirty="0" err="1" smtClean="0"/>
                        <a:t>neraca</a:t>
                      </a:r>
                      <a:r>
                        <a:rPr lang="en-US" sz="1400" b="0" dirty="0" smtClean="0"/>
                        <a:t> </a:t>
                      </a:r>
                      <a:r>
                        <a:rPr lang="en-US" sz="1400" b="0" dirty="0" err="1" smtClean="0"/>
                        <a:t>pangan</a:t>
                      </a:r>
                      <a:r>
                        <a:rPr lang="en-US" sz="1400" b="0" dirty="0" smtClean="0"/>
                        <a:t> </a:t>
                      </a:r>
                      <a:r>
                        <a:rPr lang="en-US" sz="1400" b="0" dirty="0" err="1" smtClean="0"/>
                        <a:t>daerah</a:t>
                      </a:r>
                      <a:r>
                        <a:rPr lang="en-US" sz="1400" b="0" dirty="0" smtClean="0"/>
                        <a:t> </a:t>
                      </a:r>
                      <a:r>
                        <a:rPr lang="en-US" sz="1400" b="0" dirty="0" err="1" smtClean="0"/>
                        <a:t>secara</a:t>
                      </a:r>
                      <a:r>
                        <a:rPr lang="en-US" sz="1400" b="0" dirty="0" smtClean="0"/>
                        <a:t> </a:t>
                      </a:r>
                      <a:r>
                        <a:rPr lang="en-US" sz="1400" b="0" dirty="0" err="1" smtClean="0"/>
                        <a:t>berkesinambungan</a:t>
                      </a:r>
                      <a:r>
                        <a:rPr lang="en-US" sz="1400" b="0" dirty="0" smtClean="0"/>
                        <a:t> </a:t>
                      </a:r>
                      <a:r>
                        <a:rPr lang="id-ID" sz="1400" b="0" dirty="0" smtClean="0"/>
                        <a:t>&amp;</a:t>
                      </a:r>
                      <a:r>
                        <a:rPr lang="en-US" sz="1400" b="0" dirty="0" smtClean="0"/>
                        <a:t> </a:t>
                      </a:r>
                      <a:r>
                        <a:rPr lang="en-US" sz="1400" b="0" dirty="0" err="1" smtClean="0"/>
                        <a:t>terintegrasi</a:t>
                      </a:r>
                      <a:r>
                        <a:rPr lang="en-US" sz="1400" b="0" dirty="0" smtClean="0"/>
                        <a:t> </a:t>
                      </a:r>
                      <a:r>
                        <a:rPr lang="en-US" sz="1400" b="0" dirty="0" err="1" smtClean="0"/>
                        <a:t>dengan</a:t>
                      </a:r>
                      <a:r>
                        <a:rPr lang="en-US" sz="1400" b="0" dirty="0" smtClean="0"/>
                        <a:t> PIHPS.</a:t>
                      </a:r>
                      <a:endParaRPr lang="id-ID" sz="1400" b="0" dirty="0" smtClean="0"/>
                    </a:p>
                  </a:txBody>
                  <a:tcPr/>
                </a:tc>
                <a:extLst>
                  <a:ext uri="{0D108BD9-81ED-4DB2-BD59-A6C34878D82A}">
                    <a16:rowId xmlns="" xmlns:a16="http://schemas.microsoft.com/office/drawing/2014/main" val="10000"/>
                  </a:ext>
                </a:extLst>
              </a:tr>
              <a:tr h="370840">
                <a:tc>
                  <a:txBody>
                    <a:bodyPr/>
                    <a:lstStyle/>
                    <a:p>
                      <a:pPr marL="0" marR="0" lvl="0" indent="0" algn="l" defTabSz="914220" rtl="0" eaLnBrk="1" fontAlgn="auto" latinLnBrk="0" hangingPunct="1">
                        <a:lnSpc>
                          <a:spcPct val="100000"/>
                        </a:lnSpc>
                        <a:spcBef>
                          <a:spcPts val="0"/>
                        </a:spcBef>
                        <a:spcAft>
                          <a:spcPts val="0"/>
                        </a:spcAft>
                        <a:buClrTx/>
                        <a:buSzTx/>
                        <a:buFontTx/>
                        <a:buNone/>
                        <a:tabLst/>
                        <a:defRPr/>
                      </a:pPr>
                      <a:r>
                        <a:rPr lang="id-ID" sz="1400" dirty="0" smtClean="0"/>
                        <a:t>Rakor</a:t>
                      </a:r>
                      <a:r>
                        <a:rPr lang="id-ID" sz="1400" baseline="0" dirty="0" smtClean="0"/>
                        <a:t> Pusat Daerah </a:t>
                      </a:r>
                      <a:r>
                        <a:rPr lang="en-US" sz="1400" dirty="0" smtClean="0"/>
                        <a:t>TPID </a:t>
                      </a:r>
                      <a:r>
                        <a:rPr lang="id-ID" sz="1400" dirty="0" smtClean="0"/>
                        <a:t>di 3 wilayah </a:t>
                      </a:r>
                      <a:r>
                        <a:rPr lang="en-US" sz="1400" dirty="0" err="1" smtClean="0"/>
                        <a:t>sepakat</a:t>
                      </a:r>
                      <a:r>
                        <a:rPr lang="en-US" sz="1400" dirty="0" smtClean="0"/>
                        <a:t> </a:t>
                      </a:r>
                      <a:r>
                        <a:rPr lang="en-US" sz="1400" dirty="0" err="1" smtClean="0"/>
                        <a:t>untuk</a:t>
                      </a:r>
                      <a:r>
                        <a:rPr lang="id-ID" sz="1400" baseline="0" dirty="0" smtClean="0"/>
                        <a:t> </a:t>
                      </a:r>
                      <a:r>
                        <a:rPr lang="en-US" sz="1400" dirty="0" err="1" smtClean="0"/>
                        <a:t>melaksanakan</a:t>
                      </a:r>
                      <a:r>
                        <a:rPr lang="en-US" sz="1400" dirty="0" smtClean="0"/>
                        <a:t> </a:t>
                      </a:r>
                      <a:r>
                        <a:rPr lang="en-US" sz="1400" dirty="0" err="1" smtClean="0"/>
                        <a:t>tahapan</a:t>
                      </a:r>
                      <a:r>
                        <a:rPr lang="en-US" sz="1400" dirty="0" smtClean="0"/>
                        <a:t> </a:t>
                      </a:r>
                      <a:r>
                        <a:rPr lang="en-US" sz="1400" dirty="0" err="1" smtClean="0"/>
                        <a:t>pengembangan</a:t>
                      </a:r>
                      <a:r>
                        <a:rPr lang="en-US" sz="1400" dirty="0" smtClean="0"/>
                        <a:t> PIHPS </a:t>
                      </a:r>
                      <a:r>
                        <a:rPr lang="en-US" sz="1400" dirty="0" err="1" smtClean="0"/>
                        <a:t>sesuai</a:t>
                      </a:r>
                      <a:r>
                        <a:rPr lang="en-US" sz="1400" dirty="0" smtClean="0"/>
                        <a:t> </a:t>
                      </a:r>
                      <a:r>
                        <a:rPr lang="en-US" sz="1400" dirty="0" err="1" smtClean="0"/>
                        <a:t>dengan</a:t>
                      </a:r>
                      <a:r>
                        <a:rPr lang="en-US" sz="1400" dirty="0" smtClean="0"/>
                        <a:t> </a:t>
                      </a:r>
                      <a:r>
                        <a:rPr lang="id-ID" sz="1400" dirty="0" smtClean="0"/>
                        <a:t>usulan roadmap</a:t>
                      </a:r>
                      <a:r>
                        <a:rPr lang="id-ID" sz="1400" baseline="0" dirty="0" smtClean="0"/>
                        <a:t> melalui pengembangan </a:t>
                      </a:r>
                      <a:r>
                        <a:rPr lang="id-ID" sz="1400" kern="1200" dirty="0" smtClean="0">
                          <a:effectLst/>
                        </a:rPr>
                        <a:t>data base mengacu pada kesepakatan</a:t>
                      </a:r>
                      <a:r>
                        <a:rPr lang="id-ID" sz="1400" kern="1200" baseline="0" dirty="0" smtClean="0">
                          <a:effectLst/>
                        </a:rPr>
                        <a:t> </a:t>
                      </a:r>
                      <a:r>
                        <a:rPr lang="id-ID" sz="1400" kern="1200" dirty="0" smtClean="0">
                          <a:effectLst/>
                        </a:rPr>
                        <a:t>meta data.</a:t>
                      </a:r>
                    </a:p>
                    <a:p>
                      <a:pPr marL="0" marR="0" lvl="0" indent="0" algn="l" defTabSz="914220" rtl="0" eaLnBrk="1" fontAlgn="auto" latinLnBrk="0" hangingPunct="1">
                        <a:lnSpc>
                          <a:spcPct val="100000"/>
                        </a:lnSpc>
                        <a:spcBef>
                          <a:spcPts val="0"/>
                        </a:spcBef>
                        <a:spcAft>
                          <a:spcPts val="0"/>
                        </a:spcAft>
                        <a:buClrTx/>
                        <a:buSzTx/>
                        <a:buFontTx/>
                        <a:buNone/>
                        <a:tabLst/>
                        <a:defRPr/>
                      </a:pPr>
                      <a:r>
                        <a:rPr lang="id-ID" sz="1400" kern="1200" dirty="0" smtClean="0">
                          <a:effectLst/>
                        </a:rPr>
                        <a:t>Pokjanas </a:t>
                      </a:r>
                      <a:r>
                        <a:rPr lang="id-ID" sz="1400" kern="1200" baseline="0" dirty="0" smtClean="0">
                          <a:effectLst/>
                        </a:rPr>
                        <a:t> segera mengembangkan PIHPS Nasional</a:t>
                      </a:r>
                      <a:endParaRPr lang="en-US" sz="1400" kern="1200" baseline="0" dirty="0" smtClean="0">
                        <a:effectLst/>
                      </a:endParaRPr>
                    </a:p>
                    <a:p>
                      <a:pPr marL="0" marR="0" lvl="0" indent="0" algn="l" defTabSz="914220" rtl="0" eaLnBrk="1" fontAlgn="auto" latinLnBrk="0" hangingPunct="1">
                        <a:lnSpc>
                          <a:spcPct val="100000"/>
                        </a:lnSpc>
                        <a:spcBef>
                          <a:spcPts val="0"/>
                        </a:spcBef>
                        <a:spcAft>
                          <a:spcPts val="0"/>
                        </a:spcAft>
                        <a:buClrTx/>
                        <a:buSzTx/>
                        <a:buFontTx/>
                        <a:buNone/>
                        <a:tabLst/>
                        <a:defRPr/>
                      </a:pPr>
                      <a:endParaRPr lang="en-US" sz="1400" b="0" dirty="0"/>
                    </a:p>
                  </a:txBody>
                  <a:tcPr/>
                </a:tc>
                <a:extLst>
                  <a:ext uri="{0D108BD9-81ED-4DB2-BD59-A6C34878D82A}">
                    <a16:rowId xmlns="" xmlns:a16="http://schemas.microsoft.com/office/drawing/2014/main" val="10001"/>
                  </a:ext>
                </a:extLst>
              </a:tr>
              <a:tr h="370840">
                <a:tc>
                  <a:txBody>
                    <a:bodyPr/>
                    <a:lstStyle/>
                    <a:p>
                      <a:r>
                        <a:rPr lang="id-ID" sz="1400" dirty="0" smtClean="0"/>
                        <a:t>TPID (difasilitasi oleh KPwDN) melanjutkan </a:t>
                      </a:r>
                      <a:r>
                        <a:rPr lang="en-US" sz="1400" dirty="0" smtClean="0"/>
                        <a:t>p</a:t>
                      </a:r>
                      <a:r>
                        <a:rPr lang="id-ID" sz="1400" dirty="0" smtClean="0"/>
                        <a:t>engembangan </a:t>
                      </a:r>
                      <a:r>
                        <a:rPr lang="en-US" sz="1400" dirty="0" smtClean="0"/>
                        <a:t>PIHPS</a:t>
                      </a:r>
                      <a:r>
                        <a:rPr lang="id-ID" sz="1400" dirty="0" smtClean="0"/>
                        <a:t>,</a:t>
                      </a:r>
                      <a:r>
                        <a:rPr lang="id-ID" sz="1400" baseline="0" dirty="0" smtClean="0"/>
                        <a:t> sesuai </a:t>
                      </a:r>
                      <a:r>
                        <a:rPr lang="en-US" sz="1400" baseline="0" dirty="0" err="1" smtClean="0"/>
                        <a:t>dengan</a:t>
                      </a:r>
                      <a:r>
                        <a:rPr lang="en-US" sz="1400" baseline="0" dirty="0" smtClean="0"/>
                        <a:t> </a:t>
                      </a:r>
                      <a:r>
                        <a:rPr lang="en-US" sz="1400" baseline="0" dirty="0" err="1" smtClean="0"/>
                        <a:t>kapasitas</a:t>
                      </a:r>
                      <a:r>
                        <a:rPr lang="en-US" sz="1400" baseline="0" dirty="0" smtClean="0"/>
                        <a:t> </a:t>
                      </a:r>
                      <a:r>
                        <a:rPr lang="en-US" sz="1400" baseline="0" dirty="0" err="1" smtClean="0"/>
                        <a:t>daerah</a:t>
                      </a:r>
                      <a:endParaRPr lang="en-US" sz="1400" b="0" dirty="0"/>
                    </a:p>
                  </a:txBody>
                  <a:tcPr/>
                </a:tc>
                <a:extLst>
                  <a:ext uri="{0D108BD9-81ED-4DB2-BD59-A6C34878D82A}">
                    <a16:rowId xmlns="" xmlns:a16="http://schemas.microsoft.com/office/drawing/2014/main" val="10002"/>
                  </a:ext>
                </a:extLst>
              </a:tr>
              <a:tr h="370840">
                <a:tc>
                  <a:txBody>
                    <a:bodyPr/>
                    <a:lstStyle/>
                    <a:p>
                      <a:r>
                        <a:rPr lang="en-US" sz="1300" dirty="0" smtClean="0"/>
                        <a:t>DKEM </a:t>
                      </a:r>
                      <a:r>
                        <a:rPr lang="en-US" sz="1300" dirty="0" err="1" smtClean="0"/>
                        <a:t>mengembangkan</a:t>
                      </a:r>
                      <a:r>
                        <a:rPr lang="en-US" sz="1300" dirty="0" smtClean="0"/>
                        <a:t> PIHPS di DKI Jakarta </a:t>
                      </a:r>
                      <a:r>
                        <a:rPr lang="id-ID" sz="1300" dirty="0" smtClean="0"/>
                        <a:t>(</a:t>
                      </a:r>
                      <a:r>
                        <a:rPr lang="en-US" sz="1300" dirty="0" smtClean="0"/>
                        <a:t>pilot project</a:t>
                      </a:r>
                      <a:r>
                        <a:rPr lang="id-ID" sz="1300" dirty="0" smtClean="0"/>
                        <a:t>)</a:t>
                      </a:r>
                      <a:r>
                        <a:rPr lang="en-US" sz="1300" baseline="0" dirty="0" smtClean="0"/>
                        <a:t> </a:t>
                      </a:r>
                      <a:r>
                        <a:rPr lang="en-US" sz="1300" baseline="0" dirty="0" err="1" smtClean="0"/>
                        <a:t>dan</a:t>
                      </a:r>
                      <a:r>
                        <a:rPr lang="en-US" sz="1300" baseline="0" dirty="0" smtClean="0"/>
                        <a:t> blueprint PIHPS </a:t>
                      </a:r>
                      <a:r>
                        <a:rPr lang="en-US" sz="1300" baseline="0" dirty="0" err="1" smtClean="0"/>
                        <a:t>nasional</a:t>
                      </a:r>
                      <a:r>
                        <a:rPr lang="en-US" sz="1300" baseline="0" dirty="0" smtClean="0"/>
                        <a:t>.</a:t>
                      </a:r>
                      <a:endParaRPr lang="id-ID" sz="1300" baseline="0" dirty="0" smtClean="0"/>
                    </a:p>
                  </a:txBody>
                  <a:tcPr/>
                </a:tc>
                <a:extLst>
                  <a:ext uri="{0D108BD9-81ED-4DB2-BD59-A6C34878D82A}">
                    <a16:rowId xmlns="" xmlns:a16="http://schemas.microsoft.com/office/drawing/2014/main" val="10003"/>
                  </a:ext>
                </a:extLst>
              </a:tr>
            </a:tbl>
          </a:graphicData>
        </a:graphic>
      </p:graphicFrame>
      <p:graphicFrame>
        <p:nvGraphicFramePr>
          <p:cNvPr id="29" name="Table 28"/>
          <p:cNvGraphicFramePr>
            <a:graphicFrameLocks noGrp="1"/>
          </p:cNvGraphicFramePr>
          <p:nvPr>
            <p:extLst/>
          </p:nvPr>
        </p:nvGraphicFramePr>
        <p:xfrm>
          <a:off x="6248400" y="1478280"/>
          <a:ext cx="3048000" cy="4800600"/>
        </p:xfrm>
        <a:graphic>
          <a:graphicData uri="http://schemas.openxmlformats.org/drawingml/2006/table">
            <a:tbl>
              <a:tblPr firstRow="1" bandRow="1">
                <a:tableStyleId>{616DA210-FB5B-4158-B5E0-FEB733F419BA}</a:tableStyleId>
              </a:tblPr>
              <a:tblGrid>
                <a:gridCol w="3048000">
                  <a:extLst>
                    <a:ext uri="{9D8B030D-6E8A-4147-A177-3AD203B41FA5}">
                      <a16:colId xmlns="" xmlns:a16="http://schemas.microsoft.com/office/drawing/2014/main" val="20000"/>
                    </a:ext>
                  </a:extLst>
                </a:gridCol>
              </a:tblGrid>
              <a:tr h="370840">
                <a:tc>
                  <a:txBody>
                    <a:bodyPr/>
                    <a:lstStyle/>
                    <a:p>
                      <a:r>
                        <a:rPr lang="id-ID" sz="1400" dirty="0" smtClean="0"/>
                        <a:t>Kesepakatan</a:t>
                      </a:r>
                      <a:r>
                        <a:rPr lang="id-ID" sz="1400" baseline="0" dirty="0" smtClean="0"/>
                        <a:t> </a:t>
                      </a:r>
                      <a:r>
                        <a:rPr lang="en-US" sz="1400" dirty="0" err="1" smtClean="0"/>
                        <a:t>Rakornas</a:t>
                      </a:r>
                      <a:r>
                        <a:rPr lang="en-US" sz="1400" dirty="0" smtClean="0"/>
                        <a:t> 2014: </a:t>
                      </a:r>
                      <a:r>
                        <a:rPr lang="en-US" sz="1400" b="0" dirty="0" err="1" smtClean="0"/>
                        <a:t>Mempercepat</a:t>
                      </a:r>
                      <a:r>
                        <a:rPr lang="en-US" sz="1400" b="0" dirty="0" smtClean="0"/>
                        <a:t> </a:t>
                      </a:r>
                      <a:r>
                        <a:rPr lang="en-US" sz="1400" b="0" dirty="0" err="1" smtClean="0"/>
                        <a:t>penyediaan</a:t>
                      </a:r>
                      <a:r>
                        <a:rPr lang="en-US" sz="1400" b="0" dirty="0" smtClean="0"/>
                        <a:t> data </a:t>
                      </a:r>
                      <a:r>
                        <a:rPr lang="id-ID" sz="1400" b="0" baseline="0" dirty="0" smtClean="0"/>
                        <a:t> &amp;</a:t>
                      </a:r>
                      <a:r>
                        <a:rPr lang="en-US" sz="1400" b="0" dirty="0" smtClean="0"/>
                        <a:t> </a:t>
                      </a:r>
                      <a:r>
                        <a:rPr lang="en-US" sz="1400" b="0" dirty="0" err="1" smtClean="0"/>
                        <a:t>informasi</a:t>
                      </a:r>
                      <a:r>
                        <a:rPr lang="en-US" sz="1400" b="0" dirty="0" smtClean="0"/>
                        <a:t> </a:t>
                      </a:r>
                      <a:r>
                        <a:rPr lang="en-US" sz="1400" b="0" dirty="0" err="1" smtClean="0"/>
                        <a:t>neraca</a:t>
                      </a:r>
                      <a:r>
                        <a:rPr lang="en-US" sz="1400" b="0" dirty="0" smtClean="0"/>
                        <a:t> </a:t>
                      </a:r>
                      <a:r>
                        <a:rPr lang="en-US" sz="1400" b="0" dirty="0" err="1" smtClean="0"/>
                        <a:t>pangan</a:t>
                      </a:r>
                      <a:r>
                        <a:rPr lang="en-US" sz="1400" b="0" dirty="0" smtClean="0"/>
                        <a:t> </a:t>
                      </a:r>
                      <a:r>
                        <a:rPr lang="en-US" sz="1400" b="0" dirty="0" err="1" smtClean="0"/>
                        <a:t>secara</a:t>
                      </a:r>
                      <a:r>
                        <a:rPr lang="en-US" sz="1400" b="0" dirty="0" smtClean="0"/>
                        <a:t> </a:t>
                      </a:r>
                      <a:r>
                        <a:rPr lang="en-US" sz="1400" b="0" dirty="0" err="1" smtClean="0"/>
                        <a:t>berkesinambungan</a:t>
                      </a:r>
                      <a:r>
                        <a:rPr lang="en-US" sz="1400" b="0" dirty="0" smtClean="0"/>
                        <a:t> </a:t>
                      </a:r>
                      <a:r>
                        <a:rPr lang="en-US" sz="1400" b="0" dirty="0" err="1" smtClean="0"/>
                        <a:t>untuk</a:t>
                      </a:r>
                      <a:r>
                        <a:rPr lang="en-US" sz="1400" b="0" dirty="0" smtClean="0"/>
                        <a:t> </a:t>
                      </a:r>
                      <a:r>
                        <a:rPr lang="en-US" sz="1400" b="0" dirty="0" err="1" smtClean="0"/>
                        <a:t>menjadi</a:t>
                      </a:r>
                      <a:r>
                        <a:rPr lang="en-US" sz="1400" b="0" dirty="0" smtClean="0"/>
                        <a:t> </a:t>
                      </a:r>
                      <a:r>
                        <a:rPr lang="en-US" sz="1400" b="0" dirty="0" err="1" smtClean="0"/>
                        <a:t>acuan</a:t>
                      </a:r>
                      <a:r>
                        <a:rPr lang="en-US" sz="1400" b="0" dirty="0" smtClean="0"/>
                        <a:t> </a:t>
                      </a:r>
                      <a:r>
                        <a:rPr lang="en-US" sz="1400" b="0" dirty="0" err="1" smtClean="0"/>
                        <a:t>dalam</a:t>
                      </a:r>
                      <a:r>
                        <a:rPr lang="en-US" sz="1400" b="0" dirty="0" smtClean="0"/>
                        <a:t> </a:t>
                      </a:r>
                      <a:r>
                        <a:rPr lang="en-US" sz="1400" b="0" dirty="0" err="1" smtClean="0"/>
                        <a:t>melakukan</a:t>
                      </a:r>
                      <a:r>
                        <a:rPr lang="en-US" sz="1400" b="0" dirty="0" smtClean="0"/>
                        <a:t> </a:t>
                      </a:r>
                      <a:r>
                        <a:rPr lang="en-US" sz="1400" b="0" dirty="0" err="1" smtClean="0"/>
                        <a:t>kerja</a:t>
                      </a:r>
                      <a:r>
                        <a:rPr lang="en-US" sz="1400" b="0" dirty="0" smtClean="0"/>
                        <a:t> </a:t>
                      </a:r>
                      <a:r>
                        <a:rPr lang="en-US" sz="1400" b="0" dirty="0" err="1" smtClean="0"/>
                        <a:t>sama</a:t>
                      </a:r>
                      <a:r>
                        <a:rPr lang="en-US" sz="1400" b="0" dirty="0" smtClean="0"/>
                        <a:t> </a:t>
                      </a:r>
                      <a:r>
                        <a:rPr lang="en-US" sz="1400" b="0" dirty="0" err="1" smtClean="0"/>
                        <a:t>antar</a:t>
                      </a:r>
                      <a:r>
                        <a:rPr lang="en-US" sz="1400" b="0" dirty="0" smtClean="0"/>
                        <a:t> </a:t>
                      </a:r>
                      <a:r>
                        <a:rPr lang="en-US" sz="1400" b="0" dirty="0" err="1" smtClean="0"/>
                        <a:t>daerah</a:t>
                      </a:r>
                      <a:r>
                        <a:rPr lang="en-US" sz="1400" b="0" dirty="0" smtClean="0"/>
                        <a:t>.</a:t>
                      </a:r>
                      <a:endParaRPr lang="en-US" sz="1400" b="0" dirty="0"/>
                    </a:p>
                  </a:txBody>
                  <a:tcPr/>
                </a:tc>
                <a:extLst>
                  <a:ext uri="{0D108BD9-81ED-4DB2-BD59-A6C34878D82A}">
                    <a16:rowId xmlns="" xmlns:a16="http://schemas.microsoft.com/office/drawing/2014/main" val="10000"/>
                  </a:ext>
                </a:extLst>
              </a:tr>
              <a:tr h="370840">
                <a:tc>
                  <a:txBody>
                    <a:bodyPr/>
                    <a:lstStyle/>
                    <a:p>
                      <a:r>
                        <a:rPr lang="id-ID" sz="1400" dirty="0" smtClean="0"/>
                        <a:t>Kesepakatan Rakor Pusat Daerah: TPID akan melengkapi &amp; menyempurnakan data/informasi yang diperlukan (CRAT) untuk mendukung penguatan kerja sama antar daerah.</a:t>
                      </a:r>
                    </a:p>
                    <a:p>
                      <a:endParaRPr lang="id-ID" sz="1400" dirty="0" smtClean="0"/>
                    </a:p>
                    <a:p>
                      <a:endParaRPr lang="id-ID" sz="1400" dirty="0" smtClean="0"/>
                    </a:p>
                    <a:p>
                      <a:endParaRPr lang="id-ID" sz="1400" dirty="0" smtClean="0"/>
                    </a:p>
                    <a:p>
                      <a:endParaRPr lang="en-US" sz="1400" b="0" dirty="0"/>
                    </a:p>
                  </a:txBody>
                  <a:tcPr/>
                </a:tc>
                <a:extLst>
                  <a:ext uri="{0D108BD9-81ED-4DB2-BD59-A6C34878D82A}">
                    <a16:rowId xmlns="" xmlns:a16="http://schemas.microsoft.com/office/drawing/2014/main" val="10001"/>
                  </a:ext>
                </a:extLst>
              </a:tr>
              <a:tr h="370840">
                <a:tc>
                  <a:txBody>
                    <a:bodyPr/>
                    <a:lstStyle/>
                    <a:p>
                      <a:r>
                        <a:rPr lang="id-ID" sz="1400" dirty="0" smtClean="0"/>
                        <a:t>TPID (difasilitasi oleh KPwDN) melanjutkan </a:t>
                      </a:r>
                      <a:r>
                        <a:rPr lang="en-US" sz="1400" dirty="0" smtClean="0"/>
                        <a:t>p</a:t>
                      </a:r>
                      <a:r>
                        <a:rPr lang="id-ID" sz="1400" dirty="0" smtClean="0"/>
                        <a:t>engembangan </a:t>
                      </a:r>
                      <a:r>
                        <a:rPr lang="en-US" sz="1400" dirty="0" smtClean="0"/>
                        <a:t>PIHPS</a:t>
                      </a:r>
                      <a:r>
                        <a:rPr lang="id-ID" sz="1400" dirty="0" smtClean="0"/>
                        <a:t>,</a:t>
                      </a:r>
                      <a:r>
                        <a:rPr lang="id-ID" sz="1400" baseline="0" dirty="0" smtClean="0"/>
                        <a:t> sesuai </a:t>
                      </a:r>
                      <a:r>
                        <a:rPr lang="en-US" sz="1400" baseline="0" dirty="0" err="1" smtClean="0"/>
                        <a:t>dengan</a:t>
                      </a:r>
                      <a:r>
                        <a:rPr lang="en-US" sz="1400" baseline="0" dirty="0" smtClean="0"/>
                        <a:t> </a:t>
                      </a:r>
                      <a:r>
                        <a:rPr lang="en-US" sz="1400" baseline="0" dirty="0" err="1" smtClean="0"/>
                        <a:t>kapasitas</a:t>
                      </a:r>
                      <a:r>
                        <a:rPr lang="en-US" sz="1400" baseline="0" dirty="0" smtClean="0"/>
                        <a:t> </a:t>
                      </a:r>
                      <a:r>
                        <a:rPr lang="en-US" sz="1400" baseline="0" dirty="0" err="1" smtClean="0"/>
                        <a:t>daerah</a:t>
                      </a:r>
                      <a:endParaRPr lang="en-US" sz="1400" b="0" dirty="0"/>
                    </a:p>
                  </a:txBody>
                  <a:tcPr/>
                </a:tc>
                <a:extLst>
                  <a:ext uri="{0D108BD9-81ED-4DB2-BD59-A6C34878D82A}">
                    <a16:rowId xmlns="" xmlns:a16="http://schemas.microsoft.com/office/drawing/2014/main" val="10002"/>
                  </a:ext>
                </a:extLst>
              </a:tr>
              <a:tr h="370840">
                <a:tc>
                  <a:txBody>
                    <a:bodyPr/>
                    <a:lstStyle/>
                    <a:p>
                      <a:r>
                        <a:rPr lang="en-US" sz="1300" dirty="0" smtClean="0"/>
                        <a:t>DKEM </a:t>
                      </a:r>
                      <a:r>
                        <a:rPr lang="en-US" sz="1300" dirty="0" err="1" smtClean="0"/>
                        <a:t>menyerahkan</a:t>
                      </a:r>
                      <a:r>
                        <a:rPr lang="en-US" sz="1300" dirty="0" smtClean="0"/>
                        <a:t> PIHPS DKI </a:t>
                      </a:r>
                      <a:r>
                        <a:rPr lang="en-US" sz="1300" dirty="0" err="1" smtClean="0"/>
                        <a:t>ke</a:t>
                      </a:r>
                      <a:r>
                        <a:rPr lang="en-US" sz="1300" dirty="0" smtClean="0"/>
                        <a:t> </a:t>
                      </a:r>
                      <a:r>
                        <a:rPr lang="en-US" sz="1300" dirty="0" err="1" smtClean="0"/>
                        <a:t>Pemda</a:t>
                      </a:r>
                      <a:r>
                        <a:rPr lang="en-US" sz="1300" dirty="0" smtClean="0"/>
                        <a:t> DKI Jakarta </a:t>
                      </a:r>
                      <a:r>
                        <a:rPr lang="en-US" sz="1300" dirty="0" err="1" smtClean="0"/>
                        <a:t>dan</a:t>
                      </a:r>
                      <a:r>
                        <a:rPr lang="en-US" sz="1300" dirty="0" smtClean="0"/>
                        <a:t> </a:t>
                      </a:r>
                      <a:r>
                        <a:rPr lang="en-US" sz="1300" dirty="0" err="1" smtClean="0"/>
                        <a:t>mengembangkan</a:t>
                      </a:r>
                      <a:r>
                        <a:rPr lang="en-US" sz="1300" baseline="0" dirty="0" smtClean="0"/>
                        <a:t> database PIHPS </a:t>
                      </a:r>
                      <a:r>
                        <a:rPr lang="en-US" sz="1300" baseline="0" dirty="0" err="1" smtClean="0"/>
                        <a:t>nasional</a:t>
                      </a:r>
                      <a:r>
                        <a:rPr lang="en-US" sz="1300" baseline="0" dirty="0" smtClean="0"/>
                        <a:t>.</a:t>
                      </a:r>
                      <a:endParaRPr lang="en-US" sz="1300" b="0" dirty="0"/>
                    </a:p>
                  </a:txBody>
                  <a:tcPr/>
                </a:tc>
                <a:extLst>
                  <a:ext uri="{0D108BD9-81ED-4DB2-BD59-A6C34878D82A}">
                    <a16:rowId xmlns="" xmlns:a16="http://schemas.microsoft.com/office/drawing/2014/main" val="10003"/>
                  </a:ext>
                </a:extLst>
              </a:tr>
            </a:tbl>
          </a:graphicData>
        </a:graphic>
      </p:graphicFrame>
      <p:sp>
        <p:nvSpPr>
          <p:cNvPr id="3" name="Rounded Rectangle 2"/>
          <p:cNvSpPr/>
          <p:nvPr/>
        </p:nvSpPr>
        <p:spPr>
          <a:xfrm>
            <a:off x="76200" y="4876800"/>
            <a:ext cx="9296400" cy="1476000"/>
          </a:xfrm>
          <a:prstGeom prst="roundRect">
            <a:avLst>
              <a:gd name="adj" fmla="val 3048"/>
            </a:avLst>
          </a:prstGeom>
          <a:noFill/>
          <a:ln w="381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10058401" y="2920426"/>
            <a:ext cx="1981201" cy="584775"/>
          </a:xfrm>
          <a:prstGeom prst="rect">
            <a:avLst/>
          </a:prstGeom>
          <a:noFill/>
        </p:spPr>
        <p:txBody>
          <a:bodyPr wrap="square" rtlCol="0">
            <a:spAutoFit/>
          </a:bodyPr>
          <a:lstStyle/>
          <a:p>
            <a:r>
              <a:rPr lang="id-ID" sz="1600" b="1" i="1" dirty="0">
                <a:solidFill>
                  <a:srgbClr val="C00000"/>
                </a:solidFill>
              </a:rPr>
              <a:t>*) Saat ini telah </a:t>
            </a:r>
            <a:r>
              <a:rPr lang="en-US" sz="1600" b="1" i="1" dirty="0" err="1">
                <a:solidFill>
                  <a:srgbClr val="C00000"/>
                </a:solidFill>
              </a:rPr>
              <a:t>ada</a:t>
            </a:r>
            <a:r>
              <a:rPr lang="en-US" sz="1600" b="1" i="1" dirty="0">
                <a:solidFill>
                  <a:srgbClr val="C00000"/>
                </a:solidFill>
              </a:rPr>
              <a:t> di 106</a:t>
            </a:r>
            <a:r>
              <a:rPr lang="id-ID" sz="1600" b="1" i="1" dirty="0">
                <a:solidFill>
                  <a:srgbClr val="C00000"/>
                </a:solidFill>
              </a:rPr>
              <a:t> k</a:t>
            </a:r>
            <a:r>
              <a:rPr lang="en-US" sz="1600" b="1" i="1" dirty="0">
                <a:solidFill>
                  <a:srgbClr val="C00000"/>
                </a:solidFill>
              </a:rPr>
              <a:t>ab/</a:t>
            </a:r>
            <a:r>
              <a:rPr lang="en-US" sz="1600" b="1" i="1" dirty="0" err="1">
                <a:solidFill>
                  <a:srgbClr val="C00000"/>
                </a:solidFill>
              </a:rPr>
              <a:t>kota</a:t>
            </a:r>
            <a:endParaRPr lang="en-US" sz="1600" b="1" i="1" dirty="0">
              <a:solidFill>
                <a:srgbClr val="C00000"/>
              </a:solidFill>
            </a:endParaRPr>
          </a:p>
        </p:txBody>
      </p:sp>
      <p:sp>
        <p:nvSpPr>
          <p:cNvPr id="32" name="TextBox 31"/>
          <p:cNvSpPr txBox="1"/>
          <p:nvPr/>
        </p:nvSpPr>
        <p:spPr>
          <a:xfrm>
            <a:off x="9448800" y="3891677"/>
            <a:ext cx="2590800" cy="2585323"/>
          </a:xfrm>
          <a:prstGeom prst="rect">
            <a:avLst/>
          </a:prstGeom>
          <a:solidFill>
            <a:srgbClr val="FFC000"/>
          </a:solidFill>
        </p:spPr>
        <p:txBody>
          <a:bodyPr wrap="square" rtlCol="0">
            <a:spAutoFit/>
          </a:bodyPr>
          <a:lstStyle/>
          <a:p>
            <a:r>
              <a:rPr lang="en-US" sz="1800" b="1" dirty="0" err="1"/>
              <a:t>Pengembangan</a:t>
            </a:r>
            <a:r>
              <a:rPr lang="en-US" sz="1800" b="1" dirty="0"/>
              <a:t> PIHPS DKI</a:t>
            </a:r>
            <a:r>
              <a:rPr lang="id-ID" sz="1800" b="1" dirty="0"/>
              <a:t> (</a:t>
            </a:r>
            <a:r>
              <a:rPr lang="id-ID" sz="1800" b="1" i="1" dirty="0"/>
              <a:t>pilot project</a:t>
            </a:r>
            <a:r>
              <a:rPr lang="id-ID" sz="1800" b="1" dirty="0"/>
              <a:t>)</a:t>
            </a:r>
            <a:r>
              <a:rPr lang="en-US" sz="1800" b="1" dirty="0"/>
              <a:t> </a:t>
            </a:r>
            <a:r>
              <a:rPr lang="en-US" sz="1800" b="1" dirty="0" err="1"/>
              <a:t>dilakukan</a:t>
            </a:r>
            <a:r>
              <a:rPr lang="en-US" sz="1800" b="1" dirty="0"/>
              <a:t> </a:t>
            </a:r>
            <a:r>
              <a:rPr lang="en-US" sz="1800" b="1" dirty="0" err="1"/>
              <a:t>oleh</a:t>
            </a:r>
            <a:r>
              <a:rPr lang="id-ID" sz="1800" b="1" dirty="0"/>
              <a:t> dua pihak:</a:t>
            </a:r>
          </a:p>
          <a:p>
            <a:pPr marL="177800" indent="-177800">
              <a:buFontTx/>
              <a:buChar char="-"/>
            </a:pPr>
            <a:r>
              <a:rPr lang="en-US" sz="1800" b="1" dirty="0"/>
              <a:t>vendor </a:t>
            </a:r>
            <a:r>
              <a:rPr lang="id-ID" sz="1800" b="1" dirty="0"/>
              <a:t>yg ditunjuk </a:t>
            </a:r>
            <a:r>
              <a:rPr lang="en-US" sz="1800" b="1" dirty="0"/>
              <a:t>DKEM </a:t>
            </a:r>
            <a:r>
              <a:rPr lang="id-ID" sz="1800" dirty="0"/>
              <a:t>untuk website dan keseluruhan sistem</a:t>
            </a:r>
          </a:p>
          <a:p>
            <a:pPr marL="177800" indent="-177800">
              <a:buFontTx/>
              <a:buChar char="-"/>
            </a:pPr>
            <a:r>
              <a:rPr lang="en-US" sz="1800" b="1" dirty="0"/>
              <a:t>DPSI</a:t>
            </a:r>
            <a:r>
              <a:rPr lang="en-US" sz="1800" dirty="0"/>
              <a:t> </a:t>
            </a:r>
            <a:r>
              <a:rPr lang="en-US" sz="1800" dirty="0" err="1"/>
              <a:t>untuk</a:t>
            </a:r>
            <a:r>
              <a:rPr lang="en-US" sz="1800" dirty="0"/>
              <a:t> </a:t>
            </a:r>
            <a:r>
              <a:rPr lang="en-US" sz="1800" dirty="0" err="1"/>
              <a:t>sistem</a:t>
            </a:r>
            <a:r>
              <a:rPr lang="en-US" sz="1800" dirty="0"/>
              <a:t> input data </a:t>
            </a:r>
            <a:r>
              <a:rPr lang="id-ID" sz="1800" dirty="0"/>
              <a:t>e</a:t>
            </a:r>
            <a:r>
              <a:rPr lang="en-US" sz="1800" dirty="0"/>
              <a:t>numerator</a:t>
            </a:r>
          </a:p>
        </p:txBody>
      </p:sp>
      <p:grpSp>
        <p:nvGrpSpPr>
          <p:cNvPr id="11" name="Group 10"/>
          <p:cNvGrpSpPr/>
          <p:nvPr/>
        </p:nvGrpSpPr>
        <p:grpSpPr>
          <a:xfrm>
            <a:off x="9677400" y="1287780"/>
            <a:ext cx="2667000" cy="1607820"/>
            <a:chOff x="9525000" y="1524000"/>
            <a:chExt cx="2667000" cy="1371600"/>
          </a:xfrm>
        </p:grpSpPr>
        <p:grpSp>
          <p:nvGrpSpPr>
            <p:cNvPr id="10" name="Group 9"/>
            <p:cNvGrpSpPr/>
            <p:nvPr/>
          </p:nvGrpSpPr>
          <p:grpSpPr>
            <a:xfrm>
              <a:off x="9753600" y="1524000"/>
              <a:ext cx="2133600" cy="1371600"/>
              <a:chOff x="9753600" y="1524000"/>
              <a:chExt cx="2133600" cy="1371600"/>
            </a:xfrm>
          </p:grpSpPr>
          <p:sp>
            <p:nvSpPr>
              <p:cNvPr id="36" name="Oval 35"/>
              <p:cNvSpPr/>
              <p:nvPr/>
            </p:nvSpPr>
            <p:spPr>
              <a:xfrm>
                <a:off x="9753600" y="1524000"/>
                <a:ext cx="2133600" cy="13716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p:nvSpPr>
            <p:spPr>
              <a:xfrm>
                <a:off x="10048875" y="1524000"/>
                <a:ext cx="1533525" cy="446349"/>
              </a:xfrm>
              <a:prstGeom prst="rect">
                <a:avLst/>
              </a:prstGeom>
              <a:noFill/>
            </p:spPr>
            <p:txBody>
              <a:bodyPr wrap="square" rtlCol="0">
                <a:spAutoFit/>
              </a:bodyPr>
              <a:lstStyle/>
              <a:p>
                <a:pPr algn="ctr"/>
                <a:r>
                  <a:rPr lang="en-US" sz="2800" b="1" dirty="0">
                    <a:solidFill>
                      <a:srgbClr val="001236"/>
                    </a:solidFill>
                  </a:rPr>
                  <a:t>2015</a:t>
                </a:r>
              </a:p>
            </p:txBody>
          </p:sp>
        </p:grpSp>
        <p:sp>
          <p:nvSpPr>
            <p:cNvPr id="35" name="TextBox 34"/>
            <p:cNvSpPr txBox="1"/>
            <p:nvPr/>
          </p:nvSpPr>
          <p:spPr>
            <a:xfrm>
              <a:off x="9525000" y="1828800"/>
              <a:ext cx="2667000" cy="866442"/>
            </a:xfrm>
            <a:prstGeom prst="rect">
              <a:avLst/>
            </a:prstGeom>
            <a:noFill/>
          </p:spPr>
          <p:txBody>
            <a:bodyPr wrap="square" rtlCol="0">
              <a:spAutoFit/>
            </a:bodyPr>
            <a:lstStyle/>
            <a:p>
              <a:pPr algn="ctr"/>
              <a:r>
                <a:rPr lang="en-US" sz="2000" b="1" dirty="0" err="1">
                  <a:solidFill>
                    <a:srgbClr val="C00000"/>
                  </a:solidFill>
                </a:rPr>
                <a:t>Integrasi</a:t>
              </a:r>
              <a:r>
                <a:rPr lang="en-US" sz="2000" b="1" dirty="0">
                  <a:solidFill>
                    <a:srgbClr val="C00000"/>
                  </a:solidFill>
                </a:rPr>
                <a:t> </a:t>
              </a:r>
            </a:p>
            <a:p>
              <a:pPr algn="ctr"/>
              <a:r>
                <a:rPr lang="en-US" sz="2000" b="1" dirty="0">
                  <a:solidFill>
                    <a:srgbClr val="C00000"/>
                  </a:solidFill>
                </a:rPr>
                <a:t>PIHPS Daerah </a:t>
              </a:r>
              <a:r>
                <a:rPr lang="en-US" sz="2000" b="1" dirty="0" err="1">
                  <a:solidFill>
                    <a:srgbClr val="C00000"/>
                  </a:solidFill>
                </a:rPr>
                <a:t>dlm</a:t>
              </a:r>
              <a:r>
                <a:rPr lang="en-US" sz="2000" b="1" dirty="0">
                  <a:solidFill>
                    <a:srgbClr val="C00000"/>
                  </a:solidFill>
                </a:rPr>
                <a:t> </a:t>
              </a:r>
              <a:r>
                <a:rPr lang="en-US" sz="2000" b="1" dirty="0" err="1">
                  <a:solidFill>
                    <a:srgbClr val="C00000"/>
                  </a:solidFill>
                </a:rPr>
                <a:t>bentuk</a:t>
              </a:r>
              <a:r>
                <a:rPr lang="en-US" sz="2000" b="1" dirty="0">
                  <a:solidFill>
                    <a:srgbClr val="C00000"/>
                  </a:solidFill>
                </a:rPr>
                <a:t> web</a:t>
              </a:r>
              <a:r>
                <a:rPr lang="id-ID" sz="2000" b="1" dirty="0">
                  <a:solidFill>
                    <a:srgbClr val="C00000"/>
                  </a:solidFill>
                </a:rPr>
                <a:t>*)</a:t>
              </a:r>
              <a:endParaRPr lang="en-US" sz="2000" b="1" dirty="0">
                <a:solidFill>
                  <a:srgbClr val="C00000"/>
                </a:solidFill>
              </a:endParaRPr>
            </a:p>
          </p:txBody>
        </p:sp>
      </p:grpSp>
      <p:sp>
        <p:nvSpPr>
          <p:cNvPr id="37" name="Right Arrow 36"/>
          <p:cNvSpPr/>
          <p:nvPr/>
        </p:nvSpPr>
        <p:spPr>
          <a:xfrm>
            <a:off x="9371920" y="1581435"/>
            <a:ext cx="523875" cy="1604090"/>
          </a:xfrm>
          <a:prstGeom prst="rightArrow">
            <a:avLst>
              <a:gd name="adj1" fmla="val 52571"/>
              <a:gd name="adj2" fmla="val 66280"/>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250146"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267200" y="6172200"/>
            <a:ext cx="5410200" cy="601897"/>
          </a:xfrm>
          <a:custGeom>
            <a:avLst/>
            <a:gdLst>
              <a:gd name="connsiteX0" fmla="*/ 15270 w 6593490"/>
              <a:gd name="connsiteY0" fmla="*/ 0 h 796377"/>
              <a:gd name="connsiteX1" fmla="*/ 370111 w 6593490"/>
              <a:gd name="connsiteY1" fmla="*/ 559559 h 796377"/>
              <a:gd name="connsiteX2" fmla="*/ 2499162 w 6593490"/>
              <a:gd name="connsiteY2" fmla="*/ 791571 h 796377"/>
              <a:gd name="connsiteX3" fmla="*/ 5801920 w 6593490"/>
              <a:gd name="connsiteY3" fmla="*/ 368490 h 796377"/>
              <a:gd name="connsiteX4" fmla="*/ 6593490 w 6593490"/>
              <a:gd name="connsiteY4" fmla="*/ 191069 h 796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490" h="796377">
                <a:moveTo>
                  <a:pt x="15270" y="0"/>
                </a:moveTo>
                <a:cubicBezTo>
                  <a:pt x="-14301" y="213815"/>
                  <a:pt x="-43871" y="427631"/>
                  <a:pt x="370111" y="559559"/>
                </a:cubicBezTo>
                <a:cubicBezTo>
                  <a:pt x="784093" y="691487"/>
                  <a:pt x="1593861" y="823416"/>
                  <a:pt x="2499162" y="791571"/>
                </a:cubicBezTo>
                <a:cubicBezTo>
                  <a:pt x="3404464" y="759726"/>
                  <a:pt x="5119532" y="468574"/>
                  <a:pt x="5801920" y="368490"/>
                </a:cubicBezTo>
                <a:cubicBezTo>
                  <a:pt x="6484308" y="268406"/>
                  <a:pt x="6538899" y="229737"/>
                  <a:pt x="6593490" y="191069"/>
                </a:cubicBezTo>
              </a:path>
            </a:pathLst>
          </a:custGeom>
          <a:ln>
            <a:headEnd type="oval"/>
            <a:tailEnd type="triangle"/>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id-ID"/>
          </a:p>
        </p:txBody>
      </p:sp>
      <p:sp>
        <p:nvSpPr>
          <p:cNvPr id="23" name="Title 1"/>
          <p:cNvSpPr txBox="1">
            <a:spLocks/>
          </p:cNvSpPr>
          <p:nvPr/>
        </p:nvSpPr>
        <p:spPr>
          <a:xfrm>
            <a:off x="243840" y="153648"/>
            <a:ext cx="12131040" cy="562632"/>
          </a:xfrm>
          <a:prstGeom prst="rect">
            <a:avLst/>
          </a:prstGeom>
        </p:spPr>
        <p:txBody>
          <a:bodyPr vert="horz" lIns="91438" tIns="45719" rIns="91438" bIns="45719" rtlCol="0" anchor="ctr">
            <a:noAutofit/>
          </a:bodyPr>
          <a:lstStyle/>
          <a:p>
            <a:pPr marL="33934" defTabSz="914400" fontAlgn="base">
              <a:spcBef>
                <a:spcPts val="600"/>
              </a:spcBef>
              <a:spcAft>
                <a:spcPts val="600"/>
              </a:spcAft>
              <a:defRPr/>
            </a:pPr>
            <a:r>
              <a:rPr lang="en-US" sz="4800" b="1" dirty="0">
                <a:solidFill>
                  <a:srgbClr val="002060"/>
                </a:solidFill>
                <a:latin typeface="DilleniaUPC" pitchFamily="18" charset="-34"/>
                <a:cs typeface="DilleniaUPC" pitchFamily="18" charset="-34"/>
              </a:rPr>
              <a:t>PIHPS MERUPAKAN</a:t>
            </a:r>
            <a:r>
              <a:rPr lang="id-ID" sz="4800" b="1" dirty="0">
                <a:solidFill>
                  <a:srgbClr val="002060"/>
                </a:solidFill>
                <a:latin typeface="DilleniaUPC" pitchFamily="18" charset="-34"/>
                <a:cs typeface="DilleniaUPC" pitchFamily="18" charset="-34"/>
              </a:rPr>
              <a:t> AMANAT RAKORNAS TPID </a:t>
            </a:r>
            <a:r>
              <a:rPr lang="en-US" sz="4800" b="1" dirty="0">
                <a:solidFill>
                  <a:srgbClr val="002060"/>
                </a:solidFill>
                <a:latin typeface="DilleniaUPC" pitchFamily="18" charset="-34"/>
                <a:cs typeface="DilleniaUPC" pitchFamily="18" charset="-34"/>
              </a:rPr>
              <a:t>2012</a:t>
            </a:r>
          </a:p>
        </p:txBody>
      </p:sp>
    </p:spTree>
    <p:extLst>
      <p:ext uri="{BB962C8B-B14F-4D97-AF65-F5344CB8AC3E}">
        <p14:creationId xmlns:p14="http://schemas.microsoft.com/office/powerpoint/2010/main" val="179242454"/>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25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50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75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53" presetClass="entr" presetSubtype="16" fill="hold" grpId="0" nodeType="withEffect">
                                  <p:stCondLst>
                                    <p:cond delay="1250"/>
                                  </p:stCondLst>
                                  <p:childTnLst>
                                    <p:set>
                                      <p:cBhvr>
                                        <p:cTn id="18" dur="1" fill="hold">
                                          <p:stCondLst>
                                            <p:cond delay="0"/>
                                          </p:stCondLst>
                                        </p:cTn>
                                        <p:tgtEl>
                                          <p:spTgt spid="3"/>
                                        </p:tgtEl>
                                        <p:attrNameLst>
                                          <p:attrName>style.visibility</p:attrName>
                                        </p:attrNameLst>
                                      </p:cBhvr>
                                      <p:to>
                                        <p:strVal val="visible"/>
                                      </p:to>
                                    </p:set>
                                    <p:anim calcmode="lin" valueType="num">
                                      <p:cBhvr>
                                        <p:cTn id="19" dur="1000" fill="hold"/>
                                        <p:tgtEl>
                                          <p:spTgt spid="3"/>
                                        </p:tgtEl>
                                        <p:attrNameLst>
                                          <p:attrName>ppt_w</p:attrName>
                                        </p:attrNameLst>
                                      </p:cBhvr>
                                      <p:tavLst>
                                        <p:tav tm="0">
                                          <p:val>
                                            <p:fltVal val="0"/>
                                          </p:val>
                                        </p:tav>
                                        <p:tav tm="100000">
                                          <p:val>
                                            <p:strVal val="#ppt_w"/>
                                          </p:val>
                                        </p:tav>
                                      </p:tavLst>
                                    </p:anim>
                                    <p:anim calcmode="lin" valueType="num">
                                      <p:cBhvr>
                                        <p:cTn id="20" dur="1000" fill="hold"/>
                                        <p:tgtEl>
                                          <p:spTgt spid="3"/>
                                        </p:tgtEl>
                                        <p:attrNameLst>
                                          <p:attrName>ppt_h</p:attrName>
                                        </p:attrNameLst>
                                      </p:cBhvr>
                                      <p:tavLst>
                                        <p:tav tm="0">
                                          <p:val>
                                            <p:fltVal val="0"/>
                                          </p:val>
                                        </p:tav>
                                        <p:tav tm="100000">
                                          <p:val>
                                            <p:strVal val="#ppt_h"/>
                                          </p:val>
                                        </p:tav>
                                      </p:tavLst>
                                    </p:anim>
                                    <p:animEffect transition="in" filter="fade">
                                      <p:cBhvr>
                                        <p:cTn id="21" dur="1000"/>
                                        <p:tgtEl>
                                          <p:spTgt spid="3"/>
                                        </p:tgtEl>
                                      </p:cBhvr>
                                    </p:animEffect>
                                  </p:childTnLst>
                                </p:cTn>
                              </p:par>
                              <p:par>
                                <p:cTn id="22" presetID="22" presetClass="entr" presetSubtype="8" fill="hold" grpId="0" nodeType="withEffect">
                                  <p:stCondLst>
                                    <p:cond delay="2500"/>
                                  </p:stCondLst>
                                  <p:childTnLst>
                                    <p:set>
                                      <p:cBhvr>
                                        <p:cTn id="23" dur="1" fill="hold">
                                          <p:stCondLst>
                                            <p:cond delay="0"/>
                                          </p:stCondLst>
                                        </p:cTn>
                                        <p:tgtEl>
                                          <p:spTgt spid="9"/>
                                        </p:tgtEl>
                                        <p:attrNameLst>
                                          <p:attrName>style.visibility</p:attrName>
                                        </p:attrNameLst>
                                      </p:cBhvr>
                                      <p:to>
                                        <p:strVal val="visible"/>
                                      </p:to>
                                    </p:set>
                                    <p:animEffect transition="in" filter="wipe(left)">
                                      <p:cBhvr>
                                        <p:cTn id="24" dur="1000"/>
                                        <p:tgtEl>
                                          <p:spTgt spid="9"/>
                                        </p:tgtEl>
                                      </p:cBhvr>
                                    </p:animEffect>
                                  </p:childTnLst>
                                </p:cTn>
                              </p:par>
                              <p:par>
                                <p:cTn id="25" presetID="42" presetClass="entr" presetSubtype="0" fill="hold" grpId="0" nodeType="withEffect">
                                  <p:stCondLst>
                                    <p:cond delay="30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1000"/>
                                        <p:tgtEl>
                                          <p:spTgt spid="32"/>
                                        </p:tgtEl>
                                      </p:cBhvr>
                                    </p:animEffect>
                                    <p:anim calcmode="lin" valueType="num">
                                      <p:cBhvr>
                                        <p:cTn id="28" dur="1000" fill="hold"/>
                                        <p:tgtEl>
                                          <p:spTgt spid="32"/>
                                        </p:tgtEl>
                                        <p:attrNameLst>
                                          <p:attrName>ppt_x</p:attrName>
                                        </p:attrNameLst>
                                      </p:cBhvr>
                                      <p:tavLst>
                                        <p:tav tm="0">
                                          <p:val>
                                            <p:strVal val="#ppt_x"/>
                                          </p:val>
                                        </p:tav>
                                        <p:tav tm="100000">
                                          <p:val>
                                            <p:strVal val="#ppt_x"/>
                                          </p:val>
                                        </p:tav>
                                      </p:tavLst>
                                    </p:anim>
                                    <p:anim calcmode="lin" valueType="num">
                                      <p:cBhvr>
                                        <p:cTn id="29" dur="1000" fill="hold"/>
                                        <p:tgtEl>
                                          <p:spTgt spid="32"/>
                                        </p:tgtEl>
                                        <p:attrNameLst>
                                          <p:attrName>ppt_y</p:attrName>
                                        </p:attrNameLst>
                                      </p:cBhvr>
                                      <p:tavLst>
                                        <p:tav tm="0">
                                          <p:val>
                                            <p:strVal val="#ppt_y+.1"/>
                                          </p:val>
                                        </p:tav>
                                        <p:tav tm="100000">
                                          <p:val>
                                            <p:strVal val="#ppt_y"/>
                                          </p:val>
                                        </p:tav>
                                      </p:tavLst>
                                    </p:anim>
                                  </p:childTnLst>
                                </p:cTn>
                              </p:par>
                              <p:par>
                                <p:cTn id="30" presetID="2" presetClass="entr" presetSubtype="8" fill="hold" grpId="0" nodeType="withEffect">
                                  <p:stCondLst>
                                    <p:cond delay="3500"/>
                                  </p:stCondLst>
                                  <p:childTnLst>
                                    <p:set>
                                      <p:cBhvr>
                                        <p:cTn id="31" dur="1" fill="hold">
                                          <p:stCondLst>
                                            <p:cond delay="0"/>
                                          </p:stCondLst>
                                        </p:cTn>
                                        <p:tgtEl>
                                          <p:spTgt spid="37"/>
                                        </p:tgtEl>
                                        <p:attrNameLst>
                                          <p:attrName>style.visibility</p:attrName>
                                        </p:attrNameLst>
                                      </p:cBhvr>
                                      <p:to>
                                        <p:strVal val="visible"/>
                                      </p:to>
                                    </p:set>
                                    <p:anim calcmode="lin" valueType="num">
                                      <p:cBhvr additive="base">
                                        <p:cTn id="32" dur="500" fill="hold"/>
                                        <p:tgtEl>
                                          <p:spTgt spid="37"/>
                                        </p:tgtEl>
                                        <p:attrNameLst>
                                          <p:attrName>ppt_x</p:attrName>
                                        </p:attrNameLst>
                                      </p:cBhvr>
                                      <p:tavLst>
                                        <p:tav tm="0">
                                          <p:val>
                                            <p:strVal val="0-#ppt_w/2"/>
                                          </p:val>
                                        </p:tav>
                                        <p:tav tm="100000">
                                          <p:val>
                                            <p:strVal val="#ppt_x"/>
                                          </p:val>
                                        </p:tav>
                                      </p:tavLst>
                                    </p:anim>
                                    <p:anim calcmode="lin" valueType="num">
                                      <p:cBhvr additive="base">
                                        <p:cTn id="33" dur="500" fill="hold"/>
                                        <p:tgtEl>
                                          <p:spTgt spid="37"/>
                                        </p:tgtEl>
                                        <p:attrNameLst>
                                          <p:attrName>ppt_y</p:attrName>
                                        </p:attrNameLst>
                                      </p:cBhvr>
                                      <p:tavLst>
                                        <p:tav tm="0">
                                          <p:val>
                                            <p:strVal val="#ppt_y"/>
                                          </p:val>
                                        </p:tav>
                                        <p:tav tm="100000">
                                          <p:val>
                                            <p:strVal val="#ppt_y"/>
                                          </p:val>
                                        </p:tav>
                                      </p:tavLst>
                                    </p:anim>
                                  </p:childTnLst>
                                </p:cTn>
                              </p:par>
                              <p:par>
                                <p:cTn id="34" presetID="42" presetClass="entr" presetSubtype="0" fill="hold" grpId="0" nodeType="withEffect">
                                  <p:stCondLst>
                                    <p:cond delay="375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1000"/>
                                        <p:tgtEl>
                                          <p:spTgt spid="31"/>
                                        </p:tgtEl>
                                      </p:cBhvr>
                                    </p:animEffect>
                                    <p:anim calcmode="lin" valueType="num">
                                      <p:cBhvr>
                                        <p:cTn id="37" dur="1000" fill="hold"/>
                                        <p:tgtEl>
                                          <p:spTgt spid="31"/>
                                        </p:tgtEl>
                                        <p:attrNameLst>
                                          <p:attrName>ppt_x</p:attrName>
                                        </p:attrNameLst>
                                      </p:cBhvr>
                                      <p:tavLst>
                                        <p:tav tm="0">
                                          <p:val>
                                            <p:strVal val="#ppt_x"/>
                                          </p:val>
                                        </p:tav>
                                        <p:tav tm="100000">
                                          <p:val>
                                            <p:strVal val="#ppt_x"/>
                                          </p:val>
                                        </p:tav>
                                      </p:tavLst>
                                    </p:anim>
                                    <p:anim calcmode="lin" valueType="num">
                                      <p:cBhvr>
                                        <p:cTn id="38" dur="1000" fill="hold"/>
                                        <p:tgtEl>
                                          <p:spTgt spid="31"/>
                                        </p:tgtEl>
                                        <p:attrNameLst>
                                          <p:attrName>ppt_y</p:attrName>
                                        </p:attrNameLst>
                                      </p:cBhvr>
                                      <p:tavLst>
                                        <p:tav tm="0">
                                          <p:val>
                                            <p:strVal val="#ppt_y+.1"/>
                                          </p:val>
                                        </p:tav>
                                        <p:tav tm="100000">
                                          <p:val>
                                            <p:strVal val="#ppt_y"/>
                                          </p:val>
                                        </p:tav>
                                      </p:tavLst>
                                    </p:anim>
                                  </p:childTnLst>
                                </p:cTn>
                              </p:par>
                              <p:par>
                                <p:cTn id="39" presetID="53" presetClass="entr" presetSubtype="16" fill="hold" nodeType="withEffect">
                                  <p:stCondLst>
                                    <p:cond delay="3750"/>
                                  </p:stCondLst>
                                  <p:childTnLst>
                                    <p:set>
                                      <p:cBhvr>
                                        <p:cTn id="40" dur="1" fill="hold">
                                          <p:stCondLst>
                                            <p:cond delay="0"/>
                                          </p:stCondLst>
                                        </p:cTn>
                                        <p:tgtEl>
                                          <p:spTgt spid="11"/>
                                        </p:tgtEl>
                                        <p:attrNameLst>
                                          <p:attrName>style.visibility</p:attrName>
                                        </p:attrNameLst>
                                      </p:cBhvr>
                                      <p:to>
                                        <p:strVal val="visible"/>
                                      </p:to>
                                    </p:set>
                                    <p:anim calcmode="lin" valueType="num">
                                      <p:cBhvr>
                                        <p:cTn id="41" dur="500" fill="hold"/>
                                        <p:tgtEl>
                                          <p:spTgt spid="11"/>
                                        </p:tgtEl>
                                        <p:attrNameLst>
                                          <p:attrName>ppt_w</p:attrName>
                                        </p:attrNameLst>
                                      </p:cBhvr>
                                      <p:tavLst>
                                        <p:tav tm="0">
                                          <p:val>
                                            <p:fltVal val="0"/>
                                          </p:val>
                                        </p:tav>
                                        <p:tav tm="100000">
                                          <p:val>
                                            <p:strVal val="#ppt_w"/>
                                          </p:val>
                                        </p:tav>
                                      </p:tavLst>
                                    </p:anim>
                                    <p:anim calcmode="lin" valueType="num">
                                      <p:cBhvr>
                                        <p:cTn id="42" dur="500" fill="hold"/>
                                        <p:tgtEl>
                                          <p:spTgt spid="11"/>
                                        </p:tgtEl>
                                        <p:attrNameLst>
                                          <p:attrName>ppt_h</p:attrName>
                                        </p:attrNameLst>
                                      </p:cBhvr>
                                      <p:tavLst>
                                        <p:tav tm="0">
                                          <p:val>
                                            <p:fltVal val="0"/>
                                          </p:val>
                                        </p:tav>
                                        <p:tav tm="100000">
                                          <p:val>
                                            <p:strVal val="#ppt_h"/>
                                          </p:val>
                                        </p:tav>
                                      </p:tavLst>
                                    </p:anim>
                                    <p:animEffect transition="in" filter="fade">
                                      <p:cBhvr>
                                        <p:cTn id="4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1" grpId="0"/>
      <p:bldP spid="32" grpId="0" animBg="1"/>
      <p:bldP spid="37"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0146"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Diagram 1"/>
          <p:cNvGraphicFramePr/>
          <p:nvPr>
            <p:extLst>
              <p:ext uri="{D42A27DB-BD31-4B8C-83A1-F6EECF244321}">
                <p14:modId xmlns:p14="http://schemas.microsoft.com/office/powerpoint/2010/main" val="3022204638"/>
              </p:ext>
            </p:extLst>
          </p:nvPr>
        </p:nvGraphicFramePr>
        <p:xfrm>
          <a:off x="1473268" y="1320802"/>
          <a:ext cx="9245464" cy="46227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1"/>
          <p:cNvSpPr txBox="1">
            <a:spLocks/>
          </p:cNvSpPr>
          <p:nvPr/>
        </p:nvSpPr>
        <p:spPr bwMode="auto">
          <a:xfrm>
            <a:off x="250146" y="122172"/>
            <a:ext cx="10972800" cy="639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914400" indent="-914400" algn="l" rtl="0" eaLnBrk="0" fontAlgn="base" hangingPunct="0">
              <a:spcBef>
                <a:spcPct val="0"/>
              </a:spcBef>
              <a:spcAft>
                <a:spcPct val="0"/>
              </a:spcAft>
              <a:defRPr sz="3200" b="1">
                <a:solidFill>
                  <a:srgbClr val="595959"/>
                </a:solidFill>
                <a:latin typeface="+mj-lt"/>
                <a:ea typeface="+mj-ea"/>
                <a:cs typeface="+mj-cs"/>
                <a:sym typeface="Calibri" panose="020F0502020204030204" pitchFamily="34" charset="0"/>
              </a:defRPr>
            </a:lvl1pPr>
            <a:lvl2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2pPr>
            <a:lvl3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3pPr>
            <a:lvl4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4pPr>
            <a:lvl5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5pPr>
            <a:lvl6pPr marL="13716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6pPr>
            <a:lvl7pPr marL="18288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7pPr>
            <a:lvl8pPr marL="22860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8pPr>
            <a:lvl9pPr marL="27432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9pPr>
          </a:lstStyle>
          <a:p>
            <a:pPr>
              <a:buFontTx/>
            </a:pPr>
            <a:r>
              <a:rPr lang="en-US" dirty="0" smtClean="0">
                <a:solidFill>
                  <a:srgbClr val="3E6EB7"/>
                </a:solidFill>
                <a:sym typeface="Wingdings" panose="05000000000000000000" pitchFamily="2" charset="2"/>
              </a:rPr>
              <a:t> </a:t>
            </a:r>
            <a:r>
              <a:rPr lang="en-US" sz="4800" dirty="0" smtClean="0">
                <a:solidFill>
                  <a:srgbClr val="002060"/>
                </a:solidFill>
                <a:latin typeface="DilleniaUPC" pitchFamily="18" charset="-34"/>
                <a:ea typeface="+mn-ea"/>
                <a:cs typeface="DilleniaUPC" pitchFamily="18" charset="-34"/>
              </a:rPr>
              <a:t>MANFAAT PIHPS NASIONAL </a:t>
            </a:r>
            <a:endParaRPr lang="en-US" sz="4800" dirty="0">
              <a:solidFill>
                <a:srgbClr val="002060"/>
              </a:solidFill>
              <a:latin typeface="DilleniaUPC" pitchFamily="18" charset="-34"/>
              <a:ea typeface="+mn-ea"/>
              <a:cs typeface="DilleniaUPC" pitchFamily="18" charset="-34"/>
            </a:endParaRPr>
          </a:p>
        </p:txBody>
      </p:sp>
    </p:spTree>
    <p:extLst>
      <p:ext uri="{BB962C8B-B14F-4D97-AF65-F5344CB8AC3E}">
        <p14:creationId xmlns:p14="http://schemas.microsoft.com/office/powerpoint/2010/main" val="2698573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p:cNvSpPr/>
          <p:nvPr/>
        </p:nvSpPr>
        <p:spPr>
          <a:xfrm>
            <a:off x="250146"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134126"/>
            <a:ext cx="8229600" cy="563562"/>
          </a:xfrm>
        </p:spPr>
        <p:txBody>
          <a:bodyPr>
            <a:noAutofit/>
          </a:bodyPr>
          <a:lstStyle/>
          <a:p>
            <a:pPr algn="l"/>
            <a:r>
              <a:rPr lang="id-ID" sz="4800" b="1" dirty="0">
                <a:solidFill>
                  <a:srgbClr val="002060"/>
                </a:solidFill>
                <a:latin typeface="DilleniaUPC" pitchFamily="18" charset="-34"/>
                <a:ea typeface="+mn-ea"/>
                <a:cs typeface="DilleniaUPC" pitchFamily="18" charset="-34"/>
              </a:rPr>
              <a:t>PENGEMBANGAN PIHPS TAHAP I</a:t>
            </a:r>
            <a:endParaRPr lang="en-US" sz="4800" b="1" dirty="0">
              <a:solidFill>
                <a:srgbClr val="002060"/>
              </a:solidFill>
              <a:latin typeface="DilleniaUPC" pitchFamily="18" charset="-34"/>
              <a:ea typeface="+mn-ea"/>
              <a:cs typeface="DilleniaUPC" pitchFamily="18" charset="-34"/>
            </a:endParaRPr>
          </a:p>
        </p:txBody>
      </p:sp>
      <p:graphicFrame>
        <p:nvGraphicFramePr>
          <p:cNvPr id="5" name="Table 4"/>
          <p:cNvGraphicFramePr>
            <a:graphicFrameLocks noGrp="1"/>
          </p:cNvGraphicFramePr>
          <p:nvPr>
            <p:extLst>
              <p:ext uri="{D42A27DB-BD31-4B8C-83A1-F6EECF244321}">
                <p14:modId xmlns:p14="http://schemas.microsoft.com/office/powerpoint/2010/main" val="3038304393"/>
              </p:ext>
            </p:extLst>
          </p:nvPr>
        </p:nvGraphicFramePr>
        <p:xfrm>
          <a:off x="228600" y="833636"/>
          <a:ext cx="11766176" cy="5766180"/>
        </p:xfrm>
        <a:graphic>
          <a:graphicData uri="http://schemas.openxmlformats.org/drawingml/2006/table">
            <a:tbl>
              <a:tblPr firstRow="1" bandRow="1">
                <a:tableStyleId>{93296810-A885-4BE3-A3E7-6D5BEEA58F35}</a:tableStyleId>
              </a:tblPr>
              <a:tblGrid>
                <a:gridCol w="1020985">
                  <a:extLst>
                    <a:ext uri="{9D8B030D-6E8A-4147-A177-3AD203B41FA5}">
                      <a16:colId xmlns="" xmlns:a16="http://schemas.microsoft.com/office/drawing/2014/main" val="20000"/>
                    </a:ext>
                  </a:extLst>
                </a:gridCol>
                <a:gridCol w="5796674">
                  <a:extLst>
                    <a:ext uri="{9D8B030D-6E8A-4147-A177-3AD203B41FA5}">
                      <a16:colId xmlns="" xmlns:a16="http://schemas.microsoft.com/office/drawing/2014/main" val="20001"/>
                    </a:ext>
                  </a:extLst>
                </a:gridCol>
                <a:gridCol w="4948517">
                  <a:extLst>
                    <a:ext uri="{9D8B030D-6E8A-4147-A177-3AD203B41FA5}">
                      <a16:colId xmlns="" xmlns:a16="http://schemas.microsoft.com/office/drawing/2014/main" val="20002"/>
                    </a:ext>
                  </a:extLst>
                </a:gridCol>
              </a:tblGrid>
              <a:tr h="630233">
                <a:tc>
                  <a:txBody>
                    <a:bodyPr/>
                    <a:lstStyle/>
                    <a:p>
                      <a:pPr algn="ctr">
                        <a:spcBef>
                          <a:spcPts val="300"/>
                        </a:spcBef>
                        <a:spcAft>
                          <a:spcPts val="300"/>
                        </a:spcAft>
                      </a:pPr>
                      <a:r>
                        <a:rPr lang="en-US" sz="2000" b="1" dirty="0" smtClean="0">
                          <a:solidFill>
                            <a:srgbClr val="FFFF00"/>
                          </a:solidFill>
                          <a:latin typeface="Agency FB" panose="020B0503020202020204" pitchFamily="34" charset="0"/>
                        </a:rPr>
                        <a:t>PERIODE</a:t>
                      </a:r>
                      <a:endParaRPr lang="en-US" sz="2000" b="1" dirty="0">
                        <a:solidFill>
                          <a:srgbClr val="FFFF00"/>
                        </a:solidFill>
                        <a:latin typeface="Agency FB" panose="020B0503020202020204" pitchFamily="34" charset="0"/>
                      </a:endParaRPr>
                    </a:p>
                  </a:txBody>
                  <a:tcPr anchor="ctr">
                    <a:solidFill>
                      <a:schemeClr val="accent1">
                        <a:lumMod val="50000"/>
                      </a:schemeClr>
                    </a:solidFill>
                  </a:tcPr>
                </a:tc>
                <a:tc>
                  <a:txBody>
                    <a:bodyPr/>
                    <a:lstStyle/>
                    <a:p>
                      <a:pPr algn="ctr">
                        <a:spcBef>
                          <a:spcPts val="300"/>
                        </a:spcBef>
                        <a:spcAft>
                          <a:spcPts val="300"/>
                        </a:spcAft>
                      </a:pPr>
                      <a:r>
                        <a:rPr lang="en-US" sz="2000" b="1" dirty="0" smtClean="0">
                          <a:solidFill>
                            <a:srgbClr val="FFFF00"/>
                          </a:solidFill>
                          <a:latin typeface="Agency FB" panose="020B0503020202020204" pitchFamily="34" charset="0"/>
                        </a:rPr>
                        <a:t>POKJANAS</a:t>
                      </a:r>
                      <a:r>
                        <a:rPr lang="en-US" sz="2000" b="1" baseline="0" dirty="0" smtClean="0">
                          <a:solidFill>
                            <a:srgbClr val="FFFF00"/>
                          </a:solidFill>
                          <a:latin typeface="Agency FB" panose="020B0503020202020204" pitchFamily="34" charset="0"/>
                        </a:rPr>
                        <a:t> TPID</a:t>
                      </a:r>
                      <a:endParaRPr lang="en-US" sz="2000" b="1" dirty="0">
                        <a:solidFill>
                          <a:srgbClr val="FFFF00"/>
                        </a:solidFill>
                        <a:latin typeface="Agency FB" panose="020B0503020202020204" pitchFamily="34" charset="0"/>
                      </a:endParaRPr>
                    </a:p>
                  </a:txBody>
                  <a:tcPr anchor="ctr">
                    <a:solidFill>
                      <a:schemeClr val="accent1">
                        <a:lumMod val="50000"/>
                      </a:schemeClr>
                    </a:solidFill>
                  </a:tcPr>
                </a:tc>
                <a:tc>
                  <a:txBody>
                    <a:bodyPr/>
                    <a:lstStyle/>
                    <a:p>
                      <a:pPr algn="ctr">
                        <a:spcBef>
                          <a:spcPts val="300"/>
                        </a:spcBef>
                        <a:spcAft>
                          <a:spcPts val="300"/>
                        </a:spcAft>
                      </a:pPr>
                      <a:r>
                        <a:rPr lang="en-US" sz="2000" b="1" dirty="0" smtClean="0">
                          <a:solidFill>
                            <a:srgbClr val="FFFF00"/>
                          </a:solidFill>
                          <a:latin typeface="Agency FB" panose="020B0503020202020204" pitchFamily="34" charset="0"/>
                        </a:rPr>
                        <a:t>TPID</a:t>
                      </a:r>
                      <a:endParaRPr lang="en-US" sz="2000" b="1" dirty="0">
                        <a:solidFill>
                          <a:srgbClr val="FFFF00"/>
                        </a:solidFill>
                        <a:latin typeface="Agency FB" panose="020B0503020202020204" pitchFamily="34" charset="0"/>
                      </a:endParaRPr>
                    </a:p>
                  </a:txBody>
                  <a:tcPr anchor="ctr">
                    <a:solidFill>
                      <a:schemeClr val="accent1">
                        <a:lumMod val="50000"/>
                      </a:schemeClr>
                    </a:solidFill>
                  </a:tcPr>
                </a:tc>
                <a:extLst>
                  <a:ext uri="{0D108BD9-81ED-4DB2-BD59-A6C34878D82A}">
                    <a16:rowId xmlns="" xmlns:a16="http://schemas.microsoft.com/office/drawing/2014/main" val="10000"/>
                  </a:ext>
                </a:extLst>
              </a:tr>
              <a:tr h="1696190">
                <a:tc>
                  <a:txBody>
                    <a:bodyPr/>
                    <a:lstStyle/>
                    <a:p>
                      <a:pPr algn="ctr">
                        <a:spcBef>
                          <a:spcPts val="300"/>
                        </a:spcBef>
                        <a:spcAft>
                          <a:spcPts val="300"/>
                        </a:spcAft>
                      </a:pPr>
                      <a:r>
                        <a:rPr lang="en-US" sz="2000" b="1" dirty="0" smtClean="0">
                          <a:solidFill>
                            <a:srgbClr val="002060"/>
                          </a:solidFill>
                          <a:latin typeface="Agency FB" panose="020B0503020202020204" pitchFamily="34" charset="0"/>
                        </a:rPr>
                        <a:t>2013</a:t>
                      </a:r>
                      <a:endParaRPr lang="en-US" sz="2000" b="1" dirty="0">
                        <a:solidFill>
                          <a:srgbClr val="002060"/>
                        </a:solidFill>
                        <a:latin typeface="Agency FB" panose="020B0503020202020204" pitchFamily="34" charset="0"/>
                      </a:endParaRPr>
                    </a:p>
                  </a:txBody>
                  <a:tcPr>
                    <a:solidFill>
                      <a:schemeClr val="bg1">
                        <a:lumMod val="95000"/>
                      </a:schemeClr>
                    </a:solidFill>
                  </a:tcPr>
                </a:tc>
                <a:tc>
                  <a:txBody>
                    <a:bodyPr/>
                    <a:lstStyle/>
                    <a:p>
                      <a:pPr marL="342900" indent="-342900">
                        <a:spcBef>
                          <a:spcPts val="300"/>
                        </a:spcBef>
                        <a:spcAft>
                          <a:spcPts val="300"/>
                        </a:spcAft>
                        <a:buAutoNum type="alphaLcPeriod"/>
                      </a:pPr>
                      <a:r>
                        <a:rPr lang="en-US" sz="2000" b="1" dirty="0" smtClean="0">
                          <a:latin typeface="Agency FB" panose="020B0503020202020204" pitchFamily="34" charset="0"/>
                        </a:rPr>
                        <a:t>PENGEMBANGAN PILLOT PROJECT PIHPS JAKARTA</a:t>
                      </a:r>
                    </a:p>
                    <a:p>
                      <a:pPr marL="342900" indent="-342900">
                        <a:spcBef>
                          <a:spcPts val="300"/>
                        </a:spcBef>
                        <a:spcAft>
                          <a:spcPts val="300"/>
                        </a:spcAft>
                        <a:buAutoNum type="alphaLcPeriod"/>
                      </a:pPr>
                      <a:r>
                        <a:rPr lang="en-US" sz="2000" b="1" dirty="0" smtClean="0">
                          <a:latin typeface="Agency FB" panose="020B0503020202020204" pitchFamily="34" charset="0"/>
                        </a:rPr>
                        <a:t>MELAKUKAN PENJAJAKAN LEBIH LANJUT DENGAN KEMENDAG &amp; KEMENTAN UNTUK MENYUSUN BLUE PRINT PIHPS NASIONAL</a:t>
                      </a:r>
                    </a:p>
                    <a:p>
                      <a:pPr marL="342900" indent="-342900">
                        <a:spcBef>
                          <a:spcPts val="300"/>
                        </a:spcBef>
                        <a:spcAft>
                          <a:spcPts val="300"/>
                        </a:spcAft>
                        <a:buAutoNum type="alphaLcPeriod"/>
                      </a:pPr>
                      <a:r>
                        <a:rPr lang="en-US" sz="2000" b="1" dirty="0" smtClean="0">
                          <a:latin typeface="Agency FB" panose="020B0503020202020204" pitchFamily="34" charset="0"/>
                        </a:rPr>
                        <a:t>PENYUSUNAN BLUEPRINT PIHPS</a:t>
                      </a:r>
                      <a:endParaRPr lang="en-US" sz="2000" b="1" dirty="0">
                        <a:latin typeface="Agency FB" panose="020B0503020202020204" pitchFamily="34" charset="0"/>
                      </a:endParaRPr>
                    </a:p>
                  </a:txBody>
                  <a:tcPr>
                    <a:solidFill>
                      <a:schemeClr val="bg1">
                        <a:lumMod val="95000"/>
                      </a:schemeClr>
                    </a:solidFill>
                  </a:tcPr>
                </a:tc>
                <a:tc>
                  <a:txBody>
                    <a:bodyPr/>
                    <a:lstStyle/>
                    <a:p>
                      <a:pPr>
                        <a:spcBef>
                          <a:spcPts val="300"/>
                        </a:spcBef>
                        <a:spcAft>
                          <a:spcPts val="300"/>
                        </a:spcAft>
                      </a:pPr>
                      <a:r>
                        <a:rPr lang="en-US" sz="2000" b="1" dirty="0" smtClean="0">
                          <a:latin typeface="Agency FB" panose="020B0503020202020204" pitchFamily="34" charset="0"/>
                        </a:rPr>
                        <a:t>MELAKUKAN IDENTIFIKASI DATA YANG TERSEDIA DI DAERAH (SUMBER DATA, CONTINUITY, MEKANISME DAN PERIODE PENYAMPAIAN DATA)</a:t>
                      </a:r>
                      <a:endParaRPr lang="en-US" sz="2000" b="1" dirty="0">
                        <a:latin typeface="Agency FB" panose="020B0503020202020204" pitchFamily="34" charset="0"/>
                      </a:endParaRPr>
                    </a:p>
                  </a:txBody>
                  <a:tcPr>
                    <a:solidFill>
                      <a:schemeClr val="bg1">
                        <a:lumMod val="95000"/>
                      </a:schemeClr>
                    </a:solidFill>
                  </a:tcPr>
                </a:tc>
                <a:extLst>
                  <a:ext uri="{0D108BD9-81ED-4DB2-BD59-A6C34878D82A}">
                    <a16:rowId xmlns="" xmlns:a16="http://schemas.microsoft.com/office/drawing/2014/main" val="10001"/>
                  </a:ext>
                </a:extLst>
              </a:tr>
              <a:tr h="1976717">
                <a:tc>
                  <a:txBody>
                    <a:bodyPr/>
                    <a:lstStyle/>
                    <a:p>
                      <a:pPr algn="ctr">
                        <a:spcBef>
                          <a:spcPts val="300"/>
                        </a:spcBef>
                        <a:spcAft>
                          <a:spcPts val="300"/>
                        </a:spcAft>
                      </a:pPr>
                      <a:r>
                        <a:rPr lang="en-US" sz="2000" b="1" dirty="0" smtClean="0">
                          <a:solidFill>
                            <a:srgbClr val="002060"/>
                          </a:solidFill>
                          <a:latin typeface="Agency FB" panose="020B0503020202020204" pitchFamily="34" charset="0"/>
                        </a:rPr>
                        <a:t>2014</a:t>
                      </a:r>
                      <a:endParaRPr lang="en-US" sz="2000" b="1" dirty="0">
                        <a:solidFill>
                          <a:srgbClr val="002060"/>
                        </a:solidFill>
                        <a:latin typeface="Agency FB" panose="020B0503020202020204" pitchFamily="34" charset="0"/>
                      </a:endParaRPr>
                    </a:p>
                  </a:txBody>
                  <a:tcPr>
                    <a:solidFill>
                      <a:schemeClr val="bg1">
                        <a:lumMod val="85000"/>
                      </a:schemeClr>
                    </a:solidFill>
                  </a:tcPr>
                </a:tc>
                <a:tc>
                  <a:txBody>
                    <a:bodyPr/>
                    <a:lstStyle/>
                    <a:p>
                      <a:pPr marL="342900" indent="-342900">
                        <a:spcBef>
                          <a:spcPts val="300"/>
                        </a:spcBef>
                        <a:spcAft>
                          <a:spcPts val="300"/>
                        </a:spcAft>
                        <a:buAutoNum type="alphaLcPeriod"/>
                      </a:pPr>
                      <a:r>
                        <a:rPr lang="en-US" sz="2000" b="1" dirty="0" smtClean="0">
                          <a:latin typeface="Agency FB" panose="020B0503020202020204" pitchFamily="34" charset="0"/>
                        </a:rPr>
                        <a:t>MENSOSIALISASIKAN BLUE PRINT PIHPS NASIONAL</a:t>
                      </a:r>
                    </a:p>
                    <a:p>
                      <a:pPr marL="342900" indent="-342900">
                        <a:spcBef>
                          <a:spcPts val="300"/>
                        </a:spcBef>
                        <a:spcAft>
                          <a:spcPts val="300"/>
                        </a:spcAft>
                        <a:buAutoNum type="alphaLcPeriod"/>
                      </a:pPr>
                      <a:r>
                        <a:rPr lang="en-US" sz="2000" b="1" dirty="0" smtClean="0">
                          <a:latin typeface="Agency FB" panose="020B0503020202020204" pitchFamily="34" charset="0"/>
                        </a:rPr>
                        <a:t>PENYEMPURNAAN BLUE PRINT DAN PENGEMBANGAN AWAL PIHPS NASIONAL</a:t>
                      </a:r>
                    </a:p>
                    <a:p>
                      <a:pPr marL="342900" indent="-342900">
                        <a:spcBef>
                          <a:spcPts val="300"/>
                        </a:spcBef>
                        <a:spcAft>
                          <a:spcPts val="300"/>
                        </a:spcAft>
                        <a:buAutoNum type="alphaLcPeriod"/>
                      </a:pPr>
                      <a:r>
                        <a:rPr lang="en-US" sz="2000" b="1" dirty="0" smtClean="0">
                          <a:latin typeface="Agency FB" panose="020B0503020202020204" pitchFamily="34" charset="0"/>
                        </a:rPr>
                        <a:t>MELAKUKAN PENJAJAKAN AWAL UNTUK INTEGRASI PIHPS WILAYAH JAWA</a:t>
                      </a:r>
                      <a:endParaRPr lang="en-US" sz="2000" b="1" dirty="0">
                        <a:latin typeface="Agency FB" panose="020B0503020202020204" pitchFamily="34" charset="0"/>
                      </a:endParaRPr>
                    </a:p>
                  </a:txBody>
                  <a:tcPr>
                    <a:solidFill>
                      <a:schemeClr val="bg1">
                        <a:lumMod val="85000"/>
                      </a:schemeClr>
                    </a:solidFill>
                  </a:tcPr>
                </a:tc>
                <a:tc>
                  <a:txBody>
                    <a:bodyPr/>
                    <a:lstStyle/>
                    <a:p>
                      <a:pPr marL="342900" indent="-342900">
                        <a:spcBef>
                          <a:spcPts val="300"/>
                        </a:spcBef>
                        <a:spcAft>
                          <a:spcPts val="300"/>
                        </a:spcAft>
                        <a:buAutoNum type="alphaLcPeriod"/>
                      </a:pPr>
                      <a:r>
                        <a:rPr lang="en-US" sz="2000" b="1" dirty="0" smtClean="0">
                          <a:latin typeface="Agency FB" panose="020B0503020202020204" pitchFamily="34" charset="0"/>
                        </a:rPr>
                        <a:t>MENYUSUN PROGRAM PENGEMBANGAN PIHPS DI MASING-MASING DAERAH</a:t>
                      </a:r>
                    </a:p>
                    <a:p>
                      <a:pPr marL="342900" indent="-342900">
                        <a:spcBef>
                          <a:spcPts val="300"/>
                        </a:spcBef>
                        <a:spcAft>
                          <a:spcPts val="300"/>
                        </a:spcAft>
                        <a:buAutoNum type="alphaLcPeriod"/>
                      </a:pPr>
                      <a:r>
                        <a:rPr lang="en-US" sz="2000" b="1" dirty="0" smtClean="0">
                          <a:latin typeface="Agency FB" panose="020B0503020202020204" pitchFamily="34" charset="0"/>
                        </a:rPr>
                        <a:t>MENGEMBANGKAN PIHPS REGIONAL (TAHAP AWAL HANYA DATA DI LEVEL KONSUMEN)</a:t>
                      </a:r>
                    </a:p>
                    <a:p>
                      <a:pPr marL="342900" indent="-342900">
                        <a:spcBef>
                          <a:spcPts val="300"/>
                        </a:spcBef>
                        <a:spcAft>
                          <a:spcPts val="300"/>
                        </a:spcAft>
                        <a:buAutoNum type="alphaLcPeriod"/>
                      </a:pPr>
                      <a:r>
                        <a:rPr lang="en-US" sz="2000" b="1" dirty="0" smtClean="0">
                          <a:latin typeface="Agency FB" panose="020B0503020202020204" pitchFamily="34" charset="0"/>
                        </a:rPr>
                        <a:t>PERSIAPAN INTEGRASI DENGAN PIHPS NASIONAL</a:t>
                      </a:r>
                      <a:endParaRPr lang="en-US" sz="2000" b="1" dirty="0">
                        <a:latin typeface="Agency FB" panose="020B0503020202020204" pitchFamily="34" charset="0"/>
                      </a:endParaRPr>
                    </a:p>
                  </a:txBody>
                  <a:tcPr>
                    <a:solidFill>
                      <a:schemeClr val="bg1">
                        <a:lumMod val="85000"/>
                      </a:schemeClr>
                    </a:solidFill>
                  </a:tcPr>
                </a:tc>
                <a:extLst>
                  <a:ext uri="{0D108BD9-81ED-4DB2-BD59-A6C34878D82A}">
                    <a16:rowId xmlns="" xmlns:a16="http://schemas.microsoft.com/office/drawing/2014/main" val="10002"/>
                  </a:ext>
                </a:extLst>
              </a:tr>
              <a:tr h="1317812">
                <a:tc>
                  <a:txBody>
                    <a:bodyPr/>
                    <a:lstStyle/>
                    <a:p>
                      <a:pPr algn="ctr">
                        <a:spcBef>
                          <a:spcPts val="300"/>
                        </a:spcBef>
                        <a:spcAft>
                          <a:spcPts val="300"/>
                        </a:spcAft>
                      </a:pPr>
                      <a:r>
                        <a:rPr lang="en-US" sz="2000" b="1" dirty="0" smtClean="0">
                          <a:solidFill>
                            <a:srgbClr val="002060"/>
                          </a:solidFill>
                          <a:latin typeface="Agency FB" panose="020B0503020202020204" pitchFamily="34" charset="0"/>
                        </a:rPr>
                        <a:t>2015</a:t>
                      </a:r>
                      <a:endParaRPr lang="en-US" sz="2000" b="1" dirty="0">
                        <a:solidFill>
                          <a:srgbClr val="002060"/>
                        </a:solidFill>
                        <a:latin typeface="Agency FB" panose="020B0503020202020204" pitchFamily="34" charset="0"/>
                      </a:endParaRPr>
                    </a:p>
                  </a:txBody>
                  <a:tcPr>
                    <a:solidFill>
                      <a:schemeClr val="bg1">
                        <a:lumMod val="95000"/>
                      </a:schemeClr>
                    </a:solidFill>
                  </a:tcPr>
                </a:tc>
                <a:tc>
                  <a:txBody>
                    <a:bodyPr/>
                    <a:lstStyle/>
                    <a:p>
                      <a:pPr marL="342900" indent="-342900">
                        <a:spcBef>
                          <a:spcPts val="300"/>
                        </a:spcBef>
                        <a:spcAft>
                          <a:spcPts val="300"/>
                        </a:spcAft>
                        <a:buAutoNum type="alphaLcPeriod"/>
                      </a:pPr>
                      <a:r>
                        <a:rPr lang="en-US" sz="2000" b="1" dirty="0" smtClean="0">
                          <a:latin typeface="Agency FB" panose="020B0503020202020204" pitchFamily="34" charset="0"/>
                        </a:rPr>
                        <a:t>PENGEMBANGAN DAN PENYEMPURNAAN PIHPS NASIONAL</a:t>
                      </a:r>
                    </a:p>
                    <a:p>
                      <a:pPr marL="342900" indent="-342900">
                        <a:spcBef>
                          <a:spcPts val="300"/>
                        </a:spcBef>
                        <a:spcAft>
                          <a:spcPts val="300"/>
                        </a:spcAft>
                        <a:buAutoNum type="alphaLcPeriod"/>
                      </a:pPr>
                      <a:r>
                        <a:rPr lang="en-US" sz="2000" b="1" dirty="0" smtClean="0">
                          <a:latin typeface="Agency FB" panose="020B0503020202020204" pitchFamily="34" charset="0"/>
                        </a:rPr>
                        <a:t>MELAKUKAN INTEGRASI PIHPS NASIONAL DENGAN PIHPS DAERAH</a:t>
                      </a:r>
                    </a:p>
                    <a:p>
                      <a:pPr marL="342900" indent="-342900">
                        <a:spcBef>
                          <a:spcPts val="300"/>
                        </a:spcBef>
                        <a:spcAft>
                          <a:spcPts val="300"/>
                        </a:spcAft>
                        <a:buAutoNum type="alphaLcPeriod"/>
                      </a:pPr>
                      <a:r>
                        <a:rPr lang="en-US" sz="2000" b="1" dirty="0" smtClean="0">
                          <a:latin typeface="Agency FB" panose="020B0503020202020204" pitchFamily="34" charset="0"/>
                        </a:rPr>
                        <a:t>FINALISASI PIHPS NASIONAL TAHAP I</a:t>
                      </a:r>
                      <a:endParaRPr lang="en-US" sz="2000" b="1" dirty="0">
                        <a:latin typeface="Agency FB" panose="020B0503020202020204" pitchFamily="34" charset="0"/>
                      </a:endParaRPr>
                    </a:p>
                  </a:txBody>
                  <a:tcPr>
                    <a:solidFill>
                      <a:schemeClr val="bg1">
                        <a:lumMod val="95000"/>
                      </a:schemeClr>
                    </a:solidFill>
                  </a:tcPr>
                </a:tc>
                <a:tc>
                  <a:txBody>
                    <a:bodyPr/>
                    <a:lstStyle/>
                    <a:p>
                      <a:pPr marL="342900" indent="-342900" algn="l" defTabSz="914400" rtl="0" eaLnBrk="1" latinLnBrk="0" hangingPunct="1">
                        <a:spcBef>
                          <a:spcPts val="300"/>
                        </a:spcBef>
                        <a:spcAft>
                          <a:spcPts val="300"/>
                        </a:spcAft>
                        <a:buAutoNum type="alphaLcPeriod"/>
                      </a:pPr>
                      <a:r>
                        <a:rPr lang="en-US" sz="2000" b="1" kern="1200" dirty="0" smtClean="0">
                          <a:latin typeface="Agency FB" panose="020B0503020202020204" pitchFamily="34" charset="0"/>
                        </a:rPr>
                        <a:t>MENGEMBANGKAN DAN MENYEMPURNAKAN PIHPS REGIONAL</a:t>
                      </a:r>
                    </a:p>
                    <a:p>
                      <a:pPr marL="342900" indent="-342900" algn="l" defTabSz="914400" rtl="0" eaLnBrk="1" latinLnBrk="0" hangingPunct="1">
                        <a:spcBef>
                          <a:spcPts val="300"/>
                        </a:spcBef>
                        <a:spcAft>
                          <a:spcPts val="300"/>
                        </a:spcAft>
                        <a:buAutoNum type="alphaLcPeriod"/>
                      </a:pPr>
                      <a:r>
                        <a:rPr lang="en-US" sz="2000" b="1" kern="1200" dirty="0" smtClean="0">
                          <a:latin typeface="Agency FB" panose="020B0503020202020204" pitchFamily="34" charset="0"/>
                        </a:rPr>
                        <a:t>MELAKUKAN INTEGRASI DENGAN PIHPS NASIONAL</a:t>
                      </a:r>
                      <a:endParaRPr lang="en-US" sz="2000" b="1" kern="1200" dirty="0">
                        <a:solidFill>
                          <a:schemeClr val="dk1"/>
                        </a:solidFill>
                        <a:latin typeface="Agency FB" panose="020B0503020202020204" pitchFamily="34" charset="0"/>
                        <a:ea typeface="+mn-ea"/>
                        <a:cs typeface="+mn-cs"/>
                      </a:endParaRPr>
                    </a:p>
                  </a:txBody>
                  <a:tcPr>
                    <a:solidFill>
                      <a:schemeClr val="bg1">
                        <a:lumMod val="95000"/>
                      </a:schemeClr>
                    </a:solidFill>
                  </a:tcPr>
                </a:tc>
                <a:extLst>
                  <a:ext uri="{0D108BD9-81ED-4DB2-BD59-A6C34878D82A}">
                    <a16:rowId xmlns="" xmlns:a16="http://schemas.microsoft.com/office/drawing/2014/main" val="10003"/>
                  </a:ext>
                </a:extLst>
              </a:tr>
            </a:tbl>
          </a:graphicData>
        </a:graphic>
      </p:graphicFrame>
      <p:pic>
        <p:nvPicPr>
          <p:cNvPr id="8" name="Picture 7"/>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Effect>
                      <a14:saturation sat="200000"/>
                    </a14:imgEffect>
                  </a14:imgLayer>
                </a14:imgProps>
              </a:ext>
            </a:extLst>
          </a:blip>
          <a:srcRect l="12295" t="8283" r="13522" b="10367"/>
          <a:stretch/>
        </p:blipFill>
        <p:spPr>
          <a:xfrm rot="364096">
            <a:off x="10091091" y="91706"/>
            <a:ext cx="1793601" cy="1105829"/>
          </a:xfrm>
          <a:prstGeom prst="roundRect">
            <a:avLst>
              <a:gd name="adj" fmla="val 10921"/>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10" name="TextBox 9"/>
          <p:cNvSpPr txBox="1"/>
          <p:nvPr/>
        </p:nvSpPr>
        <p:spPr>
          <a:xfrm>
            <a:off x="11531718" y="46575"/>
            <a:ext cx="406400" cy="369332"/>
          </a:xfrm>
          <a:prstGeom prst="rect">
            <a:avLst/>
          </a:prstGeom>
          <a:noFill/>
        </p:spPr>
        <p:txBody>
          <a:bodyPr wrap="square" rtlCol="0">
            <a:spAutoFit/>
          </a:bodyPr>
          <a:lstStyle/>
          <a:p>
            <a:r>
              <a:rPr lang="id-ID" b="1" dirty="0"/>
              <a:t>6</a:t>
            </a:r>
          </a:p>
        </p:txBody>
      </p:sp>
      <p:sp>
        <p:nvSpPr>
          <p:cNvPr id="3" name="Slide Number Placeholder 2"/>
          <p:cNvSpPr>
            <a:spLocks noGrp="1"/>
          </p:cNvSpPr>
          <p:nvPr>
            <p:ph type="sldNum" sz="quarter" idx="12"/>
          </p:nvPr>
        </p:nvSpPr>
        <p:spPr/>
        <p:txBody>
          <a:bodyPr/>
          <a:lstStyle/>
          <a:p>
            <a:fld id="{7D08530B-D843-4B68-A89E-667FFE5D1D6F}" type="slidenum">
              <a:rPr lang="en-US" smtClean="0"/>
              <a:t>7</a:t>
            </a:fld>
            <a:endParaRPr lang="en-US"/>
          </a:p>
        </p:txBody>
      </p:sp>
    </p:spTree>
    <p:extLst>
      <p:ext uri="{BB962C8B-B14F-4D97-AF65-F5344CB8AC3E}">
        <p14:creationId xmlns:p14="http://schemas.microsoft.com/office/powerpoint/2010/main" val="889139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8"/>
          <p:cNvSpPr txBox="1">
            <a:spLocks noChangeArrowheads="1"/>
          </p:cNvSpPr>
          <p:nvPr/>
        </p:nvSpPr>
        <p:spPr bwMode="auto">
          <a:xfrm>
            <a:off x="1320800" y="1225689"/>
            <a:ext cx="10566400" cy="69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rgbClr val="C00000"/>
                </a:solidFill>
                <a:latin typeface="Calibri" pitchFamily="34" charset="0"/>
              </a:defRPr>
            </a:lvl1pPr>
            <a:lvl2pPr>
              <a:defRPr>
                <a:solidFill>
                  <a:schemeClr val="tx1"/>
                </a:solidFill>
                <a:latin typeface="Calibri" pitchFamily="34" charset="0"/>
              </a:defRPr>
            </a:lvl2pPr>
            <a:lvl3pPr>
              <a:defRPr>
                <a:solidFill>
                  <a:schemeClr val="tx1"/>
                </a:solidFill>
                <a:latin typeface="Calibri" pitchFamily="34" charset="0"/>
              </a:defRPr>
            </a:lvl3pPr>
            <a:lvl4pPr>
              <a:defRPr>
                <a:solidFill>
                  <a:schemeClr val="tx1"/>
                </a:solidFill>
                <a:latin typeface="Calibri" pitchFamily="34" charset="0"/>
              </a:defRPr>
            </a:lvl4pPr>
            <a:lvl5pPr>
              <a:defRPr>
                <a:solidFill>
                  <a:schemeClr val="tx1"/>
                </a:solidFill>
                <a:latin typeface="Calibri" pitchFamily="34" charset="0"/>
              </a:defRPr>
            </a:lvl5pPr>
            <a:lvl6pPr eaLnBrk="0" fontAlgn="base" hangingPunct="0">
              <a:spcAft>
                <a:spcPct val="0"/>
              </a:spcAft>
              <a:buChar char="»"/>
              <a:defRPr>
                <a:solidFill>
                  <a:schemeClr val="tx1"/>
                </a:solidFill>
                <a:latin typeface="Calibri" pitchFamily="34" charset="0"/>
              </a:defRPr>
            </a:lvl6pPr>
            <a:lvl7pPr eaLnBrk="0" fontAlgn="base" hangingPunct="0">
              <a:spcAft>
                <a:spcPct val="0"/>
              </a:spcAft>
              <a:buChar char="»"/>
              <a:defRPr>
                <a:solidFill>
                  <a:schemeClr val="tx1"/>
                </a:solidFill>
                <a:latin typeface="Calibri" pitchFamily="34" charset="0"/>
              </a:defRPr>
            </a:lvl7pPr>
            <a:lvl8pPr eaLnBrk="0" fontAlgn="base" hangingPunct="0">
              <a:spcAft>
                <a:spcPct val="0"/>
              </a:spcAft>
              <a:buChar char="»"/>
              <a:defRPr>
                <a:solidFill>
                  <a:schemeClr val="tx1"/>
                </a:solidFill>
                <a:latin typeface="Calibri" pitchFamily="34" charset="0"/>
              </a:defRPr>
            </a:lvl8pPr>
            <a:lvl9pPr eaLnBrk="0" fontAlgn="base" hangingPunct="0">
              <a:spcAft>
                <a:spcPct val="0"/>
              </a:spcAft>
              <a:buChar char="»"/>
              <a:defRPr>
                <a:solidFill>
                  <a:schemeClr val="tx1"/>
                </a:solidFill>
                <a:latin typeface="Calibri" pitchFamily="34" charset="0"/>
              </a:defRPr>
            </a:lvl9pPr>
          </a:lstStyle>
          <a:p>
            <a:pPr lvl="0"/>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P</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eriode </a:t>
            </a:r>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input data yang belum seragam antar satu daerah dengan daerah lainnya (ada yang harian dan ada yang bulanan</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a:t>
            </a:r>
            <a:endParaRPr lang="en-US" sz="2800" dirty="0" smtClean="0">
              <a:solidFill>
                <a:srgbClr val="0070C0"/>
              </a:solidFill>
              <a:latin typeface="Agency FB" pitchFamily="34" charset="0"/>
              <a:ea typeface="Times New Roman" panose="02020603050405020304" pitchFamily="18" charset="0"/>
              <a:cs typeface="Times New Roman" panose="02020603050405020304" pitchFamily="18" charset="0"/>
            </a:endParaRPr>
          </a:p>
          <a:p>
            <a:pPr lvl="0"/>
            <a:endParaRPr lang="en-US" sz="2800" dirty="0">
              <a:solidFill>
                <a:srgbClr val="0070C0"/>
              </a:solidFill>
              <a:latin typeface="Agency FB" pitchFamily="34" charset="0"/>
              <a:ea typeface="Times New Roman" panose="02020603050405020304" pitchFamily="18" charset="0"/>
              <a:cs typeface="Times New Roman" panose="02020603050405020304" pitchFamily="18" charset="0"/>
            </a:endParaRPr>
          </a:p>
          <a:p>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T</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erdapat </a:t>
            </a:r>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daerah dengan lag data yang cukup panjang, dan di beberapa daerah terdapat permasalahan konsistensi penyampaian data</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a:t>
            </a:r>
            <a:endParaRPr lang="en-US" sz="2800" dirty="0" smtClean="0">
              <a:solidFill>
                <a:srgbClr val="0070C0"/>
              </a:solidFill>
              <a:latin typeface="Agency FB" pitchFamily="34" charset="0"/>
              <a:ea typeface="Times New Roman" panose="02020603050405020304" pitchFamily="18" charset="0"/>
              <a:cs typeface="Times New Roman" panose="02020603050405020304" pitchFamily="18" charset="0"/>
            </a:endParaRPr>
          </a:p>
          <a:p>
            <a:endParaRPr lang="en-US" sz="2800" dirty="0">
              <a:solidFill>
                <a:srgbClr val="0070C0"/>
              </a:solidFill>
              <a:latin typeface="Agency FB" pitchFamily="34" charset="0"/>
              <a:ea typeface="Times New Roman" panose="02020603050405020304" pitchFamily="18" charset="0"/>
              <a:cs typeface="Times New Roman" panose="02020603050405020304" pitchFamily="18" charset="0"/>
            </a:endParaRPr>
          </a:p>
          <a:p>
            <a:r>
              <a:rPr lang="en-US" sz="2800" dirty="0" smtClean="0">
                <a:solidFill>
                  <a:srgbClr val="0070C0"/>
                </a:solidFill>
                <a:latin typeface="Agency FB" pitchFamily="34" charset="0"/>
                <a:ea typeface="Times New Roman" panose="02020603050405020304" pitchFamily="18" charset="0"/>
                <a:cs typeface="Times New Roman" panose="02020603050405020304" pitchFamily="18" charset="0"/>
              </a:rPr>
              <a:t>P</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ada </a:t>
            </a:r>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PIHPS Daerah terdapat perbedaan cakupan kota (ada yang hanya mencakup ibu kota provinsi</a:t>
            </a:r>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 </a:t>
            </a:r>
            <a:r>
              <a:rPr lang="en-US" sz="2800" dirty="0" err="1">
                <a:solidFill>
                  <a:srgbClr val="0070C0"/>
                </a:solidFill>
                <a:latin typeface="Agency FB" pitchFamily="34" charset="0"/>
                <a:ea typeface="Times New Roman" panose="02020603050405020304" pitchFamily="18" charset="0"/>
                <a:cs typeface="Times New Roman" panose="02020603050405020304" pitchFamily="18" charset="0"/>
              </a:rPr>
              <a:t>namun</a:t>
            </a:r>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 </a:t>
            </a:r>
            <a:r>
              <a:rPr lang="en-US" sz="2800" dirty="0" err="1">
                <a:solidFill>
                  <a:srgbClr val="0070C0"/>
                </a:solidFill>
                <a:latin typeface="Agency FB" pitchFamily="34" charset="0"/>
                <a:ea typeface="Times New Roman" panose="02020603050405020304" pitchFamily="18" charset="0"/>
                <a:cs typeface="Times New Roman" panose="02020603050405020304" pitchFamily="18" charset="0"/>
              </a:rPr>
              <a:t>juga</a:t>
            </a:r>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 </a:t>
            </a:r>
            <a:r>
              <a:rPr lang="en-US" sz="2800" dirty="0" err="1">
                <a:solidFill>
                  <a:srgbClr val="0070C0"/>
                </a:solidFill>
                <a:latin typeface="Agency FB" pitchFamily="34" charset="0"/>
                <a:ea typeface="Times New Roman" panose="02020603050405020304" pitchFamily="18" charset="0"/>
                <a:cs typeface="Times New Roman" panose="02020603050405020304" pitchFamily="18" charset="0"/>
              </a:rPr>
              <a:t>ada</a:t>
            </a:r>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 yang </a:t>
            </a:r>
            <a:r>
              <a:rPr lang="en-US" sz="2800" dirty="0" err="1">
                <a:solidFill>
                  <a:srgbClr val="0070C0"/>
                </a:solidFill>
                <a:latin typeface="Agency FB" pitchFamily="34" charset="0"/>
                <a:ea typeface="Times New Roman" panose="02020603050405020304" pitchFamily="18" charset="0"/>
                <a:cs typeface="Times New Roman" panose="02020603050405020304" pitchFamily="18" charset="0"/>
              </a:rPr>
              <a:t>lengkap</a:t>
            </a:r>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 </a:t>
            </a:r>
            <a:r>
              <a:rPr lang="en-US" sz="2800" dirty="0" err="1">
                <a:solidFill>
                  <a:srgbClr val="0070C0"/>
                </a:solidFill>
                <a:latin typeface="Agency FB" pitchFamily="34" charset="0"/>
                <a:ea typeface="Times New Roman" panose="02020603050405020304" pitchFamily="18" charset="0"/>
                <a:cs typeface="Times New Roman" panose="02020603050405020304" pitchFamily="18" charset="0"/>
              </a:rPr>
              <a:t>dengan</a:t>
            </a:r>
            <a:r>
              <a:rPr lang="en-US" sz="2800" dirty="0">
                <a:solidFill>
                  <a:srgbClr val="0070C0"/>
                </a:solidFill>
                <a:latin typeface="Agency FB" pitchFamily="34" charset="0"/>
                <a:ea typeface="Times New Roman" panose="02020603050405020304" pitchFamily="18" charset="0"/>
                <a:cs typeface="Times New Roman" panose="02020603050405020304" pitchFamily="18" charset="0"/>
              </a:rPr>
              <a:t> </a:t>
            </a:r>
            <a:r>
              <a:rPr lang="en-US" sz="2800" dirty="0" err="1" smtClean="0">
                <a:solidFill>
                  <a:srgbClr val="0070C0"/>
                </a:solidFill>
                <a:latin typeface="Agency FB" pitchFamily="34" charset="0"/>
                <a:ea typeface="Times New Roman" panose="02020603050405020304" pitchFamily="18" charset="0"/>
                <a:cs typeface="Times New Roman" panose="02020603050405020304" pitchFamily="18" charset="0"/>
              </a:rPr>
              <a:t>kabupaten-kabupaten</a:t>
            </a:r>
            <a:endParaRPr lang="en-US" sz="2800" dirty="0" smtClean="0">
              <a:solidFill>
                <a:srgbClr val="0070C0"/>
              </a:solidFill>
              <a:latin typeface="Agency FB" pitchFamily="34" charset="0"/>
              <a:ea typeface="Times New Roman" panose="02020603050405020304" pitchFamily="18" charset="0"/>
              <a:cs typeface="Times New Roman" panose="02020603050405020304" pitchFamily="18" charset="0"/>
            </a:endParaRPr>
          </a:p>
          <a:p>
            <a:endParaRPr lang="en-US" altLang="id-ID" sz="2800" dirty="0">
              <a:solidFill>
                <a:srgbClr val="0070C0"/>
              </a:solidFill>
              <a:latin typeface="Agency FB" pitchFamily="34" charset="0"/>
              <a:ea typeface="Times New Roman" panose="02020603050405020304" pitchFamily="18" charset="0"/>
              <a:cs typeface="Times New Roman" panose="02020603050405020304" pitchFamily="18" charset="0"/>
            </a:endParaRPr>
          </a:p>
          <a:p>
            <a:pPr lvl="0"/>
            <a:r>
              <a:rPr lang="en-US" sz="2800" dirty="0" smtClean="0">
                <a:solidFill>
                  <a:srgbClr val="0070C0"/>
                </a:solidFill>
                <a:latin typeface="Agency FB" pitchFamily="34" charset="0"/>
                <a:ea typeface="Times New Roman" panose="02020603050405020304" pitchFamily="18" charset="0"/>
                <a:cs typeface="Times New Roman" panose="02020603050405020304" pitchFamily="18" charset="0"/>
              </a:rPr>
              <a:t>T</a:t>
            </a:r>
            <a:r>
              <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rPr>
              <a:t>erdapat </a:t>
            </a:r>
            <a:r>
              <a:rPr lang="id-ID" sz="2800" dirty="0">
                <a:solidFill>
                  <a:srgbClr val="0070C0"/>
                </a:solidFill>
                <a:latin typeface="Agency FB" pitchFamily="34" charset="0"/>
                <a:ea typeface="Times New Roman" panose="02020603050405020304" pitchFamily="18" charset="0"/>
                <a:cs typeface="Times New Roman" panose="02020603050405020304" pitchFamily="18" charset="0"/>
              </a:rPr>
              <a:t>perbedaan pola pengelolaan PIHPS Daerah (ada yang dikelola sepenuhnya oleh KPwDN, ada yang dikelola sepenuhnya oleh Pemda, ada yang merupakan kombinasi keduanya).  </a:t>
            </a:r>
          </a:p>
          <a:p>
            <a:endParaRPr lang="en-GB" altLang="id-ID" sz="2800" dirty="0">
              <a:solidFill>
                <a:srgbClr val="0070C0"/>
              </a:solidFill>
              <a:latin typeface="Agency FB" pitchFamily="34" charset="0"/>
              <a:ea typeface="Times New Roman" panose="02020603050405020304" pitchFamily="18" charset="0"/>
              <a:cs typeface="Times New Roman" panose="02020603050405020304" pitchFamily="18" charset="0"/>
            </a:endParaRPr>
          </a:p>
          <a:p>
            <a:endParaRPr lang="id-ID" sz="2800" dirty="0">
              <a:solidFill>
                <a:srgbClr val="0070C0"/>
              </a:solidFill>
              <a:latin typeface="Agency FB" pitchFamily="34" charset="0"/>
              <a:ea typeface="Times New Roman" panose="02020603050405020304" pitchFamily="18" charset="0"/>
              <a:cs typeface="Times New Roman" panose="02020603050405020304" pitchFamily="18" charset="0"/>
            </a:endParaRPr>
          </a:p>
          <a:p>
            <a:pPr lvl="0"/>
            <a:endParaRPr lang="id-ID" sz="2800" dirty="0" smtClean="0">
              <a:solidFill>
                <a:srgbClr val="0070C0"/>
              </a:solidFill>
              <a:latin typeface="Agency FB" pitchFamily="34" charset="0"/>
              <a:ea typeface="Times New Roman" panose="02020603050405020304" pitchFamily="18" charset="0"/>
              <a:cs typeface="Times New Roman" panose="02020603050405020304" pitchFamily="18" charset="0"/>
            </a:endParaRPr>
          </a:p>
          <a:p>
            <a:endParaRPr lang="en-GB" altLang="id-ID" sz="2800" dirty="0">
              <a:solidFill>
                <a:srgbClr val="0070C0"/>
              </a:solidFill>
              <a:effectLst>
                <a:outerShdw blurRad="38100" dist="38100" dir="2700000" algn="tl">
                  <a:srgbClr val="000000">
                    <a:alpha val="43137"/>
                  </a:srgbClr>
                </a:outerShdw>
              </a:effectLst>
              <a:cs typeface="Arial" pitchFamily="34" charset="0"/>
            </a:endParaRPr>
          </a:p>
        </p:txBody>
      </p:sp>
      <p:sp>
        <p:nvSpPr>
          <p:cNvPr id="6" name="Oval 5"/>
          <p:cNvSpPr/>
          <p:nvPr/>
        </p:nvSpPr>
        <p:spPr>
          <a:xfrm>
            <a:off x="505884" y="1301889"/>
            <a:ext cx="713316" cy="53340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b="1" dirty="0">
                <a:solidFill>
                  <a:schemeClr val="bg1"/>
                </a:solidFill>
                <a:effectLst>
                  <a:outerShdw blurRad="38100" dist="38100" dir="2700000" algn="tl">
                    <a:srgbClr val="000000">
                      <a:alpha val="43137"/>
                    </a:srgbClr>
                  </a:outerShdw>
                </a:effectLst>
              </a:rPr>
              <a:t>1</a:t>
            </a:r>
          </a:p>
        </p:txBody>
      </p:sp>
      <p:sp>
        <p:nvSpPr>
          <p:cNvPr id="7" name="Oval 6"/>
          <p:cNvSpPr/>
          <p:nvPr/>
        </p:nvSpPr>
        <p:spPr>
          <a:xfrm>
            <a:off x="521124" y="2747414"/>
            <a:ext cx="713317" cy="532263"/>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b="1" dirty="0">
                <a:solidFill>
                  <a:schemeClr val="bg1"/>
                </a:solidFill>
                <a:effectLst>
                  <a:outerShdw blurRad="38100" dist="38100" dir="2700000" algn="tl">
                    <a:srgbClr val="000000">
                      <a:alpha val="43137"/>
                    </a:srgbClr>
                  </a:outerShdw>
                </a:effectLst>
              </a:rPr>
              <a:t>2</a:t>
            </a:r>
          </a:p>
        </p:txBody>
      </p:sp>
      <p:sp>
        <p:nvSpPr>
          <p:cNvPr id="8" name="Oval 7"/>
          <p:cNvSpPr/>
          <p:nvPr/>
        </p:nvSpPr>
        <p:spPr>
          <a:xfrm>
            <a:off x="521124" y="3908752"/>
            <a:ext cx="713317" cy="514383"/>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b="1" dirty="0">
                <a:solidFill>
                  <a:schemeClr val="bg1"/>
                </a:solidFill>
                <a:effectLst>
                  <a:outerShdw blurRad="38100" dist="38100" dir="2700000" algn="tl">
                    <a:srgbClr val="000000">
                      <a:alpha val="43137"/>
                    </a:srgbClr>
                  </a:outerShdw>
                </a:effectLst>
              </a:rPr>
              <a:t>3</a:t>
            </a:r>
          </a:p>
        </p:txBody>
      </p:sp>
      <p:sp>
        <p:nvSpPr>
          <p:cNvPr id="9" name="Oval 8"/>
          <p:cNvSpPr/>
          <p:nvPr/>
        </p:nvSpPr>
        <p:spPr>
          <a:xfrm>
            <a:off x="493986" y="5226378"/>
            <a:ext cx="713317" cy="54168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b="1" dirty="0">
                <a:solidFill>
                  <a:schemeClr val="bg1"/>
                </a:solidFill>
                <a:effectLst>
                  <a:outerShdw blurRad="38100" dist="38100" dir="2700000" algn="tl">
                    <a:srgbClr val="000000">
                      <a:alpha val="43137"/>
                    </a:srgbClr>
                  </a:outerShdw>
                </a:effectLst>
              </a:rPr>
              <a:t>4</a:t>
            </a:r>
          </a:p>
        </p:txBody>
      </p:sp>
      <p:sp>
        <p:nvSpPr>
          <p:cNvPr id="14" name="Rectangle 13"/>
          <p:cNvSpPr/>
          <p:nvPr/>
        </p:nvSpPr>
        <p:spPr>
          <a:xfrm>
            <a:off x="225973" y="147928"/>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p:cNvSpPr txBox="1">
            <a:spLocks/>
          </p:cNvSpPr>
          <p:nvPr/>
        </p:nvSpPr>
        <p:spPr bwMode="auto">
          <a:xfrm>
            <a:off x="304800" y="122172"/>
            <a:ext cx="10972800" cy="639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914400" indent="-914400" algn="l" rtl="0" eaLnBrk="0" fontAlgn="base" hangingPunct="0">
              <a:spcBef>
                <a:spcPct val="0"/>
              </a:spcBef>
              <a:spcAft>
                <a:spcPct val="0"/>
              </a:spcAft>
              <a:defRPr sz="3200" b="1">
                <a:solidFill>
                  <a:srgbClr val="595959"/>
                </a:solidFill>
                <a:latin typeface="+mj-lt"/>
                <a:ea typeface="+mj-ea"/>
                <a:cs typeface="+mj-cs"/>
                <a:sym typeface="Calibri" panose="020F0502020204030204" pitchFamily="34" charset="0"/>
              </a:defRPr>
            </a:lvl1pPr>
            <a:lvl2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2pPr>
            <a:lvl3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3pPr>
            <a:lvl4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4pPr>
            <a:lvl5pPr marL="914400" indent="-914400" algn="l" rtl="0" eaLnBrk="0" fontAlgn="base" hangingPunct="0">
              <a:spcBef>
                <a:spcPct val="0"/>
              </a:spcBef>
              <a:spcAft>
                <a:spcPct val="0"/>
              </a:spcAft>
              <a:defRPr sz="3200" b="1">
                <a:solidFill>
                  <a:srgbClr val="595959"/>
                </a:solidFill>
                <a:latin typeface="Roboto" pitchFamily="2" charset="0"/>
                <a:ea typeface="Roboto" pitchFamily="2" charset="0"/>
                <a:cs typeface="Roboto" pitchFamily="2" charset="0"/>
                <a:sym typeface="Calibri" panose="020F0502020204030204" pitchFamily="34" charset="0"/>
              </a:defRPr>
            </a:lvl5pPr>
            <a:lvl6pPr marL="13716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6pPr>
            <a:lvl7pPr marL="18288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7pPr>
            <a:lvl8pPr marL="22860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8pPr>
            <a:lvl9pPr marL="2743200" indent="-914400" algn="l" rtl="0" fontAlgn="base">
              <a:spcBef>
                <a:spcPct val="0"/>
              </a:spcBef>
              <a:spcAft>
                <a:spcPct val="0"/>
              </a:spcAft>
              <a:defRPr sz="3200" b="1">
                <a:solidFill>
                  <a:srgbClr val="595959"/>
                </a:solidFill>
                <a:latin typeface="Roboto" pitchFamily="2" charset="0"/>
                <a:ea typeface="Roboto" pitchFamily="2" charset="0"/>
                <a:cs typeface="Roboto" pitchFamily="2" charset="0"/>
                <a:sym typeface="Calibri" pitchFamily="34" charset="0"/>
              </a:defRPr>
            </a:lvl9pPr>
          </a:lstStyle>
          <a:p>
            <a:pPr>
              <a:buFontTx/>
            </a:pPr>
            <a:r>
              <a:rPr lang="en-US" sz="4800" dirty="0" smtClean="0">
                <a:solidFill>
                  <a:srgbClr val="002060"/>
                </a:solidFill>
                <a:latin typeface="DilleniaUPC" pitchFamily="18" charset="-34"/>
                <a:ea typeface="+mn-ea"/>
                <a:cs typeface="DilleniaUPC" pitchFamily="18" charset="-34"/>
              </a:rPr>
              <a:t>TANTANGAN INTEGRASI TAHAP I</a:t>
            </a:r>
            <a:endParaRPr lang="en-US" sz="4800" dirty="0">
              <a:solidFill>
                <a:srgbClr val="002060"/>
              </a:solidFill>
              <a:latin typeface="DilleniaUPC" pitchFamily="18" charset="-34"/>
              <a:ea typeface="+mn-ea"/>
              <a:cs typeface="DilleniaUPC" pitchFamily="18" charset="-34"/>
            </a:endParaRPr>
          </a:p>
        </p:txBody>
      </p:sp>
    </p:spTree>
    <p:extLst>
      <p:ext uri="{BB962C8B-B14F-4D97-AF65-F5344CB8AC3E}">
        <p14:creationId xmlns:p14="http://schemas.microsoft.com/office/powerpoint/2010/main" val="9483403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Rectangle 369"/>
          <p:cNvSpPr/>
          <p:nvPr/>
        </p:nvSpPr>
        <p:spPr>
          <a:xfrm>
            <a:off x="152400" y="76200"/>
            <a:ext cx="536027" cy="55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444" t="12069" r="8760" b="11853"/>
          <a:stretch/>
        </p:blipFill>
        <p:spPr bwMode="auto">
          <a:xfrm>
            <a:off x="4952056" y="2862396"/>
            <a:ext cx="2546683" cy="1839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a:xfrm>
            <a:off x="9113520" y="198438"/>
            <a:ext cx="2773680" cy="365125"/>
          </a:xfrm>
        </p:spPr>
        <p:txBody>
          <a:bodyPr/>
          <a:lstStyle/>
          <a:p>
            <a:fld id="{4B585D86-0C40-4A6D-B8BC-4DE78E43623A}" type="slidenum">
              <a:rPr lang="en-US" sz="1600" b="1"/>
              <a:pPr/>
              <a:t>9</a:t>
            </a:fld>
            <a:endParaRPr lang="en-US" sz="1600" b="1"/>
          </a:p>
        </p:txBody>
      </p:sp>
      <p:sp>
        <p:nvSpPr>
          <p:cNvPr id="7" name="TextBox 6"/>
          <p:cNvSpPr txBox="1"/>
          <p:nvPr/>
        </p:nvSpPr>
        <p:spPr>
          <a:xfrm>
            <a:off x="7498739" y="838201"/>
            <a:ext cx="4388461" cy="5447645"/>
          </a:xfrm>
          <a:prstGeom prst="rect">
            <a:avLst/>
          </a:prstGeom>
          <a:noFill/>
        </p:spPr>
        <p:txBody>
          <a:bodyPr wrap="square" rtlCol="0">
            <a:spAutoFit/>
          </a:bodyPr>
          <a:lstStyle/>
          <a:p>
            <a:pPr marL="285750" indent="-285750" algn="just">
              <a:spcAft>
                <a:spcPts val="1200"/>
              </a:spcAft>
              <a:buFont typeface="Arial" pitchFamily="34" charset="0"/>
              <a:buChar char="•"/>
            </a:pPr>
            <a:r>
              <a:rPr lang="id-ID" sz="2600" dirty="0">
                <a:solidFill>
                  <a:srgbClr val="00246C"/>
                </a:solidFill>
                <a:latin typeface="Agency FB" pitchFamily="34" charset="0"/>
              </a:rPr>
              <a:t>Integrasi PIHPS di daerah ke dalam </a:t>
            </a:r>
            <a:r>
              <a:rPr lang="en-US" sz="2600" dirty="0">
                <a:solidFill>
                  <a:srgbClr val="00246C"/>
                </a:solidFill>
                <a:latin typeface="Agency FB" pitchFamily="34" charset="0"/>
              </a:rPr>
              <a:t>PIHPS </a:t>
            </a:r>
            <a:r>
              <a:rPr lang="en-US" sz="2600" dirty="0" err="1">
                <a:solidFill>
                  <a:srgbClr val="00246C"/>
                </a:solidFill>
                <a:latin typeface="Agency FB" pitchFamily="34" charset="0"/>
              </a:rPr>
              <a:t>Nasional</a:t>
            </a:r>
            <a:r>
              <a:rPr lang="en-US" sz="2600" dirty="0">
                <a:solidFill>
                  <a:srgbClr val="00246C"/>
                </a:solidFill>
                <a:latin typeface="Agency FB" pitchFamily="34" charset="0"/>
              </a:rPr>
              <a:t> </a:t>
            </a:r>
            <a:r>
              <a:rPr lang="en-US" sz="2600" b="1" dirty="0">
                <a:solidFill>
                  <a:srgbClr val="00246C"/>
                </a:solidFill>
                <a:latin typeface="Agency FB" pitchFamily="34" charset="0"/>
              </a:rPr>
              <a:t>d</a:t>
            </a:r>
            <a:r>
              <a:rPr lang="id-ID" sz="2600" b="1" dirty="0">
                <a:solidFill>
                  <a:srgbClr val="00246C"/>
                </a:solidFill>
                <a:latin typeface="Agency FB" pitchFamily="34" charset="0"/>
              </a:rPr>
              <a:t>imulai </a:t>
            </a:r>
            <a:r>
              <a:rPr lang="en-US" sz="2600" b="1" dirty="0" err="1">
                <a:solidFill>
                  <a:srgbClr val="00246C"/>
                </a:solidFill>
                <a:latin typeface="Agency FB" pitchFamily="34" charset="0"/>
              </a:rPr>
              <a:t>sejak</a:t>
            </a:r>
            <a:r>
              <a:rPr lang="en-US" sz="2600" b="1" dirty="0">
                <a:solidFill>
                  <a:srgbClr val="00246C"/>
                </a:solidFill>
                <a:latin typeface="Agency FB" pitchFamily="34" charset="0"/>
              </a:rPr>
              <a:t> </a:t>
            </a:r>
            <a:r>
              <a:rPr lang="en-US" sz="2600" b="1" dirty="0" err="1">
                <a:solidFill>
                  <a:srgbClr val="00246C"/>
                </a:solidFill>
                <a:latin typeface="Agency FB" pitchFamily="34" charset="0"/>
              </a:rPr>
              <a:t>akhir</a:t>
            </a:r>
            <a:r>
              <a:rPr lang="en-US" sz="2600" b="1" dirty="0">
                <a:solidFill>
                  <a:srgbClr val="00246C"/>
                </a:solidFill>
                <a:latin typeface="Agency FB" pitchFamily="34" charset="0"/>
              </a:rPr>
              <a:t> </a:t>
            </a:r>
            <a:r>
              <a:rPr lang="en-US" sz="2600" b="1" dirty="0" err="1">
                <a:solidFill>
                  <a:srgbClr val="00246C"/>
                </a:solidFill>
                <a:latin typeface="Agency FB" pitchFamily="34" charset="0"/>
              </a:rPr>
              <a:t>tahun</a:t>
            </a:r>
            <a:r>
              <a:rPr lang="en-US" sz="2600" b="1" dirty="0">
                <a:solidFill>
                  <a:srgbClr val="00246C"/>
                </a:solidFill>
                <a:latin typeface="Agency FB" pitchFamily="34" charset="0"/>
              </a:rPr>
              <a:t> 2014 </a:t>
            </a:r>
            <a:r>
              <a:rPr lang="en-US" sz="2600" b="1" dirty="0" err="1">
                <a:solidFill>
                  <a:srgbClr val="00246C"/>
                </a:solidFill>
                <a:latin typeface="Agency FB" pitchFamily="34" charset="0"/>
              </a:rPr>
              <a:t>dan</a:t>
            </a:r>
            <a:r>
              <a:rPr lang="en-US" sz="2600" b="1" dirty="0">
                <a:solidFill>
                  <a:srgbClr val="00246C"/>
                </a:solidFill>
                <a:latin typeface="Agency FB" pitchFamily="34" charset="0"/>
              </a:rPr>
              <a:t> </a:t>
            </a:r>
            <a:r>
              <a:rPr lang="id-ID" sz="2600" b="1" dirty="0">
                <a:solidFill>
                  <a:srgbClr val="00246C"/>
                </a:solidFill>
                <a:latin typeface="Agency FB" pitchFamily="34" charset="0"/>
              </a:rPr>
              <a:t>hingga akhir Mei 2015 proses integrasi telah rampung</a:t>
            </a:r>
            <a:r>
              <a:rPr lang="id-ID" sz="2600" dirty="0">
                <a:solidFill>
                  <a:srgbClr val="00246C"/>
                </a:solidFill>
                <a:latin typeface="Agency FB" pitchFamily="34" charset="0"/>
              </a:rPr>
              <a:t>, dengan 12 PIHPS daerah menggunakan web service sbg basis integrasinya. </a:t>
            </a:r>
          </a:p>
          <a:p>
            <a:pPr marL="285750" indent="-285750" algn="just">
              <a:spcAft>
                <a:spcPts val="1200"/>
              </a:spcAft>
              <a:buFont typeface="Arial" pitchFamily="34" charset="0"/>
              <a:buChar char="•"/>
            </a:pPr>
            <a:r>
              <a:rPr lang="it-IT" sz="2600" dirty="0">
                <a:solidFill>
                  <a:srgbClr val="00246C"/>
                </a:solidFill>
                <a:latin typeface="Agency FB" pitchFamily="34" charset="0"/>
              </a:rPr>
              <a:t>Untuk daerah lainnya, integrasi data dilakukan </a:t>
            </a:r>
            <a:r>
              <a:rPr lang="id-ID" sz="2600" dirty="0">
                <a:solidFill>
                  <a:srgbClr val="00246C"/>
                </a:solidFill>
                <a:latin typeface="Agency FB" pitchFamily="34" charset="0"/>
              </a:rPr>
              <a:t>secara manual </a:t>
            </a:r>
            <a:r>
              <a:rPr lang="it-IT" sz="2600" dirty="0">
                <a:solidFill>
                  <a:srgbClr val="00246C"/>
                </a:solidFill>
                <a:latin typeface="Agency FB" pitchFamily="34" charset="0"/>
              </a:rPr>
              <a:t>(</a:t>
            </a:r>
            <a:r>
              <a:rPr lang="id-ID" sz="2600" dirty="0">
                <a:solidFill>
                  <a:srgbClr val="00246C"/>
                </a:solidFill>
                <a:latin typeface="Agency FB" pitchFamily="34" charset="0"/>
              </a:rPr>
              <a:t>melalui </a:t>
            </a:r>
            <a:r>
              <a:rPr lang="it-IT" sz="2600" dirty="0">
                <a:solidFill>
                  <a:srgbClr val="00246C"/>
                </a:solidFill>
                <a:latin typeface="Agency FB" pitchFamily="34" charset="0"/>
              </a:rPr>
              <a:t>upload excel)</a:t>
            </a:r>
            <a:r>
              <a:rPr lang="id-ID" sz="2600" dirty="0">
                <a:solidFill>
                  <a:srgbClr val="00246C"/>
                </a:solidFill>
                <a:latin typeface="Agency FB" pitchFamily="34" charset="0"/>
              </a:rPr>
              <a:t>, dengan </a:t>
            </a:r>
            <a:r>
              <a:rPr lang="id-ID" sz="2600" b="1" dirty="0">
                <a:solidFill>
                  <a:srgbClr val="00246C"/>
                </a:solidFill>
                <a:latin typeface="Agency FB" pitchFamily="34" charset="0"/>
              </a:rPr>
              <a:t>proses konversi ke dalam sistem PIHPS nasional sesuai karakteristik masing-masing</a:t>
            </a:r>
            <a:r>
              <a:rPr lang="id-ID" sz="2600" dirty="0">
                <a:solidFill>
                  <a:srgbClr val="00246C"/>
                </a:solidFill>
                <a:latin typeface="Agency FB" pitchFamily="34" charset="0"/>
              </a:rPr>
              <a:t> PIHPS.</a:t>
            </a:r>
            <a:endParaRPr lang="it-IT" sz="2600" dirty="0">
              <a:solidFill>
                <a:srgbClr val="00246C"/>
              </a:solidFill>
              <a:latin typeface="Agency FB" pitchFamily="34" charset="0"/>
            </a:endParaRPr>
          </a:p>
        </p:txBody>
      </p:sp>
      <p:grpSp>
        <p:nvGrpSpPr>
          <p:cNvPr id="3" name="Group 2"/>
          <p:cNvGrpSpPr/>
          <p:nvPr/>
        </p:nvGrpSpPr>
        <p:grpSpPr>
          <a:xfrm>
            <a:off x="228602" y="3830260"/>
            <a:ext cx="7086599" cy="2722941"/>
            <a:chOff x="76201" y="3906459"/>
            <a:chExt cx="7086599" cy="2722941"/>
          </a:xfrm>
        </p:grpSpPr>
        <p:grpSp>
          <p:nvGrpSpPr>
            <p:cNvPr id="173" name="Group 172"/>
            <p:cNvGrpSpPr/>
            <p:nvPr/>
          </p:nvGrpSpPr>
          <p:grpSpPr>
            <a:xfrm>
              <a:off x="76201" y="3906459"/>
              <a:ext cx="7086599" cy="2722941"/>
              <a:chOff x="329292" y="1735316"/>
              <a:chExt cx="11464163" cy="4138248"/>
            </a:xfrm>
            <a:solidFill>
              <a:srgbClr val="1F497D">
                <a:lumMod val="50000"/>
              </a:srgbClr>
            </a:solidFill>
          </p:grpSpPr>
          <p:sp>
            <p:nvSpPr>
              <p:cNvPr id="174" name="Freeform 173"/>
              <p:cNvSpPr/>
              <p:nvPr/>
            </p:nvSpPr>
            <p:spPr>
              <a:xfrm>
                <a:off x="329292" y="1735316"/>
                <a:ext cx="784225" cy="864101"/>
              </a:xfrm>
              <a:custGeom>
                <a:avLst/>
                <a:gdLst>
                  <a:gd name="connsiteX0" fmla="*/ 22225 w 784225"/>
                  <a:gd name="connsiteY0" fmla="*/ 3676 h 864101"/>
                  <a:gd name="connsiteX1" fmla="*/ 66675 w 784225"/>
                  <a:gd name="connsiteY1" fmla="*/ 6851 h 864101"/>
                  <a:gd name="connsiteX2" fmla="*/ 152400 w 784225"/>
                  <a:gd name="connsiteY2" fmla="*/ 13201 h 864101"/>
                  <a:gd name="connsiteX3" fmla="*/ 158750 w 784225"/>
                  <a:gd name="connsiteY3" fmla="*/ 22726 h 864101"/>
                  <a:gd name="connsiteX4" fmla="*/ 177800 w 784225"/>
                  <a:gd name="connsiteY4" fmla="*/ 35426 h 864101"/>
                  <a:gd name="connsiteX5" fmla="*/ 193675 w 784225"/>
                  <a:gd name="connsiteY5" fmla="*/ 48126 h 864101"/>
                  <a:gd name="connsiteX6" fmla="*/ 212725 w 784225"/>
                  <a:gd name="connsiteY6" fmla="*/ 60826 h 864101"/>
                  <a:gd name="connsiteX7" fmla="*/ 231775 w 784225"/>
                  <a:gd name="connsiteY7" fmla="*/ 67176 h 864101"/>
                  <a:gd name="connsiteX8" fmla="*/ 241300 w 784225"/>
                  <a:gd name="connsiteY8" fmla="*/ 73526 h 864101"/>
                  <a:gd name="connsiteX9" fmla="*/ 263525 w 784225"/>
                  <a:gd name="connsiteY9" fmla="*/ 79876 h 864101"/>
                  <a:gd name="connsiteX10" fmla="*/ 273050 w 784225"/>
                  <a:gd name="connsiteY10" fmla="*/ 83051 h 864101"/>
                  <a:gd name="connsiteX11" fmla="*/ 311150 w 784225"/>
                  <a:gd name="connsiteY11" fmla="*/ 89401 h 864101"/>
                  <a:gd name="connsiteX12" fmla="*/ 336550 w 784225"/>
                  <a:gd name="connsiteY12" fmla="*/ 92576 h 864101"/>
                  <a:gd name="connsiteX13" fmla="*/ 406400 w 784225"/>
                  <a:gd name="connsiteY13" fmla="*/ 98926 h 864101"/>
                  <a:gd name="connsiteX14" fmla="*/ 428625 w 784225"/>
                  <a:gd name="connsiteY14" fmla="*/ 105276 h 864101"/>
                  <a:gd name="connsiteX15" fmla="*/ 438150 w 784225"/>
                  <a:gd name="connsiteY15" fmla="*/ 111626 h 864101"/>
                  <a:gd name="connsiteX16" fmla="*/ 479425 w 784225"/>
                  <a:gd name="connsiteY16" fmla="*/ 117976 h 864101"/>
                  <a:gd name="connsiteX17" fmla="*/ 498475 w 784225"/>
                  <a:gd name="connsiteY17" fmla="*/ 124326 h 864101"/>
                  <a:gd name="connsiteX18" fmla="*/ 508000 w 784225"/>
                  <a:gd name="connsiteY18" fmla="*/ 127501 h 864101"/>
                  <a:gd name="connsiteX19" fmla="*/ 536575 w 784225"/>
                  <a:gd name="connsiteY19" fmla="*/ 124326 h 864101"/>
                  <a:gd name="connsiteX20" fmla="*/ 546100 w 784225"/>
                  <a:gd name="connsiteY20" fmla="*/ 121151 h 864101"/>
                  <a:gd name="connsiteX21" fmla="*/ 552450 w 784225"/>
                  <a:gd name="connsiteY21" fmla="*/ 111626 h 864101"/>
                  <a:gd name="connsiteX22" fmla="*/ 571500 w 784225"/>
                  <a:gd name="connsiteY22" fmla="*/ 105276 h 864101"/>
                  <a:gd name="connsiteX23" fmla="*/ 593725 w 784225"/>
                  <a:gd name="connsiteY23" fmla="*/ 111626 h 864101"/>
                  <a:gd name="connsiteX24" fmla="*/ 606425 w 784225"/>
                  <a:gd name="connsiteY24" fmla="*/ 130676 h 864101"/>
                  <a:gd name="connsiteX25" fmla="*/ 615950 w 784225"/>
                  <a:gd name="connsiteY25" fmla="*/ 140201 h 864101"/>
                  <a:gd name="connsiteX26" fmla="*/ 619125 w 784225"/>
                  <a:gd name="connsiteY26" fmla="*/ 149726 h 864101"/>
                  <a:gd name="connsiteX27" fmla="*/ 628650 w 784225"/>
                  <a:gd name="connsiteY27" fmla="*/ 152901 h 864101"/>
                  <a:gd name="connsiteX28" fmla="*/ 673100 w 784225"/>
                  <a:gd name="connsiteY28" fmla="*/ 156076 h 864101"/>
                  <a:gd name="connsiteX29" fmla="*/ 682625 w 784225"/>
                  <a:gd name="connsiteY29" fmla="*/ 165601 h 864101"/>
                  <a:gd name="connsiteX30" fmla="*/ 688975 w 784225"/>
                  <a:gd name="connsiteY30" fmla="*/ 200526 h 864101"/>
                  <a:gd name="connsiteX31" fmla="*/ 701675 w 784225"/>
                  <a:gd name="connsiteY31" fmla="*/ 229101 h 864101"/>
                  <a:gd name="connsiteX32" fmla="*/ 708025 w 784225"/>
                  <a:gd name="connsiteY32" fmla="*/ 241801 h 864101"/>
                  <a:gd name="connsiteX33" fmla="*/ 717550 w 784225"/>
                  <a:gd name="connsiteY33" fmla="*/ 248151 h 864101"/>
                  <a:gd name="connsiteX34" fmla="*/ 727075 w 784225"/>
                  <a:gd name="connsiteY34" fmla="*/ 267201 h 864101"/>
                  <a:gd name="connsiteX35" fmla="*/ 730250 w 784225"/>
                  <a:gd name="connsiteY35" fmla="*/ 276726 h 864101"/>
                  <a:gd name="connsiteX36" fmla="*/ 739775 w 784225"/>
                  <a:gd name="connsiteY36" fmla="*/ 279901 h 864101"/>
                  <a:gd name="connsiteX37" fmla="*/ 774700 w 784225"/>
                  <a:gd name="connsiteY37" fmla="*/ 286251 h 864101"/>
                  <a:gd name="connsiteX38" fmla="*/ 781050 w 784225"/>
                  <a:gd name="connsiteY38" fmla="*/ 308476 h 864101"/>
                  <a:gd name="connsiteX39" fmla="*/ 784225 w 784225"/>
                  <a:gd name="connsiteY39" fmla="*/ 340226 h 864101"/>
                  <a:gd name="connsiteX40" fmla="*/ 774700 w 784225"/>
                  <a:gd name="connsiteY40" fmla="*/ 346576 h 864101"/>
                  <a:gd name="connsiteX41" fmla="*/ 742950 w 784225"/>
                  <a:gd name="connsiteY41" fmla="*/ 349751 h 864101"/>
                  <a:gd name="connsiteX42" fmla="*/ 736600 w 784225"/>
                  <a:gd name="connsiteY42" fmla="*/ 368801 h 864101"/>
                  <a:gd name="connsiteX43" fmla="*/ 733425 w 784225"/>
                  <a:gd name="connsiteY43" fmla="*/ 378326 h 864101"/>
                  <a:gd name="connsiteX44" fmla="*/ 730250 w 784225"/>
                  <a:gd name="connsiteY44" fmla="*/ 387851 h 864101"/>
                  <a:gd name="connsiteX45" fmla="*/ 727075 w 784225"/>
                  <a:gd name="connsiteY45" fmla="*/ 400551 h 864101"/>
                  <a:gd name="connsiteX46" fmla="*/ 723900 w 784225"/>
                  <a:gd name="connsiteY46" fmla="*/ 410076 h 864101"/>
                  <a:gd name="connsiteX47" fmla="*/ 717550 w 784225"/>
                  <a:gd name="connsiteY47" fmla="*/ 438651 h 864101"/>
                  <a:gd name="connsiteX48" fmla="*/ 688975 w 784225"/>
                  <a:gd name="connsiteY48" fmla="*/ 454526 h 864101"/>
                  <a:gd name="connsiteX49" fmla="*/ 679450 w 784225"/>
                  <a:gd name="connsiteY49" fmla="*/ 457701 h 864101"/>
                  <a:gd name="connsiteX50" fmla="*/ 669925 w 784225"/>
                  <a:gd name="connsiteY50" fmla="*/ 460876 h 864101"/>
                  <a:gd name="connsiteX51" fmla="*/ 660400 w 784225"/>
                  <a:gd name="connsiteY51" fmla="*/ 464051 h 864101"/>
                  <a:gd name="connsiteX52" fmla="*/ 654050 w 784225"/>
                  <a:gd name="connsiteY52" fmla="*/ 483101 h 864101"/>
                  <a:gd name="connsiteX53" fmla="*/ 657225 w 784225"/>
                  <a:gd name="connsiteY53" fmla="*/ 495801 h 864101"/>
                  <a:gd name="connsiteX54" fmla="*/ 673100 w 784225"/>
                  <a:gd name="connsiteY54" fmla="*/ 514851 h 864101"/>
                  <a:gd name="connsiteX55" fmla="*/ 679450 w 784225"/>
                  <a:gd name="connsiteY55" fmla="*/ 581526 h 864101"/>
                  <a:gd name="connsiteX56" fmla="*/ 682625 w 784225"/>
                  <a:gd name="connsiteY56" fmla="*/ 591051 h 864101"/>
                  <a:gd name="connsiteX57" fmla="*/ 695325 w 784225"/>
                  <a:gd name="connsiteY57" fmla="*/ 635501 h 864101"/>
                  <a:gd name="connsiteX58" fmla="*/ 698500 w 784225"/>
                  <a:gd name="connsiteY58" fmla="*/ 645026 h 864101"/>
                  <a:gd name="connsiteX59" fmla="*/ 704850 w 784225"/>
                  <a:gd name="connsiteY59" fmla="*/ 667251 h 864101"/>
                  <a:gd name="connsiteX60" fmla="*/ 711200 w 784225"/>
                  <a:gd name="connsiteY60" fmla="*/ 676776 h 864101"/>
                  <a:gd name="connsiteX61" fmla="*/ 717550 w 784225"/>
                  <a:gd name="connsiteY61" fmla="*/ 695826 h 864101"/>
                  <a:gd name="connsiteX62" fmla="*/ 711200 w 784225"/>
                  <a:gd name="connsiteY62" fmla="*/ 759326 h 864101"/>
                  <a:gd name="connsiteX63" fmla="*/ 708025 w 784225"/>
                  <a:gd name="connsiteY63" fmla="*/ 768851 h 864101"/>
                  <a:gd name="connsiteX64" fmla="*/ 704850 w 784225"/>
                  <a:gd name="connsiteY64" fmla="*/ 841876 h 864101"/>
                  <a:gd name="connsiteX65" fmla="*/ 701675 w 784225"/>
                  <a:gd name="connsiteY65" fmla="*/ 854576 h 864101"/>
                  <a:gd name="connsiteX66" fmla="*/ 695325 w 784225"/>
                  <a:gd name="connsiteY66" fmla="*/ 864101 h 864101"/>
                  <a:gd name="connsiteX67" fmla="*/ 650875 w 784225"/>
                  <a:gd name="connsiteY67" fmla="*/ 851401 h 864101"/>
                  <a:gd name="connsiteX68" fmla="*/ 631825 w 784225"/>
                  <a:gd name="connsiteY68" fmla="*/ 838701 h 864101"/>
                  <a:gd name="connsiteX69" fmla="*/ 622300 w 784225"/>
                  <a:gd name="connsiteY69" fmla="*/ 832351 h 864101"/>
                  <a:gd name="connsiteX70" fmla="*/ 612775 w 784225"/>
                  <a:gd name="connsiteY70" fmla="*/ 826001 h 864101"/>
                  <a:gd name="connsiteX71" fmla="*/ 606425 w 784225"/>
                  <a:gd name="connsiteY71" fmla="*/ 806951 h 864101"/>
                  <a:gd name="connsiteX72" fmla="*/ 612775 w 784225"/>
                  <a:gd name="connsiteY72" fmla="*/ 772026 h 864101"/>
                  <a:gd name="connsiteX73" fmla="*/ 609600 w 784225"/>
                  <a:gd name="connsiteY73" fmla="*/ 749801 h 864101"/>
                  <a:gd name="connsiteX74" fmla="*/ 590550 w 784225"/>
                  <a:gd name="connsiteY74" fmla="*/ 711701 h 864101"/>
                  <a:gd name="connsiteX75" fmla="*/ 581025 w 784225"/>
                  <a:gd name="connsiteY75" fmla="*/ 708526 h 864101"/>
                  <a:gd name="connsiteX76" fmla="*/ 561975 w 784225"/>
                  <a:gd name="connsiteY76" fmla="*/ 689476 h 864101"/>
                  <a:gd name="connsiteX77" fmla="*/ 546100 w 784225"/>
                  <a:gd name="connsiteY77" fmla="*/ 673601 h 864101"/>
                  <a:gd name="connsiteX78" fmla="*/ 533400 w 784225"/>
                  <a:gd name="connsiteY78" fmla="*/ 654551 h 864101"/>
                  <a:gd name="connsiteX79" fmla="*/ 527050 w 784225"/>
                  <a:gd name="connsiteY79" fmla="*/ 645026 h 864101"/>
                  <a:gd name="connsiteX80" fmla="*/ 508000 w 784225"/>
                  <a:gd name="connsiteY80" fmla="*/ 606926 h 864101"/>
                  <a:gd name="connsiteX81" fmla="*/ 488950 w 784225"/>
                  <a:gd name="connsiteY81" fmla="*/ 597401 h 864101"/>
                  <a:gd name="connsiteX82" fmla="*/ 479425 w 784225"/>
                  <a:gd name="connsiteY82" fmla="*/ 587876 h 864101"/>
                  <a:gd name="connsiteX83" fmla="*/ 463550 w 784225"/>
                  <a:gd name="connsiteY83" fmla="*/ 572001 h 864101"/>
                  <a:gd name="connsiteX84" fmla="*/ 457200 w 784225"/>
                  <a:gd name="connsiteY84" fmla="*/ 552951 h 864101"/>
                  <a:gd name="connsiteX85" fmla="*/ 454025 w 784225"/>
                  <a:gd name="connsiteY85" fmla="*/ 543426 h 864101"/>
                  <a:gd name="connsiteX86" fmla="*/ 422275 w 784225"/>
                  <a:gd name="connsiteY86" fmla="*/ 505326 h 864101"/>
                  <a:gd name="connsiteX87" fmla="*/ 412750 w 784225"/>
                  <a:gd name="connsiteY87" fmla="*/ 502151 h 864101"/>
                  <a:gd name="connsiteX88" fmla="*/ 403225 w 784225"/>
                  <a:gd name="connsiteY88" fmla="*/ 495801 h 864101"/>
                  <a:gd name="connsiteX89" fmla="*/ 377825 w 784225"/>
                  <a:gd name="connsiteY89" fmla="*/ 492626 h 864101"/>
                  <a:gd name="connsiteX90" fmla="*/ 361950 w 784225"/>
                  <a:gd name="connsiteY90" fmla="*/ 489451 h 864101"/>
                  <a:gd name="connsiteX91" fmla="*/ 339725 w 784225"/>
                  <a:gd name="connsiteY91" fmla="*/ 486276 h 864101"/>
                  <a:gd name="connsiteX92" fmla="*/ 311150 w 784225"/>
                  <a:gd name="connsiteY92" fmla="*/ 473576 h 864101"/>
                  <a:gd name="connsiteX93" fmla="*/ 304800 w 784225"/>
                  <a:gd name="connsiteY93" fmla="*/ 464051 h 864101"/>
                  <a:gd name="connsiteX94" fmla="*/ 295275 w 784225"/>
                  <a:gd name="connsiteY94" fmla="*/ 454526 h 864101"/>
                  <a:gd name="connsiteX95" fmla="*/ 279400 w 784225"/>
                  <a:gd name="connsiteY95" fmla="*/ 429126 h 864101"/>
                  <a:gd name="connsiteX96" fmla="*/ 273050 w 784225"/>
                  <a:gd name="connsiteY96" fmla="*/ 419601 h 864101"/>
                  <a:gd name="connsiteX97" fmla="*/ 254000 w 784225"/>
                  <a:gd name="connsiteY97" fmla="*/ 406901 h 864101"/>
                  <a:gd name="connsiteX98" fmla="*/ 241300 w 784225"/>
                  <a:gd name="connsiteY98" fmla="*/ 387851 h 864101"/>
                  <a:gd name="connsiteX99" fmla="*/ 231775 w 784225"/>
                  <a:gd name="connsiteY99" fmla="*/ 381501 h 864101"/>
                  <a:gd name="connsiteX100" fmla="*/ 212725 w 784225"/>
                  <a:gd name="connsiteY100" fmla="*/ 371976 h 864101"/>
                  <a:gd name="connsiteX101" fmla="*/ 190500 w 784225"/>
                  <a:gd name="connsiteY101" fmla="*/ 343401 h 864101"/>
                  <a:gd name="connsiteX102" fmla="*/ 180975 w 784225"/>
                  <a:gd name="connsiteY102" fmla="*/ 333876 h 864101"/>
                  <a:gd name="connsiteX103" fmla="*/ 168275 w 784225"/>
                  <a:gd name="connsiteY103" fmla="*/ 314826 h 864101"/>
                  <a:gd name="connsiteX104" fmla="*/ 165100 w 784225"/>
                  <a:gd name="connsiteY104" fmla="*/ 305301 h 864101"/>
                  <a:gd name="connsiteX105" fmla="*/ 136525 w 784225"/>
                  <a:gd name="connsiteY105" fmla="*/ 283076 h 864101"/>
                  <a:gd name="connsiteX106" fmla="*/ 117475 w 784225"/>
                  <a:gd name="connsiteY106" fmla="*/ 267201 h 864101"/>
                  <a:gd name="connsiteX107" fmla="*/ 114300 w 784225"/>
                  <a:gd name="connsiteY107" fmla="*/ 257676 h 864101"/>
                  <a:gd name="connsiteX108" fmla="*/ 101600 w 784225"/>
                  <a:gd name="connsiteY108" fmla="*/ 238626 h 864101"/>
                  <a:gd name="connsiteX109" fmla="*/ 95250 w 784225"/>
                  <a:gd name="connsiteY109" fmla="*/ 229101 h 864101"/>
                  <a:gd name="connsiteX110" fmla="*/ 85725 w 784225"/>
                  <a:gd name="connsiteY110" fmla="*/ 219576 h 864101"/>
                  <a:gd name="connsiteX111" fmla="*/ 73025 w 784225"/>
                  <a:gd name="connsiteY111" fmla="*/ 203701 h 864101"/>
                  <a:gd name="connsiteX112" fmla="*/ 60325 w 784225"/>
                  <a:gd name="connsiteY112" fmla="*/ 184651 h 864101"/>
                  <a:gd name="connsiteX113" fmla="*/ 44450 w 784225"/>
                  <a:gd name="connsiteY113" fmla="*/ 165601 h 864101"/>
                  <a:gd name="connsiteX114" fmla="*/ 34925 w 784225"/>
                  <a:gd name="connsiteY114" fmla="*/ 156076 h 864101"/>
                  <a:gd name="connsiteX115" fmla="*/ 31750 w 784225"/>
                  <a:gd name="connsiteY115" fmla="*/ 146551 h 864101"/>
                  <a:gd name="connsiteX116" fmla="*/ 9525 w 784225"/>
                  <a:gd name="connsiteY116" fmla="*/ 117976 h 864101"/>
                  <a:gd name="connsiteX117" fmla="*/ 6350 w 784225"/>
                  <a:gd name="connsiteY117" fmla="*/ 95751 h 864101"/>
                  <a:gd name="connsiteX118" fmla="*/ 0 w 784225"/>
                  <a:gd name="connsiteY118" fmla="*/ 64001 h 864101"/>
                  <a:gd name="connsiteX119" fmla="*/ 22225 w 784225"/>
                  <a:gd name="connsiteY119" fmla="*/ 3676 h 8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784225" h="864101">
                    <a:moveTo>
                      <a:pt x="22225" y="3676"/>
                    </a:moveTo>
                    <a:cubicBezTo>
                      <a:pt x="33338" y="-5849"/>
                      <a:pt x="51842" y="6049"/>
                      <a:pt x="66675" y="6851"/>
                    </a:cubicBezTo>
                    <a:cubicBezTo>
                      <a:pt x="148236" y="11260"/>
                      <a:pt x="115315" y="3930"/>
                      <a:pt x="152400" y="13201"/>
                    </a:cubicBezTo>
                    <a:cubicBezTo>
                      <a:pt x="154517" y="16376"/>
                      <a:pt x="155878" y="20213"/>
                      <a:pt x="158750" y="22726"/>
                    </a:cubicBezTo>
                    <a:cubicBezTo>
                      <a:pt x="164493" y="27752"/>
                      <a:pt x="177800" y="35426"/>
                      <a:pt x="177800" y="35426"/>
                    </a:cubicBezTo>
                    <a:cubicBezTo>
                      <a:pt x="189533" y="53025"/>
                      <a:pt x="177437" y="39105"/>
                      <a:pt x="193675" y="48126"/>
                    </a:cubicBezTo>
                    <a:cubicBezTo>
                      <a:pt x="200346" y="51832"/>
                      <a:pt x="205485" y="58413"/>
                      <a:pt x="212725" y="60826"/>
                    </a:cubicBezTo>
                    <a:cubicBezTo>
                      <a:pt x="219075" y="62943"/>
                      <a:pt x="226206" y="63463"/>
                      <a:pt x="231775" y="67176"/>
                    </a:cubicBezTo>
                    <a:cubicBezTo>
                      <a:pt x="234950" y="69293"/>
                      <a:pt x="237887" y="71819"/>
                      <a:pt x="241300" y="73526"/>
                    </a:cubicBezTo>
                    <a:cubicBezTo>
                      <a:pt x="246375" y="76064"/>
                      <a:pt x="258778" y="78520"/>
                      <a:pt x="263525" y="79876"/>
                    </a:cubicBezTo>
                    <a:cubicBezTo>
                      <a:pt x="266743" y="80795"/>
                      <a:pt x="269803" y="82239"/>
                      <a:pt x="273050" y="83051"/>
                    </a:cubicBezTo>
                    <a:cubicBezTo>
                      <a:pt x="284692" y="85961"/>
                      <a:pt x="299629" y="87865"/>
                      <a:pt x="311150" y="89401"/>
                    </a:cubicBezTo>
                    <a:lnTo>
                      <a:pt x="336550" y="92576"/>
                    </a:lnTo>
                    <a:cubicBezTo>
                      <a:pt x="366652" y="102610"/>
                      <a:pt x="333863" y="92618"/>
                      <a:pt x="406400" y="98926"/>
                    </a:cubicBezTo>
                    <a:cubicBezTo>
                      <a:pt x="408863" y="99140"/>
                      <a:pt x="425302" y="103615"/>
                      <a:pt x="428625" y="105276"/>
                    </a:cubicBezTo>
                    <a:cubicBezTo>
                      <a:pt x="432038" y="106983"/>
                      <a:pt x="434530" y="110419"/>
                      <a:pt x="438150" y="111626"/>
                    </a:cubicBezTo>
                    <a:cubicBezTo>
                      <a:pt x="441454" y="112727"/>
                      <a:pt x="477713" y="117731"/>
                      <a:pt x="479425" y="117976"/>
                    </a:cubicBezTo>
                    <a:lnTo>
                      <a:pt x="498475" y="124326"/>
                    </a:lnTo>
                    <a:lnTo>
                      <a:pt x="508000" y="127501"/>
                    </a:lnTo>
                    <a:cubicBezTo>
                      <a:pt x="517525" y="126443"/>
                      <a:pt x="527122" y="125902"/>
                      <a:pt x="536575" y="124326"/>
                    </a:cubicBezTo>
                    <a:cubicBezTo>
                      <a:pt x="539876" y="123776"/>
                      <a:pt x="543487" y="123242"/>
                      <a:pt x="546100" y="121151"/>
                    </a:cubicBezTo>
                    <a:cubicBezTo>
                      <a:pt x="549080" y="118767"/>
                      <a:pt x="549214" y="113648"/>
                      <a:pt x="552450" y="111626"/>
                    </a:cubicBezTo>
                    <a:cubicBezTo>
                      <a:pt x="558126" y="108078"/>
                      <a:pt x="571500" y="105276"/>
                      <a:pt x="571500" y="105276"/>
                    </a:cubicBezTo>
                    <a:cubicBezTo>
                      <a:pt x="571610" y="105303"/>
                      <a:pt x="592207" y="110108"/>
                      <a:pt x="593725" y="111626"/>
                    </a:cubicBezTo>
                    <a:cubicBezTo>
                      <a:pt x="599121" y="117022"/>
                      <a:pt x="601029" y="125280"/>
                      <a:pt x="606425" y="130676"/>
                    </a:cubicBezTo>
                    <a:lnTo>
                      <a:pt x="615950" y="140201"/>
                    </a:lnTo>
                    <a:cubicBezTo>
                      <a:pt x="617008" y="143376"/>
                      <a:pt x="616758" y="147359"/>
                      <a:pt x="619125" y="149726"/>
                    </a:cubicBezTo>
                    <a:cubicBezTo>
                      <a:pt x="621492" y="152093"/>
                      <a:pt x="625326" y="152510"/>
                      <a:pt x="628650" y="152901"/>
                    </a:cubicBezTo>
                    <a:cubicBezTo>
                      <a:pt x="643403" y="154637"/>
                      <a:pt x="658283" y="155018"/>
                      <a:pt x="673100" y="156076"/>
                    </a:cubicBezTo>
                    <a:cubicBezTo>
                      <a:pt x="676275" y="159251"/>
                      <a:pt x="680617" y="161585"/>
                      <a:pt x="682625" y="165601"/>
                    </a:cubicBezTo>
                    <a:cubicBezTo>
                      <a:pt x="683811" y="167974"/>
                      <a:pt x="688791" y="199790"/>
                      <a:pt x="688975" y="200526"/>
                    </a:cubicBezTo>
                    <a:cubicBezTo>
                      <a:pt x="695134" y="225164"/>
                      <a:pt x="692409" y="212885"/>
                      <a:pt x="701675" y="229101"/>
                    </a:cubicBezTo>
                    <a:cubicBezTo>
                      <a:pt x="704023" y="233210"/>
                      <a:pt x="704995" y="238165"/>
                      <a:pt x="708025" y="241801"/>
                    </a:cubicBezTo>
                    <a:cubicBezTo>
                      <a:pt x="710468" y="244732"/>
                      <a:pt x="714375" y="246034"/>
                      <a:pt x="717550" y="248151"/>
                    </a:cubicBezTo>
                    <a:cubicBezTo>
                      <a:pt x="725530" y="272092"/>
                      <a:pt x="714765" y="242582"/>
                      <a:pt x="727075" y="267201"/>
                    </a:cubicBezTo>
                    <a:cubicBezTo>
                      <a:pt x="728572" y="270194"/>
                      <a:pt x="727883" y="274359"/>
                      <a:pt x="730250" y="276726"/>
                    </a:cubicBezTo>
                    <a:cubicBezTo>
                      <a:pt x="732617" y="279093"/>
                      <a:pt x="736493" y="279245"/>
                      <a:pt x="739775" y="279901"/>
                    </a:cubicBezTo>
                    <a:cubicBezTo>
                      <a:pt x="796657" y="291277"/>
                      <a:pt x="737051" y="276839"/>
                      <a:pt x="774700" y="286251"/>
                    </a:cubicBezTo>
                    <a:cubicBezTo>
                      <a:pt x="776962" y="293036"/>
                      <a:pt x="780053" y="301499"/>
                      <a:pt x="781050" y="308476"/>
                    </a:cubicBezTo>
                    <a:cubicBezTo>
                      <a:pt x="782554" y="319005"/>
                      <a:pt x="783167" y="329643"/>
                      <a:pt x="784225" y="340226"/>
                    </a:cubicBezTo>
                    <a:cubicBezTo>
                      <a:pt x="781050" y="342343"/>
                      <a:pt x="778418" y="345718"/>
                      <a:pt x="774700" y="346576"/>
                    </a:cubicBezTo>
                    <a:cubicBezTo>
                      <a:pt x="764336" y="348968"/>
                      <a:pt x="752137" y="344392"/>
                      <a:pt x="742950" y="349751"/>
                    </a:cubicBezTo>
                    <a:cubicBezTo>
                      <a:pt x="737168" y="353124"/>
                      <a:pt x="738717" y="362451"/>
                      <a:pt x="736600" y="368801"/>
                    </a:cubicBezTo>
                    <a:lnTo>
                      <a:pt x="733425" y="378326"/>
                    </a:lnTo>
                    <a:cubicBezTo>
                      <a:pt x="732367" y="381501"/>
                      <a:pt x="731062" y="384604"/>
                      <a:pt x="730250" y="387851"/>
                    </a:cubicBezTo>
                    <a:cubicBezTo>
                      <a:pt x="729192" y="392084"/>
                      <a:pt x="728274" y="396355"/>
                      <a:pt x="727075" y="400551"/>
                    </a:cubicBezTo>
                    <a:cubicBezTo>
                      <a:pt x="726156" y="403769"/>
                      <a:pt x="724712" y="406829"/>
                      <a:pt x="723900" y="410076"/>
                    </a:cubicBezTo>
                    <a:cubicBezTo>
                      <a:pt x="723623" y="411184"/>
                      <a:pt x="718999" y="436116"/>
                      <a:pt x="717550" y="438651"/>
                    </a:cubicBezTo>
                    <a:cubicBezTo>
                      <a:pt x="710840" y="450393"/>
                      <a:pt x="701032" y="450507"/>
                      <a:pt x="688975" y="454526"/>
                    </a:cubicBezTo>
                    <a:lnTo>
                      <a:pt x="679450" y="457701"/>
                    </a:lnTo>
                    <a:lnTo>
                      <a:pt x="669925" y="460876"/>
                    </a:lnTo>
                    <a:lnTo>
                      <a:pt x="660400" y="464051"/>
                    </a:lnTo>
                    <a:cubicBezTo>
                      <a:pt x="658283" y="470401"/>
                      <a:pt x="652427" y="476607"/>
                      <a:pt x="654050" y="483101"/>
                    </a:cubicBezTo>
                    <a:cubicBezTo>
                      <a:pt x="655108" y="487334"/>
                      <a:pt x="655506" y="491790"/>
                      <a:pt x="657225" y="495801"/>
                    </a:cubicBezTo>
                    <a:cubicBezTo>
                      <a:pt x="660540" y="503537"/>
                      <a:pt x="667379" y="509130"/>
                      <a:pt x="673100" y="514851"/>
                    </a:cubicBezTo>
                    <a:cubicBezTo>
                      <a:pt x="682898" y="544245"/>
                      <a:pt x="672729" y="510952"/>
                      <a:pt x="679450" y="581526"/>
                    </a:cubicBezTo>
                    <a:cubicBezTo>
                      <a:pt x="679767" y="584858"/>
                      <a:pt x="681744" y="587822"/>
                      <a:pt x="682625" y="591051"/>
                    </a:cubicBezTo>
                    <a:cubicBezTo>
                      <a:pt x="694585" y="634905"/>
                      <a:pt x="683158" y="598999"/>
                      <a:pt x="695325" y="635501"/>
                    </a:cubicBezTo>
                    <a:cubicBezTo>
                      <a:pt x="696383" y="638676"/>
                      <a:pt x="697688" y="641779"/>
                      <a:pt x="698500" y="645026"/>
                    </a:cubicBezTo>
                    <a:cubicBezTo>
                      <a:pt x="699517" y="649095"/>
                      <a:pt x="702573" y="662696"/>
                      <a:pt x="704850" y="667251"/>
                    </a:cubicBezTo>
                    <a:cubicBezTo>
                      <a:pt x="706557" y="670664"/>
                      <a:pt x="709650" y="673289"/>
                      <a:pt x="711200" y="676776"/>
                    </a:cubicBezTo>
                    <a:cubicBezTo>
                      <a:pt x="713918" y="682893"/>
                      <a:pt x="717550" y="695826"/>
                      <a:pt x="717550" y="695826"/>
                    </a:cubicBezTo>
                    <a:cubicBezTo>
                      <a:pt x="715963" y="718046"/>
                      <a:pt x="715930" y="738040"/>
                      <a:pt x="711200" y="759326"/>
                    </a:cubicBezTo>
                    <a:cubicBezTo>
                      <a:pt x="710474" y="762593"/>
                      <a:pt x="709083" y="765676"/>
                      <a:pt x="708025" y="768851"/>
                    </a:cubicBezTo>
                    <a:cubicBezTo>
                      <a:pt x="706967" y="793193"/>
                      <a:pt x="706650" y="817578"/>
                      <a:pt x="704850" y="841876"/>
                    </a:cubicBezTo>
                    <a:cubicBezTo>
                      <a:pt x="704528" y="846228"/>
                      <a:pt x="703394" y="850565"/>
                      <a:pt x="701675" y="854576"/>
                    </a:cubicBezTo>
                    <a:cubicBezTo>
                      <a:pt x="700172" y="858083"/>
                      <a:pt x="697442" y="860926"/>
                      <a:pt x="695325" y="864101"/>
                    </a:cubicBezTo>
                    <a:cubicBezTo>
                      <a:pt x="691938" y="863254"/>
                      <a:pt x="656341" y="855045"/>
                      <a:pt x="650875" y="851401"/>
                    </a:cubicBezTo>
                    <a:lnTo>
                      <a:pt x="631825" y="838701"/>
                    </a:lnTo>
                    <a:lnTo>
                      <a:pt x="622300" y="832351"/>
                    </a:lnTo>
                    <a:lnTo>
                      <a:pt x="612775" y="826001"/>
                    </a:lnTo>
                    <a:cubicBezTo>
                      <a:pt x="610658" y="819651"/>
                      <a:pt x="605595" y="813593"/>
                      <a:pt x="606425" y="806951"/>
                    </a:cubicBezTo>
                    <a:cubicBezTo>
                      <a:pt x="610015" y="778230"/>
                      <a:pt x="606902" y="789646"/>
                      <a:pt x="612775" y="772026"/>
                    </a:cubicBezTo>
                    <a:cubicBezTo>
                      <a:pt x="611717" y="764618"/>
                      <a:pt x="611283" y="757093"/>
                      <a:pt x="609600" y="749801"/>
                    </a:cubicBezTo>
                    <a:cubicBezTo>
                      <a:pt x="607956" y="742678"/>
                      <a:pt x="598845" y="714466"/>
                      <a:pt x="590550" y="711701"/>
                    </a:cubicBezTo>
                    <a:lnTo>
                      <a:pt x="581025" y="708526"/>
                    </a:lnTo>
                    <a:cubicBezTo>
                      <a:pt x="574675" y="702176"/>
                      <a:pt x="566956" y="696948"/>
                      <a:pt x="561975" y="689476"/>
                    </a:cubicBezTo>
                    <a:cubicBezTo>
                      <a:pt x="553508" y="676776"/>
                      <a:pt x="558800" y="682068"/>
                      <a:pt x="546100" y="673601"/>
                    </a:cubicBezTo>
                    <a:lnTo>
                      <a:pt x="533400" y="654551"/>
                    </a:lnTo>
                    <a:cubicBezTo>
                      <a:pt x="531283" y="651376"/>
                      <a:pt x="528257" y="648646"/>
                      <a:pt x="527050" y="645026"/>
                    </a:cubicBezTo>
                    <a:cubicBezTo>
                      <a:pt x="523428" y="634159"/>
                      <a:pt x="518551" y="613960"/>
                      <a:pt x="508000" y="606926"/>
                    </a:cubicBezTo>
                    <a:cubicBezTo>
                      <a:pt x="495690" y="598720"/>
                      <a:pt x="502095" y="601783"/>
                      <a:pt x="488950" y="597401"/>
                    </a:cubicBezTo>
                    <a:cubicBezTo>
                      <a:pt x="485775" y="594226"/>
                      <a:pt x="482874" y="590751"/>
                      <a:pt x="479425" y="587876"/>
                    </a:cubicBezTo>
                    <a:cubicBezTo>
                      <a:pt x="469713" y="579783"/>
                      <a:pt x="469028" y="584327"/>
                      <a:pt x="463550" y="572001"/>
                    </a:cubicBezTo>
                    <a:cubicBezTo>
                      <a:pt x="460832" y="565884"/>
                      <a:pt x="459317" y="559301"/>
                      <a:pt x="457200" y="552951"/>
                    </a:cubicBezTo>
                    <a:cubicBezTo>
                      <a:pt x="456142" y="549776"/>
                      <a:pt x="455881" y="546211"/>
                      <a:pt x="454025" y="543426"/>
                    </a:cubicBezTo>
                    <a:cubicBezTo>
                      <a:pt x="448215" y="534712"/>
                      <a:pt x="432752" y="508818"/>
                      <a:pt x="422275" y="505326"/>
                    </a:cubicBezTo>
                    <a:cubicBezTo>
                      <a:pt x="419100" y="504268"/>
                      <a:pt x="415743" y="503648"/>
                      <a:pt x="412750" y="502151"/>
                    </a:cubicBezTo>
                    <a:cubicBezTo>
                      <a:pt x="409337" y="500444"/>
                      <a:pt x="406906" y="496805"/>
                      <a:pt x="403225" y="495801"/>
                    </a:cubicBezTo>
                    <a:cubicBezTo>
                      <a:pt x="394993" y="493556"/>
                      <a:pt x="386258" y="493923"/>
                      <a:pt x="377825" y="492626"/>
                    </a:cubicBezTo>
                    <a:cubicBezTo>
                      <a:pt x="372491" y="491805"/>
                      <a:pt x="367273" y="490338"/>
                      <a:pt x="361950" y="489451"/>
                    </a:cubicBezTo>
                    <a:cubicBezTo>
                      <a:pt x="354568" y="488221"/>
                      <a:pt x="347133" y="487334"/>
                      <a:pt x="339725" y="486276"/>
                    </a:cubicBezTo>
                    <a:cubicBezTo>
                      <a:pt x="317055" y="478719"/>
                      <a:pt x="326244" y="483639"/>
                      <a:pt x="311150" y="473576"/>
                    </a:cubicBezTo>
                    <a:cubicBezTo>
                      <a:pt x="309033" y="470401"/>
                      <a:pt x="307243" y="466982"/>
                      <a:pt x="304800" y="464051"/>
                    </a:cubicBezTo>
                    <a:cubicBezTo>
                      <a:pt x="301925" y="460602"/>
                      <a:pt x="297456" y="458451"/>
                      <a:pt x="295275" y="454526"/>
                    </a:cubicBezTo>
                    <a:cubicBezTo>
                      <a:pt x="279717" y="426522"/>
                      <a:pt x="299056" y="442230"/>
                      <a:pt x="279400" y="429126"/>
                    </a:cubicBezTo>
                    <a:cubicBezTo>
                      <a:pt x="277283" y="425951"/>
                      <a:pt x="276030" y="421985"/>
                      <a:pt x="273050" y="419601"/>
                    </a:cubicBezTo>
                    <a:cubicBezTo>
                      <a:pt x="251235" y="402149"/>
                      <a:pt x="276665" y="436042"/>
                      <a:pt x="254000" y="406901"/>
                    </a:cubicBezTo>
                    <a:cubicBezTo>
                      <a:pt x="249315" y="400877"/>
                      <a:pt x="247650" y="392084"/>
                      <a:pt x="241300" y="387851"/>
                    </a:cubicBezTo>
                    <a:cubicBezTo>
                      <a:pt x="238125" y="385734"/>
                      <a:pt x="235188" y="383208"/>
                      <a:pt x="231775" y="381501"/>
                    </a:cubicBezTo>
                    <a:cubicBezTo>
                      <a:pt x="217456" y="374341"/>
                      <a:pt x="226374" y="383350"/>
                      <a:pt x="212725" y="371976"/>
                    </a:cubicBezTo>
                    <a:cubicBezTo>
                      <a:pt x="185913" y="349632"/>
                      <a:pt x="225901" y="378802"/>
                      <a:pt x="190500" y="343401"/>
                    </a:cubicBezTo>
                    <a:lnTo>
                      <a:pt x="180975" y="333876"/>
                    </a:lnTo>
                    <a:cubicBezTo>
                      <a:pt x="173426" y="311228"/>
                      <a:pt x="184130" y="338609"/>
                      <a:pt x="168275" y="314826"/>
                    </a:cubicBezTo>
                    <a:cubicBezTo>
                      <a:pt x="166419" y="312041"/>
                      <a:pt x="166956" y="308086"/>
                      <a:pt x="165100" y="305301"/>
                    </a:cubicBezTo>
                    <a:cubicBezTo>
                      <a:pt x="156163" y="291895"/>
                      <a:pt x="149140" y="295691"/>
                      <a:pt x="136525" y="283076"/>
                    </a:cubicBezTo>
                    <a:cubicBezTo>
                      <a:pt x="124302" y="270853"/>
                      <a:pt x="130736" y="276042"/>
                      <a:pt x="117475" y="267201"/>
                    </a:cubicBezTo>
                    <a:cubicBezTo>
                      <a:pt x="116417" y="264026"/>
                      <a:pt x="115925" y="260602"/>
                      <a:pt x="114300" y="257676"/>
                    </a:cubicBezTo>
                    <a:cubicBezTo>
                      <a:pt x="110594" y="251005"/>
                      <a:pt x="105833" y="244976"/>
                      <a:pt x="101600" y="238626"/>
                    </a:cubicBezTo>
                    <a:cubicBezTo>
                      <a:pt x="99483" y="235451"/>
                      <a:pt x="97948" y="231799"/>
                      <a:pt x="95250" y="229101"/>
                    </a:cubicBezTo>
                    <a:lnTo>
                      <a:pt x="85725" y="219576"/>
                    </a:lnTo>
                    <a:cubicBezTo>
                      <a:pt x="78575" y="198126"/>
                      <a:pt x="88491" y="221376"/>
                      <a:pt x="73025" y="203701"/>
                    </a:cubicBezTo>
                    <a:cubicBezTo>
                      <a:pt x="67999" y="197958"/>
                      <a:pt x="65721" y="190047"/>
                      <a:pt x="60325" y="184651"/>
                    </a:cubicBezTo>
                    <a:cubicBezTo>
                      <a:pt x="32498" y="156824"/>
                      <a:pt x="66552" y="192123"/>
                      <a:pt x="44450" y="165601"/>
                    </a:cubicBezTo>
                    <a:cubicBezTo>
                      <a:pt x="41575" y="162152"/>
                      <a:pt x="38100" y="159251"/>
                      <a:pt x="34925" y="156076"/>
                    </a:cubicBezTo>
                    <a:cubicBezTo>
                      <a:pt x="33867" y="152901"/>
                      <a:pt x="33375" y="149477"/>
                      <a:pt x="31750" y="146551"/>
                    </a:cubicBezTo>
                    <a:cubicBezTo>
                      <a:pt x="22256" y="129461"/>
                      <a:pt x="21095" y="129546"/>
                      <a:pt x="9525" y="117976"/>
                    </a:cubicBezTo>
                    <a:cubicBezTo>
                      <a:pt x="8467" y="110568"/>
                      <a:pt x="7651" y="103121"/>
                      <a:pt x="6350" y="95751"/>
                    </a:cubicBezTo>
                    <a:cubicBezTo>
                      <a:pt x="4474" y="85122"/>
                      <a:pt x="0" y="64001"/>
                      <a:pt x="0" y="64001"/>
                    </a:cubicBezTo>
                    <a:cubicBezTo>
                      <a:pt x="3280" y="31198"/>
                      <a:pt x="11112" y="13201"/>
                      <a:pt x="22225" y="367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75" name="Freeform 174"/>
              <p:cNvSpPr/>
              <p:nvPr/>
            </p:nvSpPr>
            <p:spPr>
              <a:xfrm>
                <a:off x="986517" y="2078717"/>
                <a:ext cx="644525" cy="974725"/>
              </a:xfrm>
              <a:custGeom>
                <a:avLst/>
                <a:gdLst>
                  <a:gd name="connsiteX0" fmla="*/ 44450 w 644525"/>
                  <a:gd name="connsiteY0" fmla="*/ 514350 h 974725"/>
                  <a:gd name="connsiteX1" fmla="*/ 50800 w 644525"/>
                  <a:gd name="connsiteY1" fmla="*/ 463550 h 974725"/>
                  <a:gd name="connsiteX2" fmla="*/ 57150 w 644525"/>
                  <a:gd name="connsiteY2" fmla="*/ 381000 h 974725"/>
                  <a:gd name="connsiteX3" fmla="*/ 50800 w 644525"/>
                  <a:gd name="connsiteY3" fmla="*/ 323850 h 974725"/>
                  <a:gd name="connsiteX4" fmla="*/ 44450 w 644525"/>
                  <a:gd name="connsiteY4" fmla="*/ 314325 h 974725"/>
                  <a:gd name="connsiteX5" fmla="*/ 34925 w 644525"/>
                  <a:gd name="connsiteY5" fmla="*/ 282575 h 974725"/>
                  <a:gd name="connsiteX6" fmla="*/ 31750 w 644525"/>
                  <a:gd name="connsiteY6" fmla="*/ 273050 h 974725"/>
                  <a:gd name="connsiteX7" fmla="*/ 28575 w 644525"/>
                  <a:gd name="connsiteY7" fmla="*/ 263525 h 974725"/>
                  <a:gd name="connsiteX8" fmla="*/ 25400 w 644525"/>
                  <a:gd name="connsiteY8" fmla="*/ 244475 h 974725"/>
                  <a:gd name="connsiteX9" fmla="*/ 22225 w 644525"/>
                  <a:gd name="connsiteY9" fmla="*/ 219075 h 974725"/>
                  <a:gd name="connsiteX10" fmla="*/ 19050 w 644525"/>
                  <a:gd name="connsiteY10" fmla="*/ 203200 h 974725"/>
                  <a:gd name="connsiteX11" fmla="*/ 12700 w 644525"/>
                  <a:gd name="connsiteY11" fmla="*/ 165100 h 974725"/>
                  <a:gd name="connsiteX12" fmla="*/ 0 w 644525"/>
                  <a:gd name="connsiteY12" fmla="*/ 142875 h 974725"/>
                  <a:gd name="connsiteX13" fmla="*/ 3175 w 644525"/>
                  <a:gd name="connsiteY13" fmla="*/ 123825 h 974725"/>
                  <a:gd name="connsiteX14" fmla="*/ 15875 w 644525"/>
                  <a:gd name="connsiteY14" fmla="*/ 120650 h 974725"/>
                  <a:gd name="connsiteX15" fmla="*/ 38100 w 644525"/>
                  <a:gd name="connsiteY15" fmla="*/ 117475 h 974725"/>
                  <a:gd name="connsiteX16" fmla="*/ 47625 w 644525"/>
                  <a:gd name="connsiteY16" fmla="*/ 114300 h 974725"/>
                  <a:gd name="connsiteX17" fmla="*/ 57150 w 644525"/>
                  <a:gd name="connsiteY17" fmla="*/ 104775 h 974725"/>
                  <a:gd name="connsiteX18" fmla="*/ 66675 w 644525"/>
                  <a:gd name="connsiteY18" fmla="*/ 98425 h 974725"/>
                  <a:gd name="connsiteX19" fmla="*/ 76200 w 644525"/>
                  <a:gd name="connsiteY19" fmla="*/ 69850 h 974725"/>
                  <a:gd name="connsiteX20" fmla="*/ 79375 w 644525"/>
                  <a:gd name="connsiteY20" fmla="*/ 60325 h 974725"/>
                  <a:gd name="connsiteX21" fmla="*/ 82550 w 644525"/>
                  <a:gd name="connsiteY21" fmla="*/ 34925 h 974725"/>
                  <a:gd name="connsiteX22" fmla="*/ 95250 w 644525"/>
                  <a:gd name="connsiteY22" fmla="*/ 9525 h 974725"/>
                  <a:gd name="connsiteX23" fmla="*/ 114300 w 644525"/>
                  <a:gd name="connsiteY23" fmla="*/ 3175 h 974725"/>
                  <a:gd name="connsiteX24" fmla="*/ 123825 w 644525"/>
                  <a:gd name="connsiteY24" fmla="*/ 0 h 974725"/>
                  <a:gd name="connsiteX25" fmla="*/ 133350 w 644525"/>
                  <a:gd name="connsiteY25" fmla="*/ 3175 h 974725"/>
                  <a:gd name="connsiteX26" fmla="*/ 149225 w 644525"/>
                  <a:gd name="connsiteY26" fmla="*/ 47625 h 974725"/>
                  <a:gd name="connsiteX27" fmla="*/ 180975 w 644525"/>
                  <a:gd name="connsiteY27" fmla="*/ 50800 h 974725"/>
                  <a:gd name="connsiteX28" fmla="*/ 200025 w 644525"/>
                  <a:gd name="connsiteY28" fmla="*/ 69850 h 974725"/>
                  <a:gd name="connsiteX29" fmla="*/ 206375 w 644525"/>
                  <a:gd name="connsiteY29" fmla="*/ 79375 h 974725"/>
                  <a:gd name="connsiteX30" fmla="*/ 215900 w 644525"/>
                  <a:gd name="connsiteY30" fmla="*/ 85725 h 974725"/>
                  <a:gd name="connsiteX31" fmla="*/ 225425 w 644525"/>
                  <a:gd name="connsiteY31" fmla="*/ 95250 h 974725"/>
                  <a:gd name="connsiteX32" fmla="*/ 241300 w 644525"/>
                  <a:gd name="connsiteY32" fmla="*/ 123825 h 974725"/>
                  <a:gd name="connsiteX33" fmla="*/ 247650 w 644525"/>
                  <a:gd name="connsiteY33" fmla="*/ 133350 h 974725"/>
                  <a:gd name="connsiteX34" fmla="*/ 276225 w 644525"/>
                  <a:gd name="connsiteY34" fmla="*/ 146050 h 974725"/>
                  <a:gd name="connsiteX35" fmla="*/ 307975 w 644525"/>
                  <a:gd name="connsiteY35" fmla="*/ 149225 h 974725"/>
                  <a:gd name="connsiteX36" fmla="*/ 317500 w 644525"/>
                  <a:gd name="connsiteY36" fmla="*/ 152400 h 974725"/>
                  <a:gd name="connsiteX37" fmla="*/ 336550 w 644525"/>
                  <a:gd name="connsiteY37" fmla="*/ 165100 h 974725"/>
                  <a:gd name="connsiteX38" fmla="*/ 346075 w 644525"/>
                  <a:gd name="connsiteY38" fmla="*/ 171450 h 974725"/>
                  <a:gd name="connsiteX39" fmla="*/ 355600 w 644525"/>
                  <a:gd name="connsiteY39" fmla="*/ 177800 h 974725"/>
                  <a:gd name="connsiteX40" fmla="*/ 374650 w 644525"/>
                  <a:gd name="connsiteY40" fmla="*/ 184150 h 974725"/>
                  <a:gd name="connsiteX41" fmla="*/ 390525 w 644525"/>
                  <a:gd name="connsiteY41" fmla="*/ 203200 h 974725"/>
                  <a:gd name="connsiteX42" fmla="*/ 400050 w 644525"/>
                  <a:gd name="connsiteY42" fmla="*/ 212725 h 974725"/>
                  <a:gd name="connsiteX43" fmla="*/ 406400 w 644525"/>
                  <a:gd name="connsiteY43" fmla="*/ 222250 h 974725"/>
                  <a:gd name="connsiteX44" fmla="*/ 425450 w 644525"/>
                  <a:gd name="connsiteY44" fmla="*/ 238125 h 974725"/>
                  <a:gd name="connsiteX45" fmla="*/ 431800 w 644525"/>
                  <a:gd name="connsiteY45" fmla="*/ 247650 h 974725"/>
                  <a:gd name="connsiteX46" fmla="*/ 441325 w 644525"/>
                  <a:gd name="connsiteY46" fmla="*/ 254000 h 974725"/>
                  <a:gd name="connsiteX47" fmla="*/ 454025 w 644525"/>
                  <a:gd name="connsiteY47" fmla="*/ 273050 h 974725"/>
                  <a:gd name="connsiteX48" fmla="*/ 466725 w 644525"/>
                  <a:gd name="connsiteY48" fmla="*/ 282575 h 974725"/>
                  <a:gd name="connsiteX49" fmla="*/ 476250 w 644525"/>
                  <a:gd name="connsiteY49" fmla="*/ 288925 h 974725"/>
                  <a:gd name="connsiteX50" fmla="*/ 485775 w 644525"/>
                  <a:gd name="connsiteY50" fmla="*/ 298450 h 974725"/>
                  <a:gd name="connsiteX51" fmla="*/ 514350 w 644525"/>
                  <a:gd name="connsiteY51" fmla="*/ 307975 h 974725"/>
                  <a:gd name="connsiteX52" fmla="*/ 523875 w 644525"/>
                  <a:gd name="connsiteY52" fmla="*/ 311150 h 974725"/>
                  <a:gd name="connsiteX53" fmla="*/ 542925 w 644525"/>
                  <a:gd name="connsiteY53" fmla="*/ 327025 h 974725"/>
                  <a:gd name="connsiteX54" fmla="*/ 552450 w 644525"/>
                  <a:gd name="connsiteY54" fmla="*/ 336550 h 974725"/>
                  <a:gd name="connsiteX55" fmla="*/ 561975 w 644525"/>
                  <a:gd name="connsiteY55" fmla="*/ 368300 h 974725"/>
                  <a:gd name="connsiteX56" fmla="*/ 565150 w 644525"/>
                  <a:gd name="connsiteY56" fmla="*/ 377825 h 974725"/>
                  <a:gd name="connsiteX57" fmla="*/ 584200 w 644525"/>
                  <a:gd name="connsiteY57" fmla="*/ 390525 h 974725"/>
                  <a:gd name="connsiteX58" fmla="*/ 606425 w 644525"/>
                  <a:gd name="connsiteY58" fmla="*/ 403225 h 974725"/>
                  <a:gd name="connsiteX59" fmla="*/ 615950 w 644525"/>
                  <a:gd name="connsiteY59" fmla="*/ 409575 h 974725"/>
                  <a:gd name="connsiteX60" fmla="*/ 638175 w 644525"/>
                  <a:gd name="connsiteY60" fmla="*/ 412750 h 974725"/>
                  <a:gd name="connsiteX61" fmla="*/ 641350 w 644525"/>
                  <a:gd name="connsiteY61" fmla="*/ 422275 h 974725"/>
                  <a:gd name="connsiteX62" fmla="*/ 635000 w 644525"/>
                  <a:gd name="connsiteY62" fmla="*/ 454025 h 974725"/>
                  <a:gd name="connsiteX63" fmla="*/ 619125 w 644525"/>
                  <a:gd name="connsiteY63" fmla="*/ 473075 h 974725"/>
                  <a:gd name="connsiteX64" fmla="*/ 615950 w 644525"/>
                  <a:gd name="connsiteY64" fmla="*/ 482600 h 974725"/>
                  <a:gd name="connsiteX65" fmla="*/ 615950 w 644525"/>
                  <a:gd name="connsiteY65" fmla="*/ 527050 h 974725"/>
                  <a:gd name="connsiteX66" fmla="*/ 625475 w 644525"/>
                  <a:gd name="connsiteY66" fmla="*/ 533400 h 974725"/>
                  <a:gd name="connsiteX67" fmla="*/ 628650 w 644525"/>
                  <a:gd name="connsiteY67" fmla="*/ 542925 h 974725"/>
                  <a:gd name="connsiteX68" fmla="*/ 622300 w 644525"/>
                  <a:gd name="connsiteY68" fmla="*/ 565150 h 974725"/>
                  <a:gd name="connsiteX69" fmla="*/ 612775 w 644525"/>
                  <a:gd name="connsiteY69" fmla="*/ 574675 h 974725"/>
                  <a:gd name="connsiteX70" fmla="*/ 606425 w 644525"/>
                  <a:gd name="connsiteY70" fmla="*/ 587375 h 974725"/>
                  <a:gd name="connsiteX71" fmla="*/ 609600 w 644525"/>
                  <a:gd name="connsiteY71" fmla="*/ 596900 h 974725"/>
                  <a:gd name="connsiteX72" fmla="*/ 628650 w 644525"/>
                  <a:gd name="connsiteY72" fmla="*/ 606425 h 974725"/>
                  <a:gd name="connsiteX73" fmla="*/ 644525 w 644525"/>
                  <a:gd name="connsiteY73" fmla="*/ 628650 h 974725"/>
                  <a:gd name="connsiteX74" fmla="*/ 641350 w 644525"/>
                  <a:gd name="connsiteY74" fmla="*/ 679450 h 974725"/>
                  <a:gd name="connsiteX75" fmla="*/ 622300 w 644525"/>
                  <a:gd name="connsiteY75" fmla="*/ 698500 h 974725"/>
                  <a:gd name="connsiteX76" fmla="*/ 603250 w 644525"/>
                  <a:gd name="connsiteY76" fmla="*/ 711200 h 974725"/>
                  <a:gd name="connsiteX77" fmla="*/ 584200 w 644525"/>
                  <a:gd name="connsiteY77" fmla="*/ 727075 h 974725"/>
                  <a:gd name="connsiteX78" fmla="*/ 581025 w 644525"/>
                  <a:gd name="connsiteY78" fmla="*/ 736600 h 974725"/>
                  <a:gd name="connsiteX79" fmla="*/ 590550 w 644525"/>
                  <a:gd name="connsiteY79" fmla="*/ 755650 h 974725"/>
                  <a:gd name="connsiteX80" fmla="*/ 596900 w 644525"/>
                  <a:gd name="connsiteY80" fmla="*/ 774700 h 974725"/>
                  <a:gd name="connsiteX81" fmla="*/ 593725 w 644525"/>
                  <a:gd name="connsiteY81" fmla="*/ 866775 h 974725"/>
                  <a:gd name="connsiteX82" fmla="*/ 574675 w 644525"/>
                  <a:gd name="connsiteY82" fmla="*/ 869950 h 974725"/>
                  <a:gd name="connsiteX83" fmla="*/ 555625 w 644525"/>
                  <a:gd name="connsiteY83" fmla="*/ 866775 h 974725"/>
                  <a:gd name="connsiteX84" fmla="*/ 527050 w 644525"/>
                  <a:gd name="connsiteY84" fmla="*/ 857250 h 974725"/>
                  <a:gd name="connsiteX85" fmla="*/ 508000 w 644525"/>
                  <a:gd name="connsiteY85" fmla="*/ 850900 h 974725"/>
                  <a:gd name="connsiteX86" fmla="*/ 498475 w 644525"/>
                  <a:gd name="connsiteY86" fmla="*/ 847725 h 974725"/>
                  <a:gd name="connsiteX87" fmla="*/ 479425 w 644525"/>
                  <a:gd name="connsiteY87" fmla="*/ 850900 h 974725"/>
                  <a:gd name="connsiteX88" fmla="*/ 476250 w 644525"/>
                  <a:gd name="connsiteY88" fmla="*/ 860425 h 974725"/>
                  <a:gd name="connsiteX89" fmla="*/ 479425 w 644525"/>
                  <a:gd name="connsiteY89" fmla="*/ 873125 h 974725"/>
                  <a:gd name="connsiteX90" fmla="*/ 498475 w 644525"/>
                  <a:gd name="connsiteY90" fmla="*/ 882650 h 974725"/>
                  <a:gd name="connsiteX91" fmla="*/ 508000 w 644525"/>
                  <a:gd name="connsiteY91" fmla="*/ 901700 h 974725"/>
                  <a:gd name="connsiteX92" fmla="*/ 517525 w 644525"/>
                  <a:gd name="connsiteY92" fmla="*/ 920750 h 974725"/>
                  <a:gd name="connsiteX93" fmla="*/ 514350 w 644525"/>
                  <a:gd name="connsiteY93" fmla="*/ 936625 h 974725"/>
                  <a:gd name="connsiteX94" fmla="*/ 504825 w 644525"/>
                  <a:gd name="connsiteY94" fmla="*/ 939800 h 974725"/>
                  <a:gd name="connsiteX95" fmla="*/ 460375 w 644525"/>
                  <a:gd name="connsiteY95" fmla="*/ 936625 h 974725"/>
                  <a:gd name="connsiteX96" fmla="*/ 450850 w 644525"/>
                  <a:gd name="connsiteY96" fmla="*/ 933450 h 974725"/>
                  <a:gd name="connsiteX97" fmla="*/ 441325 w 644525"/>
                  <a:gd name="connsiteY97" fmla="*/ 927100 h 974725"/>
                  <a:gd name="connsiteX98" fmla="*/ 406400 w 644525"/>
                  <a:gd name="connsiteY98" fmla="*/ 930275 h 974725"/>
                  <a:gd name="connsiteX99" fmla="*/ 390525 w 644525"/>
                  <a:gd name="connsiteY99" fmla="*/ 946150 h 974725"/>
                  <a:gd name="connsiteX100" fmla="*/ 384175 w 644525"/>
                  <a:gd name="connsiteY100" fmla="*/ 955675 h 974725"/>
                  <a:gd name="connsiteX101" fmla="*/ 365125 w 644525"/>
                  <a:gd name="connsiteY101" fmla="*/ 968375 h 974725"/>
                  <a:gd name="connsiteX102" fmla="*/ 355600 w 644525"/>
                  <a:gd name="connsiteY102" fmla="*/ 974725 h 974725"/>
                  <a:gd name="connsiteX103" fmla="*/ 330200 w 644525"/>
                  <a:gd name="connsiteY103" fmla="*/ 971550 h 974725"/>
                  <a:gd name="connsiteX104" fmla="*/ 327025 w 644525"/>
                  <a:gd name="connsiteY104" fmla="*/ 962025 h 974725"/>
                  <a:gd name="connsiteX105" fmla="*/ 323850 w 644525"/>
                  <a:gd name="connsiteY105" fmla="*/ 946150 h 974725"/>
                  <a:gd name="connsiteX106" fmla="*/ 311150 w 644525"/>
                  <a:gd name="connsiteY106" fmla="*/ 930275 h 974725"/>
                  <a:gd name="connsiteX107" fmla="*/ 298450 w 644525"/>
                  <a:gd name="connsiteY107" fmla="*/ 892175 h 974725"/>
                  <a:gd name="connsiteX108" fmla="*/ 295275 w 644525"/>
                  <a:gd name="connsiteY108" fmla="*/ 882650 h 974725"/>
                  <a:gd name="connsiteX109" fmla="*/ 292100 w 644525"/>
                  <a:gd name="connsiteY109" fmla="*/ 873125 h 974725"/>
                  <a:gd name="connsiteX110" fmla="*/ 285750 w 644525"/>
                  <a:gd name="connsiteY110" fmla="*/ 863600 h 974725"/>
                  <a:gd name="connsiteX111" fmla="*/ 276225 w 644525"/>
                  <a:gd name="connsiteY111" fmla="*/ 835025 h 974725"/>
                  <a:gd name="connsiteX112" fmla="*/ 273050 w 644525"/>
                  <a:gd name="connsiteY112" fmla="*/ 825500 h 974725"/>
                  <a:gd name="connsiteX113" fmla="*/ 260350 w 644525"/>
                  <a:gd name="connsiteY113" fmla="*/ 796925 h 974725"/>
                  <a:gd name="connsiteX114" fmla="*/ 257175 w 644525"/>
                  <a:gd name="connsiteY114" fmla="*/ 787400 h 974725"/>
                  <a:gd name="connsiteX115" fmla="*/ 254000 w 644525"/>
                  <a:gd name="connsiteY115" fmla="*/ 768350 h 974725"/>
                  <a:gd name="connsiteX116" fmla="*/ 247650 w 644525"/>
                  <a:gd name="connsiteY116" fmla="*/ 730250 h 974725"/>
                  <a:gd name="connsiteX117" fmla="*/ 241300 w 644525"/>
                  <a:gd name="connsiteY117" fmla="*/ 711200 h 974725"/>
                  <a:gd name="connsiteX118" fmla="*/ 234950 w 644525"/>
                  <a:gd name="connsiteY118" fmla="*/ 692150 h 974725"/>
                  <a:gd name="connsiteX119" fmla="*/ 231775 w 644525"/>
                  <a:gd name="connsiteY119" fmla="*/ 682625 h 974725"/>
                  <a:gd name="connsiteX120" fmla="*/ 222250 w 644525"/>
                  <a:gd name="connsiteY120" fmla="*/ 650875 h 974725"/>
                  <a:gd name="connsiteX121" fmla="*/ 212725 w 644525"/>
                  <a:gd name="connsiteY121" fmla="*/ 638175 h 974725"/>
                  <a:gd name="connsiteX122" fmla="*/ 203200 w 644525"/>
                  <a:gd name="connsiteY122" fmla="*/ 628650 h 974725"/>
                  <a:gd name="connsiteX123" fmla="*/ 190500 w 644525"/>
                  <a:gd name="connsiteY123" fmla="*/ 609600 h 974725"/>
                  <a:gd name="connsiteX124" fmla="*/ 184150 w 644525"/>
                  <a:gd name="connsiteY124" fmla="*/ 600075 h 974725"/>
                  <a:gd name="connsiteX125" fmla="*/ 180975 w 644525"/>
                  <a:gd name="connsiteY125" fmla="*/ 590550 h 974725"/>
                  <a:gd name="connsiteX126" fmla="*/ 171450 w 644525"/>
                  <a:gd name="connsiteY126" fmla="*/ 584200 h 974725"/>
                  <a:gd name="connsiteX127" fmla="*/ 146050 w 644525"/>
                  <a:gd name="connsiteY127" fmla="*/ 546100 h 974725"/>
                  <a:gd name="connsiteX128" fmla="*/ 139700 w 644525"/>
                  <a:gd name="connsiteY128" fmla="*/ 536575 h 974725"/>
                  <a:gd name="connsiteX129" fmla="*/ 114300 w 644525"/>
                  <a:gd name="connsiteY129" fmla="*/ 514350 h 974725"/>
                  <a:gd name="connsiteX130" fmla="*/ 95250 w 644525"/>
                  <a:gd name="connsiteY130" fmla="*/ 508000 h 974725"/>
                  <a:gd name="connsiteX131" fmla="*/ 44450 w 644525"/>
                  <a:gd name="connsiteY131" fmla="*/ 514350 h 97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644525" h="974725">
                    <a:moveTo>
                      <a:pt x="44450" y="514350"/>
                    </a:moveTo>
                    <a:cubicBezTo>
                      <a:pt x="49610" y="488550"/>
                      <a:pt x="47803" y="500519"/>
                      <a:pt x="50800" y="463550"/>
                    </a:cubicBezTo>
                    <a:cubicBezTo>
                      <a:pt x="53030" y="436042"/>
                      <a:pt x="57150" y="381000"/>
                      <a:pt x="57150" y="381000"/>
                    </a:cubicBezTo>
                    <a:cubicBezTo>
                      <a:pt x="56960" y="378342"/>
                      <a:pt x="56609" y="337405"/>
                      <a:pt x="50800" y="323850"/>
                    </a:cubicBezTo>
                    <a:cubicBezTo>
                      <a:pt x="49297" y="320343"/>
                      <a:pt x="46567" y="317500"/>
                      <a:pt x="44450" y="314325"/>
                    </a:cubicBezTo>
                    <a:cubicBezTo>
                      <a:pt x="39652" y="295131"/>
                      <a:pt x="42655" y="305765"/>
                      <a:pt x="34925" y="282575"/>
                    </a:cubicBezTo>
                    <a:lnTo>
                      <a:pt x="31750" y="273050"/>
                    </a:lnTo>
                    <a:cubicBezTo>
                      <a:pt x="30692" y="269875"/>
                      <a:pt x="29125" y="266826"/>
                      <a:pt x="28575" y="263525"/>
                    </a:cubicBezTo>
                    <a:cubicBezTo>
                      <a:pt x="27517" y="257175"/>
                      <a:pt x="26310" y="250848"/>
                      <a:pt x="25400" y="244475"/>
                    </a:cubicBezTo>
                    <a:cubicBezTo>
                      <a:pt x="24193" y="236028"/>
                      <a:pt x="23522" y="227508"/>
                      <a:pt x="22225" y="219075"/>
                    </a:cubicBezTo>
                    <a:cubicBezTo>
                      <a:pt x="21404" y="213741"/>
                      <a:pt x="19988" y="208514"/>
                      <a:pt x="19050" y="203200"/>
                    </a:cubicBezTo>
                    <a:cubicBezTo>
                      <a:pt x="16812" y="190521"/>
                      <a:pt x="18458" y="176616"/>
                      <a:pt x="12700" y="165100"/>
                    </a:cubicBezTo>
                    <a:cubicBezTo>
                      <a:pt x="4643" y="148987"/>
                      <a:pt x="8975" y="156338"/>
                      <a:pt x="0" y="142875"/>
                    </a:cubicBezTo>
                    <a:cubicBezTo>
                      <a:pt x="1058" y="136525"/>
                      <a:pt x="-567" y="129063"/>
                      <a:pt x="3175" y="123825"/>
                    </a:cubicBezTo>
                    <a:cubicBezTo>
                      <a:pt x="5711" y="120274"/>
                      <a:pt x="11582" y="121431"/>
                      <a:pt x="15875" y="120650"/>
                    </a:cubicBezTo>
                    <a:cubicBezTo>
                      <a:pt x="23238" y="119311"/>
                      <a:pt x="30692" y="118533"/>
                      <a:pt x="38100" y="117475"/>
                    </a:cubicBezTo>
                    <a:cubicBezTo>
                      <a:pt x="41275" y="116417"/>
                      <a:pt x="44840" y="116156"/>
                      <a:pt x="47625" y="114300"/>
                    </a:cubicBezTo>
                    <a:cubicBezTo>
                      <a:pt x="51361" y="111809"/>
                      <a:pt x="53701" y="107650"/>
                      <a:pt x="57150" y="104775"/>
                    </a:cubicBezTo>
                    <a:cubicBezTo>
                      <a:pt x="60081" y="102332"/>
                      <a:pt x="63500" y="100542"/>
                      <a:pt x="66675" y="98425"/>
                    </a:cubicBezTo>
                    <a:lnTo>
                      <a:pt x="76200" y="69850"/>
                    </a:lnTo>
                    <a:lnTo>
                      <a:pt x="79375" y="60325"/>
                    </a:lnTo>
                    <a:cubicBezTo>
                      <a:pt x="80433" y="51858"/>
                      <a:pt x="81253" y="43358"/>
                      <a:pt x="82550" y="34925"/>
                    </a:cubicBezTo>
                    <a:cubicBezTo>
                      <a:pt x="84383" y="23008"/>
                      <a:pt x="83758" y="15909"/>
                      <a:pt x="95250" y="9525"/>
                    </a:cubicBezTo>
                    <a:cubicBezTo>
                      <a:pt x="101101" y="6274"/>
                      <a:pt x="107950" y="5292"/>
                      <a:pt x="114300" y="3175"/>
                    </a:cubicBezTo>
                    <a:lnTo>
                      <a:pt x="123825" y="0"/>
                    </a:lnTo>
                    <a:cubicBezTo>
                      <a:pt x="127000" y="1058"/>
                      <a:pt x="132149" y="51"/>
                      <a:pt x="133350" y="3175"/>
                    </a:cubicBezTo>
                    <a:cubicBezTo>
                      <a:pt x="137777" y="14685"/>
                      <a:pt x="129743" y="43129"/>
                      <a:pt x="149225" y="47625"/>
                    </a:cubicBezTo>
                    <a:cubicBezTo>
                      <a:pt x="159589" y="50017"/>
                      <a:pt x="170392" y="49742"/>
                      <a:pt x="180975" y="50800"/>
                    </a:cubicBezTo>
                    <a:cubicBezTo>
                      <a:pt x="187325" y="57150"/>
                      <a:pt x="195044" y="62378"/>
                      <a:pt x="200025" y="69850"/>
                    </a:cubicBezTo>
                    <a:cubicBezTo>
                      <a:pt x="202142" y="73025"/>
                      <a:pt x="203677" y="76677"/>
                      <a:pt x="206375" y="79375"/>
                    </a:cubicBezTo>
                    <a:cubicBezTo>
                      <a:pt x="209073" y="82073"/>
                      <a:pt x="212969" y="83282"/>
                      <a:pt x="215900" y="85725"/>
                    </a:cubicBezTo>
                    <a:cubicBezTo>
                      <a:pt x="219349" y="88600"/>
                      <a:pt x="222250" y="92075"/>
                      <a:pt x="225425" y="95250"/>
                    </a:cubicBezTo>
                    <a:cubicBezTo>
                      <a:pt x="231013" y="112015"/>
                      <a:pt x="226744" y="101990"/>
                      <a:pt x="241300" y="123825"/>
                    </a:cubicBezTo>
                    <a:cubicBezTo>
                      <a:pt x="243417" y="127000"/>
                      <a:pt x="244475" y="131233"/>
                      <a:pt x="247650" y="133350"/>
                    </a:cubicBezTo>
                    <a:cubicBezTo>
                      <a:pt x="257423" y="139865"/>
                      <a:pt x="262890" y="144716"/>
                      <a:pt x="276225" y="146050"/>
                    </a:cubicBezTo>
                    <a:lnTo>
                      <a:pt x="307975" y="149225"/>
                    </a:lnTo>
                    <a:cubicBezTo>
                      <a:pt x="311150" y="150283"/>
                      <a:pt x="314574" y="150775"/>
                      <a:pt x="317500" y="152400"/>
                    </a:cubicBezTo>
                    <a:cubicBezTo>
                      <a:pt x="324171" y="156106"/>
                      <a:pt x="330200" y="160867"/>
                      <a:pt x="336550" y="165100"/>
                    </a:cubicBezTo>
                    <a:lnTo>
                      <a:pt x="346075" y="171450"/>
                    </a:lnTo>
                    <a:cubicBezTo>
                      <a:pt x="349250" y="173567"/>
                      <a:pt x="351980" y="176593"/>
                      <a:pt x="355600" y="177800"/>
                    </a:cubicBezTo>
                    <a:lnTo>
                      <a:pt x="374650" y="184150"/>
                    </a:lnTo>
                    <a:cubicBezTo>
                      <a:pt x="402477" y="211977"/>
                      <a:pt x="368423" y="176678"/>
                      <a:pt x="390525" y="203200"/>
                    </a:cubicBezTo>
                    <a:cubicBezTo>
                      <a:pt x="393400" y="206649"/>
                      <a:pt x="397175" y="209276"/>
                      <a:pt x="400050" y="212725"/>
                    </a:cubicBezTo>
                    <a:cubicBezTo>
                      <a:pt x="402493" y="215656"/>
                      <a:pt x="403957" y="219319"/>
                      <a:pt x="406400" y="222250"/>
                    </a:cubicBezTo>
                    <a:cubicBezTo>
                      <a:pt x="414040" y="231417"/>
                      <a:pt x="416084" y="231881"/>
                      <a:pt x="425450" y="238125"/>
                    </a:cubicBezTo>
                    <a:cubicBezTo>
                      <a:pt x="427567" y="241300"/>
                      <a:pt x="429102" y="244952"/>
                      <a:pt x="431800" y="247650"/>
                    </a:cubicBezTo>
                    <a:cubicBezTo>
                      <a:pt x="434498" y="250348"/>
                      <a:pt x="438812" y="251128"/>
                      <a:pt x="441325" y="254000"/>
                    </a:cubicBezTo>
                    <a:cubicBezTo>
                      <a:pt x="446351" y="259743"/>
                      <a:pt x="447920" y="268471"/>
                      <a:pt x="454025" y="273050"/>
                    </a:cubicBezTo>
                    <a:cubicBezTo>
                      <a:pt x="458258" y="276225"/>
                      <a:pt x="462419" y="279499"/>
                      <a:pt x="466725" y="282575"/>
                    </a:cubicBezTo>
                    <a:cubicBezTo>
                      <a:pt x="469830" y="284793"/>
                      <a:pt x="473319" y="286482"/>
                      <a:pt x="476250" y="288925"/>
                    </a:cubicBezTo>
                    <a:cubicBezTo>
                      <a:pt x="479699" y="291800"/>
                      <a:pt x="481850" y="296269"/>
                      <a:pt x="485775" y="298450"/>
                    </a:cubicBezTo>
                    <a:lnTo>
                      <a:pt x="514350" y="307975"/>
                    </a:lnTo>
                    <a:lnTo>
                      <a:pt x="523875" y="311150"/>
                    </a:lnTo>
                    <a:cubicBezTo>
                      <a:pt x="551702" y="338977"/>
                      <a:pt x="516403" y="304923"/>
                      <a:pt x="542925" y="327025"/>
                    </a:cubicBezTo>
                    <a:cubicBezTo>
                      <a:pt x="546374" y="329900"/>
                      <a:pt x="549275" y="333375"/>
                      <a:pt x="552450" y="336550"/>
                    </a:cubicBezTo>
                    <a:cubicBezTo>
                      <a:pt x="567540" y="381821"/>
                      <a:pt x="552378" y="334711"/>
                      <a:pt x="561975" y="368300"/>
                    </a:cubicBezTo>
                    <a:cubicBezTo>
                      <a:pt x="562894" y="371518"/>
                      <a:pt x="562783" y="375458"/>
                      <a:pt x="565150" y="377825"/>
                    </a:cubicBezTo>
                    <a:cubicBezTo>
                      <a:pt x="570546" y="383221"/>
                      <a:pt x="577850" y="386292"/>
                      <a:pt x="584200" y="390525"/>
                    </a:cubicBezTo>
                    <a:cubicBezTo>
                      <a:pt x="607406" y="405996"/>
                      <a:pt x="578227" y="387112"/>
                      <a:pt x="606425" y="403225"/>
                    </a:cubicBezTo>
                    <a:cubicBezTo>
                      <a:pt x="609738" y="405118"/>
                      <a:pt x="612295" y="408479"/>
                      <a:pt x="615950" y="409575"/>
                    </a:cubicBezTo>
                    <a:cubicBezTo>
                      <a:pt x="623118" y="411725"/>
                      <a:pt x="630767" y="411692"/>
                      <a:pt x="638175" y="412750"/>
                    </a:cubicBezTo>
                    <a:cubicBezTo>
                      <a:pt x="639233" y="415925"/>
                      <a:pt x="641350" y="418928"/>
                      <a:pt x="641350" y="422275"/>
                    </a:cubicBezTo>
                    <a:cubicBezTo>
                      <a:pt x="641350" y="424901"/>
                      <a:pt x="637098" y="449130"/>
                      <a:pt x="635000" y="454025"/>
                    </a:cubicBezTo>
                    <a:cubicBezTo>
                      <a:pt x="631685" y="461761"/>
                      <a:pt x="624846" y="467354"/>
                      <a:pt x="619125" y="473075"/>
                    </a:cubicBezTo>
                    <a:cubicBezTo>
                      <a:pt x="618067" y="476250"/>
                      <a:pt x="616762" y="479353"/>
                      <a:pt x="615950" y="482600"/>
                    </a:cubicBezTo>
                    <a:cubicBezTo>
                      <a:pt x="612113" y="497949"/>
                      <a:pt x="610017" y="510735"/>
                      <a:pt x="615950" y="527050"/>
                    </a:cubicBezTo>
                    <a:cubicBezTo>
                      <a:pt x="617254" y="530636"/>
                      <a:pt x="622300" y="531283"/>
                      <a:pt x="625475" y="533400"/>
                    </a:cubicBezTo>
                    <a:cubicBezTo>
                      <a:pt x="626533" y="536575"/>
                      <a:pt x="628650" y="539578"/>
                      <a:pt x="628650" y="542925"/>
                    </a:cubicBezTo>
                    <a:cubicBezTo>
                      <a:pt x="628650" y="543983"/>
                      <a:pt x="623797" y="562904"/>
                      <a:pt x="622300" y="565150"/>
                    </a:cubicBezTo>
                    <a:cubicBezTo>
                      <a:pt x="619809" y="568886"/>
                      <a:pt x="615385" y="571021"/>
                      <a:pt x="612775" y="574675"/>
                    </a:cubicBezTo>
                    <a:cubicBezTo>
                      <a:pt x="610024" y="578526"/>
                      <a:pt x="608542" y="583142"/>
                      <a:pt x="606425" y="587375"/>
                    </a:cubicBezTo>
                    <a:cubicBezTo>
                      <a:pt x="607483" y="590550"/>
                      <a:pt x="607509" y="594287"/>
                      <a:pt x="609600" y="596900"/>
                    </a:cubicBezTo>
                    <a:cubicBezTo>
                      <a:pt x="614076" y="602495"/>
                      <a:pt x="622375" y="604333"/>
                      <a:pt x="628650" y="606425"/>
                    </a:cubicBezTo>
                    <a:cubicBezTo>
                      <a:pt x="634650" y="612425"/>
                      <a:pt x="644525" y="618514"/>
                      <a:pt x="644525" y="628650"/>
                    </a:cubicBezTo>
                    <a:cubicBezTo>
                      <a:pt x="644525" y="645616"/>
                      <a:pt x="643996" y="662691"/>
                      <a:pt x="641350" y="679450"/>
                    </a:cubicBezTo>
                    <a:cubicBezTo>
                      <a:pt x="640132" y="687163"/>
                      <a:pt x="626865" y="695304"/>
                      <a:pt x="622300" y="698500"/>
                    </a:cubicBezTo>
                    <a:cubicBezTo>
                      <a:pt x="616048" y="702877"/>
                      <a:pt x="608646" y="705804"/>
                      <a:pt x="603250" y="711200"/>
                    </a:cubicBezTo>
                    <a:cubicBezTo>
                      <a:pt x="591027" y="723423"/>
                      <a:pt x="597461" y="718234"/>
                      <a:pt x="584200" y="727075"/>
                    </a:cubicBezTo>
                    <a:cubicBezTo>
                      <a:pt x="583142" y="730250"/>
                      <a:pt x="581025" y="733253"/>
                      <a:pt x="581025" y="736600"/>
                    </a:cubicBezTo>
                    <a:cubicBezTo>
                      <a:pt x="581025" y="745284"/>
                      <a:pt x="587339" y="748426"/>
                      <a:pt x="590550" y="755650"/>
                    </a:cubicBezTo>
                    <a:cubicBezTo>
                      <a:pt x="593268" y="761767"/>
                      <a:pt x="596900" y="774700"/>
                      <a:pt x="596900" y="774700"/>
                    </a:cubicBezTo>
                    <a:cubicBezTo>
                      <a:pt x="595842" y="805392"/>
                      <a:pt x="600703" y="836868"/>
                      <a:pt x="593725" y="866775"/>
                    </a:cubicBezTo>
                    <a:cubicBezTo>
                      <a:pt x="592262" y="873044"/>
                      <a:pt x="581113" y="869950"/>
                      <a:pt x="574675" y="869950"/>
                    </a:cubicBezTo>
                    <a:cubicBezTo>
                      <a:pt x="568237" y="869950"/>
                      <a:pt x="561870" y="868336"/>
                      <a:pt x="555625" y="866775"/>
                    </a:cubicBezTo>
                    <a:lnTo>
                      <a:pt x="527050" y="857250"/>
                    </a:lnTo>
                    <a:lnTo>
                      <a:pt x="508000" y="850900"/>
                    </a:lnTo>
                    <a:lnTo>
                      <a:pt x="498475" y="847725"/>
                    </a:lnTo>
                    <a:cubicBezTo>
                      <a:pt x="492125" y="848783"/>
                      <a:pt x="485014" y="847706"/>
                      <a:pt x="479425" y="850900"/>
                    </a:cubicBezTo>
                    <a:cubicBezTo>
                      <a:pt x="476519" y="852560"/>
                      <a:pt x="476250" y="857078"/>
                      <a:pt x="476250" y="860425"/>
                    </a:cubicBezTo>
                    <a:cubicBezTo>
                      <a:pt x="476250" y="864789"/>
                      <a:pt x="477004" y="869494"/>
                      <a:pt x="479425" y="873125"/>
                    </a:cubicBezTo>
                    <a:cubicBezTo>
                      <a:pt x="482942" y="878401"/>
                      <a:pt x="493042" y="880839"/>
                      <a:pt x="498475" y="882650"/>
                    </a:cubicBezTo>
                    <a:cubicBezTo>
                      <a:pt x="516673" y="909947"/>
                      <a:pt x="494855" y="875410"/>
                      <a:pt x="508000" y="901700"/>
                    </a:cubicBezTo>
                    <a:cubicBezTo>
                      <a:pt x="520310" y="926319"/>
                      <a:pt x="509545" y="896809"/>
                      <a:pt x="517525" y="920750"/>
                    </a:cubicBezTo>
                    <a:cubicBezTo>
                      <a:pt x="516467" y="926042"/>
                      <a:pt x="517343" y="932135"/>
                      <a:pt x="514350" y="936625"/>
                    </a:cubicBezTo>
                    <a:cubicBezTo>
                      <a:pt x="512494" y="939410"/>
                      <a:pt x="508172" y="939800"/>
                      <a:pt x="504825" y="939800"/>
                    </a:cubicBezTo>
                    <a:cubicBezTo>
                      <a:pt x="489971" y="939800"/>
                      <a:pt x="475192" y="937683"/>
                      <a:pt x="460375" y="936625"/>
                    </a:cubicBezTo>
                    <a:cubicBezTo>
                      <a:pt x="457200" y="935567"/>
                      <a:pt x="453843" y="934947"/>
                      <a:pt x="450850" y="933450"/>
                    </a:cubicBezTo>
                    <a:cubicBezTo>
                      <a:pt x="447437" y="931743"/>
                      <a:pt x="445131" y="927372"/>
                      <a:pt x="441325" y="927100"/>
                    </a:cubicBezTo>
                    <a:cubicBezTo>
                      <a:pt x="429665" y="926267"/>
                      <a:pt x="418042" y="929217"/>
                      <a:pt x="406400" y="930275"/>
                    </a:cubicBezTo>
                    <a:cubicBezTo>
                      <a:pt x="389467" y="955675"/>
                      <a:pt x="411692" y="924983"/>
                      <a:pt x="390525" y="946150"/>
                    </a:cubicBezTo>
                    <a:cubicBezTo>
                      <a:pt x="387827" y="948848"/>
                      <a:pt x="387047" y="953162"/>
                      <a:pt x="384175" y="955675"/>
                    </a:cubicBezTo>
                    <a:cubicBezTo>
                      <a:pt x="378432" y="960701"/>
                      <a:pt x="371475" y="964142"/>
                      <a:pt x="365125" y="968375"/>
                    </a:cubicBezTo>
                    <a:lnTo>
                      <a:pt x="355600" y="974725"/>
                    </a:lnTo>
                    <a:cubicBezTo>
                      <a:pt x="347133" y="973667"/>
                      <a:pt x="337997" y="975015"/>
                      <a:pt x="330200" y="971550"/>
                    </a:cubicBezTo>
                    <a:cubicBezTo>
                      <a:pt x="327142" y="970191"/>
                      <a:pt x="327837" y="965272"/>
                      <a:pt x="327025" y="962025"/>
                    </a:cubicBezTo>
                    <a:cubicBezTo>
                      <a:pt x="325716" y="956790"/>
                      <a:pt x="325159" y="951385"/>
                      <a:pt x="323850" y="946150"/>
                    </a:cubicBezTo>
                    <a:cubicBezTo>
                      <a:pt x="320783" y="933881"/>
                      <a:pt x="321961" y="937482"/>
                      <a:pt x="311150" y="930275"/>
                    </a:cubicBezTo>
                    <a:lnTo>
                      <a:pt x="298450" y="892175"/>
                    </a:lnTo>
                    <a:lnTo>
                      <a:pt x="295275" y="882650"/>
                    </a:lnTo>
                    <a:cubicBezTo>
                      <a:pt x="294217" y="879475"/>
                      <a:pt x="293956" y="875910"/>
                      <a:pt x="292100" y="873125"/>
                    </a:cubicBezTo>
                    <a:cubicBezTo>
                      <a:pt x="289983" y="869950"/>
                      <a:pt x="287300" y="867087"/>
                      <a:pt x="285750" y="863600"/>
                    </a:cubicBezTo>
                    <a:lnTo>
                      <a:pt x="276225" y="835025"/>
                    </a:lnTo>
                    <a:cubicBezTo>
                      <a:pt x="275167" y="831850"/>
                      <a:pt x="274906" y="828285"/>
                      <a:pt x="273050" y="825500"/>
                    </a:cubicBezTo>
                    <a:cubicBezTo>
                      <a:pt x="262987" y="810406"/>
                      <a:pt x="267907" y="819595"/>
                      <a:pt x="260350" y="796925"/>
                    </a:cubicBezTo>
                    <a:cubicBezTo>
                      <a:pt x="259292" y="793750"/>
                      <a:pt x="257725" y="790701"/>
                      <a:pt x="257175" y="787400"/>
                    </a:cubicBezTo>
                    <a:cubicBezTo>
                      <a:pt x="256117" y="781050"/>
                      <a:pt x="254910" y="774723"/>
                      <a:pt x="254000" y="768350"/>
                    </a:cubicBezTo>
                    <a:cubicBezTo>
                      <a:pt x="251135" y="748293"/>
                      <a:pt x="252459" y="746281"/>
                      <a:pt x="247650" y="730250"/>
                    </a:cubicBezTo>
                    <a:cubicBezTo>
                      <a:pt x="245727" y="723839"/>
                      <a:pt x="243417" y="717550"/>
                      <a:pt x="241300" y="711200"/>
                    </a:cubicBezTo>
                    <a:lnTo>
                      <a:pt x="234950" y="692150"/>
                    </a:lnTo>
                    <a:cubicBezTo>
                      <a:pt x="233892" y="688975"/>
                      <a:pt x="232587" y="685872"/>
                      <a:pt x="231775" y="682625"/>
                    </a:cubicBezTo>
                    <a:cubicBezTo>
                      <a:pt x="230126" y="676030"/>
                      <a:pt x="225149" y="654740"/>
                      <a:pt x="222250" y="650875"/>
                    </a:cubicBezTo>
                    <a:cubicBezTo>
                      <a:pt x="219075" y="646642"/>
                      <a:pt x="216169" y="642193"/>
                      <a:pt x="212725" y="638175"/>
                    </a:cubicBezTo>
                    <a:cubicBezTo>
                      <a:pt x="209803" y="634766"/>
                      <a:pt x="205957" y="632194"/>
                      <a:pt x="203200" y="628650"/>
                    </a:cubicBezTo>
                    <a:cubicBezTo>
                      <a:pt x="198515" y="622626"/>
                      <a:pt x="194733" y="615950"/>
                      <a:pt x="190500" y="609600"/>
                    </a:cubicBezTo>
                    <a:cubicBezTo>
                      <a:pt x="188383" y="606425"/>
                      <a:pt x="185357" y="603695"/>
                      <a:pt x="184150" y="600075"/>
                    </a:cubicBezTo>
                    <a:cubicBezTo>
                      <a:pt x="183092" y="596900"/>
                      <a:pt x="183066" y="593163"/>
                      <a:pt x="180975" y="590550"/>
                    </a:cubicBezTo>
                    <a:cubicBezTo>
                      <a:pt x="178591" y="587570"/>
                      <a:pt x="174625" y="586317"/>
                      <a:pt x="171450" y="584200"/>
                    </a:cubicBezTo>
                    <a:lnTo>
                      <a:pt x="146050" y="546100"/>
                    </a:lnTo>
                    <a:lnTo>
                      <a:pt x="139700" y="536575"/>
                    </a:lnTo>
                    <a:cubicBezTo>
                      <a:pt x="132292" y="525463"/>
                      <a:pt x="130175" y="519642"/>
                      <a:pt x="114300" y="514350"/>
                    </a:cubicBezTo>
                    <a:cubicBezTo>
                      <a:pt x="107950" y="512233"/>
                      <a:pt x="101943" y="508000"/>
                      <a:pt x="95250" y="508000"/>
                    </a:cubicBezTo>
                    <a:lnTo>
                      <a:pt x="44450" y="51435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76" name="Freeform 175"/>
              <p:cNvSpPr/>
              <p:nvPr/>
            </p:nvSpPr>
            <p:spPr>
              <a:xfrm>
                <a:off x="1310255" y="2936761"/>
                <a:ext cx="676387" cy="810273"/>
              </a:xfrm>
              <a:custGeom>
                <a:avLst/>
                <a:gdLst>
                  <a:gd name="connsiteX0" fmla="*/ 112 w 676387"/>
                  <a:gd name="connsiteY0" fmla="*/ 114300 h 810273"/>
                  <a:gd name="connsiteX1" fmla="*/ 12018 w 676387"/>
                  <a:gd name="connsiteY1" fmla="*/ 121444 h 810273"/>
                  <a:gd name="connsiteX2" fmla="*/ 33450 w 676387"/>
                  <a:gd name="connsiteY2" fmla="*/ 116681 h 810273"/>
                  <a:gd name="connsiteX3" fmla="*/ 54881 w 676387"/>
                  <a:gd name="connsiteY3" fmla="*/ 111919 h 810273"/>
                  <a:gd name="connsiteX4" fmla="*/ 66787 w 676387"/>
                  <a:gd name="connsiteY4" fmla="*/ 100012 h 810273"/>
                  <a:gd name="connsiteX5" fmla="*/ 73931 w 676387"/>
                  <a:gd name="connsiteY5" fmla="*/ 85725 h 810273"/>
                  <a:gd name="connsiteX6" fmla="*/ 97743 w 676387"/>
                  <a:gd name="connsiteY6" fmla="*/ 73819 h 810273"/>
                  <a:gd name="connsiteX7" fmla="*/ 116793 w 676387"/>
                  <a:gd name="connsiteY7" fmla="*/ 76200 h 810273"/>
                  <a:gd name="connsiteX8" fmla="*/ 131081 w 676387"/>
                  <a:gd name="connsiteY8" fmla="*/ 80962 h 810273"/>
                  <a:gd name="connsiteX9" fmla="*/ 202518 w 676387"/>
                  <a:gd name="connsiteY9" fmla="*/ 78581 h 810273"/>
                  <a:gd name="connsiteX10" fmla="*/ 204900 w 676387"/>
                  <a:gd name="connsiteY10" fmla="*/ 64294 h 810273"/>
                  <a:gd name="connsiteX11" fmla="*/ 195375 w 676387"/>
                  <a:gd name="connsiteY11" fmla="*/ 50006 h 810273"/>
                  <a:gd name="connsiteX12" fmla="*/ 178706 w 676387"/>
                  <a:gd name="connsiteY12" fmla="*/ 40481 h 810273"/>
                  <a:gd name="connsiteX13" fmla="*/ 159656 w 676387"/>
                  <a:gd name="connsiteY13" fmla="*/ 23812 h 810273"/>
                  <a:gd name="connsiteX14" fmla="*/ 157275 w 676387"/>
                  <a:gd name="connsiteY14" fmla="*/ 16669 h 810273"/>
                  <a:gd name="connsiteX15" fmla="*/ 159656 w 676387"/>
                  <a:gd name="connsiteY15" fmla="*/ 4762 h 810273"/>
                  <a:gd name="connsiteX16" fmla="*/ 166800 w 676387"/>
                  <a:gd name="connsiteY16" fmla="*/ 0 h 810273"/>
                  <a:gd name="connsiteX17" fmla="*/ 214425 w 676387"/>
                  <a:gd name="connsiteY17" fmla="*/ 2381 h 810273"/>
                  <a:gd name="connsiteX18" fmla="*/ 228712 w 676387"/>
                  <a:gd name="connsiteY18" fmla="*/ 9525 h 810273"/>
                  <a:gd name="connsiteX19" fmla="*/ 252525 w 676387"/>
                  <a:gd name="connsiteY19" fmla="*/ 16669 h 810273"/>
                  <a:gd name="connsiteX20" fmla="*/ 266812 w 676387"/>
                  <a:gd name="connsiteY20" fmla="*/ 21431 h 810273"/>
                  <a:gd name="connsiteX21" fmla="*/ 271575 w 676387"/>
                  <a:gd name="connsiteY21" fmla="*/ 28575 h 810273"/>
                  <a:gd name="connsiteX22" fmla="*/ 266812 w 676387"/>
                  <a:gd name="connsiteY22" fmla="*/ 47625 h 810273"/>
                  <a:gd name="connsiteX23" fmla="*/ 269193 w 676387"/>
                  <a:gd name="connsiteY23" fmla="*/ 78581 h 810273"/>
                  <a:gd name="connsiteX24" fmla="*/ 276337 w 676387"/>
                  <a:gd name="connsiteY24" fmla="*/ 83344 h 810273"/>
                  <a:gd name="connsiteX25" fmla="*/ 335868 w 676387"/>
                  <a:gd name="connsiteY25" fmla="*/ 85725 h 810273"/>
                  <a:gd name="connsiteX26" fmla="*/ 350156 w 676387"/>
                  <a:gd name="connsiteY26" fmla="*/ 95250 h 810273"/>
                  <a:gd name="connsiteX27" fmla="*/ 364443 w 676387"/>
                  <a:gd name="connsiteY27" fmla="*/ 107156 h 810273"/>
                  <a:gd name="connsiteX28" fmla="*/ 383493 w 676387"/>
                  <a:gd name="connsiteY28" fmla="*/ 128587 h 810273"/>
                  <a:gd name="connsiteX29" fmla="*/ 397781 w 676387"/>
                  <a:gd name="connsiteY29" fmla="*/ 138112 h 810273"/>
                  <a:gd name="connsiteX30" fmla="*/ 412068 w 676387"/>
                  <a:gd name="connsiteY30" fmla="*/ 147637 h 810273"/>
                  <a:gd name="connsiteX31" fmla="*/ 414450 w 676387"/>
                  <a:gd name="connsiteY31" fmla="*/ 185737 h 810273"/>
                  <a:gd name="connsiteX32" fmla="*/ 409687 w 676387"/>
                  <a:gd name="connsiteY32" fmla="*/ 200025 h 810273"/>
                  <a:gd name="connsiteX33" fmla="*/ 407306 w 676387"/>
                  <a:gd name="connsiteY33" fmla="*/ 207169 h 810273"/>
                  <a:gd name="connsiteX34" fmla="*/ 409687 w 676387"/>
                  <a:gd name="connsiteY34" fmla="*/ 240506 h 810273"/>
                  <a:gd name="connsiteX35" fmla="*/ 416831 w 676387"/>
                  <a:gd name="connsiteY35" fmla="*/ 254794 h 810273"/>
                  <a:gd name="connsiteX36" fmla="*/ 421593 w 676387"/>
                  <a:gd name="connsiteY36" fmla="*/ 264319 h 810273"/>
                  <a:gd name="connsiteX37" fmla="*/ 428737 w 676387"/>
                  <a:gd name="connsiteY37" fmla="*/ 269081 h 810273"/>
                  <a:gd name="connsiteX38" fmla="*/ 435881 w 676387"/>
                  <a:gd name="connsiteY38" fmla="*/ 276225 h 810273"/>
                  <a:gd name="connsiteX39" fmla="*/ 440643 w 676387"/>
                  <a:gd name="connsiteY39" fmla="*/ 283369 h 810273"/>
                  <a:gd name="connsiteX40" fmla="*/ 454931 w 676387"/>
                  <a:gd name="connsiteY40" fmla="*/ 295275 h 810273"/>
                  <a:gd name="connsiteX41" fmla="*/ 459693 w 676387"/>
                  <a:gd name="connsiteY41" fmla="*/ 302419 h 810273"/>
                  <a:gd name="connsiteX42" fmla="*/ 466837 w 676387"/>
                  <a:gd name="connsiteY42" fmla="*/ 304800 h 810273"/>
                  <a:gd name="connsiteX43" fmla="*/ 481125 w 676387"/>
                  <a:gd name="connsiteY43" fmla="*/ 314325 h 810273"/>
                  <a:gd name="connsiteX44" fmla="*/ 488268 w 676387"/>
                  <a:gd name="connsiteY44" fmla="*/ 319087 h 810273"/>
                  <a:gd name="connsiteX45" fmla="*/ 495412 w 676387"/>
                  <a:gd name="connsiteY45" fmla="*/ 323850 h 810273"/>
                  <a:gd name="connsiteX46" fmla="*/ 500175 w 676387"/>
                  <a:gd name="connsiteY46" fmla="*/ 330994 h 810273"/>
                  <a:gd name="connsiteX47" fmla="*/ 509700 w 676387"/>
                  <a:gd name="connsiteY47" fmla="*/ 352425 h 810273"/>
                  <a:gd name="connsiteX48" fmla="*/ 512081 w 676387"/>
                  <a:gd name="connsiteY48" fmla="*/ 359569 h 810273"/>
                  <a:gd name="connsiteX49" fmla="*/ 523987 w 676387"/>
                  <a:gd name="connsiteY49" fmla="*/ 373856 h 810273"/>
                  <a:gd name="connsiteX50" fmla="*/ 531131 w 676387"/>
                  <a:gd name="connsiteY50" fmla="*/ 378619 h 810273"/>
                  <a:gd name="connsiteX51" fmla="*/ 554943 w 676387"/>
                  <a:gd name="connsiteY51" fmla="*/ 383381 h 810273"/>
                  <a:gd name="connsiteX52" fmla="*/ 562087 w 676387"/>
                  <a:gd name="connsiteY52" fmla="*/ 385762 h 810273"/>
                  <a:gd name="connsiteX53" fmla="*/ 564468 w 676387"/>
                  <a:gd name="connsiteY53" fmla="*/ 392906 h 810273"/>
                  <a:gd name="connsiteX54" fmla="*/ 573993 w 676387"/>
                  <a:gd name="connsiteY54" fmla="*/ 407194 h 810273"/>
                  <a:gd name="connsiteX55" fmla="*/ 576375 w 676387"/>
                  <a:gd name="connsiteY55" fmla="*/ 414337 h 810273"/>
                  <a:gd name="connsiteX56" fmla="*/ 583518 w 676387"/>
                  <a:gd name="connsiteY56" fmla="*/ 416719 h 810273"/>
                  <a:gd name="connsiteX57" fmla="*/ 588281 w 676387"/>
                  <a:gd name="connsiteY57" fmla="*/ 423862 h 810273"/>
                  <a:gd name="connsiteX58" fmla="*/ 595425 w 676387"/>
                  <a:gd name="connsiteY58" fmla="*/ 426244 h 810273"/>
                  <a:gd name="connsiteX59" fmla="*/ 609712 w 676387"/>
                  <a:gd name="connsiteY59" fmla="*/ 433387 h 810273"/>
                  <a:gd name="connsiteX60" fmla="*/ 616856 w 676387"/>
                  <a:gd name="connsiteY60" fmla="*/ 438150 h 810273"/>
                  <a:gd name="connsiteX61" fmla="*/ 635906 w 676387"/>
                  <a:gd name="connsiteY61" fmla="*/ 442912 h 810273"/>
                  <a:gd name="connsiteX62" fmla="*/ 643050 w 676387"/>
                  <a:gd name="connsiteY62" fmla="*/ 445294 h 810273"/>
                  <a:gd name="connsiteX63" fmla="*/ 669243 w 676387"/>
                  <a:gd name="connsiteY63" fmla="*/ 450056 h 810273"/>
                  <a:gd name="connsiteX64" fmla="*/ 676387 w 676387"/>
                  <a:gd name="connsiteY64" fmla="*/ 452437 h 810273"/>
                  <a:gd name="connsiteX65" fmla="*/ 674006 w 676387"/>
                  <a:gd name="connsiteY65" fmla="*/ 481012 h 810273"/>
                  <a:gd name="connsiteX66" fmla="*/ 659718 w 676387"/>
                  <a:gd name="connsiteY66" fmla="*/ 490537 h 810273"/>
                  <a:gd name="connsiteX67" fmla="*/ 650193 w 676387"/>
                  <a:gd name="connsiteY67" fmla="*/ 511969 h 810273"/>
                  <a:gd name="connsiteX68" fmla="*/ 640668 w 676387"/>
                  <a:gd name="connsiteY68" fmla="*/ 533400 h 810273"/>
                  <a:gd name="connsiteX69" fmla="*/ 628762 w 676387"/>
                  <a:gd name="connsiteY69" fmla="*/ 554831 h 810273"/>
                  <a:gd name="connsiteX70" fmla="*/ 621618 w 676387"/>
                  <a:gd name="connsiteY70" fmla="*/ 559594 h 810273"/>
                  <a:gd name="connsiteX71" fmla="*/ 602568 w 676387"/>
                  <a:gd name="connsiteY71" fmla="*/ 571500 h 810273"/>
                  <a:gd name="connsiteX72" fmla="*/ 595425 w 676387"/>
                  <a:gd name="connsiteY72" fmla="*/ 573881 h 810273"/>
                  <a:gd name="connsiteX73" fmla="*/ 590662 w 676387"/>
                  <a:gd name="connsiteY73" fmla="*/ 588169 h 810273"/>
                  <a:gd name="connsiteX74" fmla="*/ 588281 w 676387"/>
                  <a:gd name="connsiteY74" fmla="*/ 595312 h 810273"/>
                  <a:gd name="connsiteX75" fmla="*/ 583518 w 676387"/>
                  <a:gd name="connsiteY75" fmla="*/ 614362 h 810273"/>
                  <a:gd name="connsiteX76" fmla="*/ 581137 w 676387"/>
                  <a:gd name="connsiteY76" fmla="*/ 638175 h 810273"/>
                  <a:gd name="connsiteX77" fmla="*/ 578756 w 676387"/>
                  <a:gd name="connsiteY77" fmla="*/ 678656 h 810273"/>
                  <a:gd name="connsiteX78" fmla="*/ 573993 w 676387"/>
                  <a:gd name="connsiteY78" fmla="*/ 692944 h 810273"/>
                  <a:gd name="connsiteX79" fmla="*/ 571612 w 676387"/>
                  <a:gd name="connsiteY79" fmla="*/ 700087 h 810273"/>
                  <a:gd name="connsiteX80" fmla="*/ 559706 w 676387"/>
                  <a:gd name="connsiteY80" fmla="*/ 735806 h 810273"/>
                  <a:gd name="connsiteX81" fmla="*/ 557325 w 676387"/>
                  <a:gd name="connsiteY81" fmla="*/ 742950 h 810273"/>
                  <a:gd name="connsiteX82" fmla="*/ 554943 w 676387"/>
                  <a:gd name="connsiteY82" fmla="*/ 750094 h 810273"/>
                  <a:gd name="connsiteX83" fmla="*/ 547800 w 676387"/>
                  <a:gd name="connsiteY83" fmla="*/ 769144 h 810273"/>
                  <a:gd name="connsiteX84" fmla="*/ 540656 w 676387"/>
                  <a:gd name="connsiteY84" fmla="*/ 771525 h 810273"/>
                  <a:gd name="connsiteX85" fmla="*/ 514462 w 676387"/>
                  <a:gd name="connsiteY85" fmla="*/ 773906 h 810273"/>
                  <a:gd name="connsiteX86" fmla="*/ 502556 w 676387"/>
                  <a:gd name="connsiteY86" fmla="*/ 790575 h 810273"/>
                  <a:gd name="connsiteX87" fmla="*/ 502556 w 676387"/>
                  <a:gd name="connsiteY87" fmla="*/ 790575 h 810273"/>
                  <a:gd name="connsiteX88" fmla="*/ 495412 w 676387"/>
                  <a:gd name="connsiteY88" fmla="*/ 795337 h 810273"/>
                  <a:gd name="connsiteX89" fmla="*/ 483506 w 676387"/>
                  <a:gd name="connsiteY89" fmla="*/ 797719 h 810273"/>
                  <a:gd name="connsiteX90" fmla="*/ 466837 w 676387"/>
                  <a:gd name="connsiteY90" fmla="*/ 802481 h 810273"/>
                  <a:gd name="connsiteX91" fmla="*/ 462075 w 676387"/>
                  <a:gd name="connsiteY91" fmla="*/ 809625 h 810273"/>
                  <a:gd name="connsiteX92" fmla="*/ 443025 w 676387"/>
                  <a:gd name="connsiteY92" fmla="*/ 792956 h 810273"/>
                  <a:gd name="connsiteX93" fmla="*/ 440643 w 676387"/>
                  <a:gd name="connsiteY93" fmla="*/ 783431 h 810273"/>
                  <a:gd name="connsiteX94" fmla="*/ 438262 w 676387"/>
                  <a:gd name="connsiteY94" fmla="*/ 776287 h 810273"/>
                  <a:gd name="connsiteX95" fmla="*/ 431118 w 676387"/>
                  <a:gd name="connsiteY95" fmla="*/ 769144 h 810273"/>
                  <a:gd name="connsiteX96" fmla="*/ 423975 w 676387"/>
                  <a:gd name="connsiteY96" fmla="*/ 714375 h 810273"/>
                  <a:gd name="connsiteX97" fmla="*/ 419212 w 676387"/>
                  <a:gd name="connsiteY97" fmla="*/ 700087 h 810273"/>
                  <a:gd name="connsiteX98" fmla="*/ 416831 w 676387"/>
                  <a:gd name="connsiteY98" fmla="*/ 692944 h 810273"/>
                  <a:gd name="connsiteX99" fmla="*/ 414450 w 676387"/>
                  <a:gd name="connsiteY99" fmla="*/ 673894 h 810273"/>
                  <a:gd name="connsiteX100" fmla="*/ 409687 w 676387"/>
                  <a:gd name="connsiteY100" fmla="*/ 654844 h 810273"/>
                  <a:gd name="connsiteX101" fmla="*/ 407306 w 676387"/>
                  <a:gd name="connsiteY101" fmla="*/ 645319 h 810273"/>
                  <a:gd name="connsiteX102" fmla="*/ 402543 w 676387"/>
                  <a:gd name="connsiteY102" fmla="*/ 631031 h 810273"/>
                  <a:gd name="connsiteX103" fmla="*/ 395400 w 676387"/>
                  <a:gd name="connsiteY103" fmla="*/ 616744 h 810273"/>
                  <a:gd name="connsiteX104" fmla="*/ 388256 w 676387"/>
                  <a:gd name="connsiteY104" fmla="*/ 611981 h 810273"/>
                  <a:gd name="connsiteX105" fmla="*/ 378731 w 676387"/>
                  <a:gd name="connsiteY105" fmla="*/ 597694 h 810273"/>
                  <a:gd name="connsiteX106" fmla="*/ 373968 w 676387"/>
                  <a:gd name="connsiteY106" fmla="*/ 590550 h 810273"/>
                  <a:gd name="connsiteX107" fmla="*/ 366825 w 676387"/>
                  <a:gd name="connsiteY107" fmla="*/ 576262 h 810273"/>
                  <a:gd name="connsiteX108" fmla="*/ 364443 w 676387"/>
                  <a:gd name="connsiteY108" fmla="*/ 569119 h 810273"/>
                  <a:gd name="connsiteX109" fmla="*/ 347775 w 676387"/>
                  <a:gd name="connsiteY109" fmla="*/ 547687 h 810273"/>
                  <a:gd name="connsiteX110" fmla="*/ 340631 w 676387"/>
                  <a:gd name="connsiteY110" fmla="*/ 542925 h 810273"/>
                  <a:gd name="connsiteX111" fmla="*/ 335868 w 676387"/>
                  <a:gd name="connsiteY111" fmla="*/ 535781 h 810273"/>
                  <a:gd name="connsiteX112" fmla="*/ 323962 w 676387"/>
                  <a:gd name="connsiteY112" fmla="*/ 521494 h 810273"/>
                  <a:gd name="connsiteX113" fmla="*/ 316818 w 676387"/>
                  <a:gd name="connsiteY113" fmla="*/ 504825 h 810273"/>
                  <a:gd name="connsiteX114" fmla="*/ 312056 w 676387"/>
                  <a:gd name="connsiteY114" fmla="*/ 490537 h 810273"/>
                  <a:gd name="connsiteX115" fmla="*/ 307293 w 676387"/>
                  <a:gd name="connsiteY115" fmla="*/ 476250 h 810273"/>
                  <a:gd name="connsiteX116" fmla="*/ 304912 w 676387"/>
                  <a:gd name="connsiteY116" fmla="*/ 469106 h 810273"/>
                  <a:gd name="connsiteX117" fmla="*/ 300150 w 676387"/>
                  <a:gd name="connsiteY117" fmla="*/ 461962 h 810273"/>
                  <a:gd name="connsiteX118" fmla="*/ 295387 w 676387"/>
                  <a:gd name="connsiteY118" fmla="*/ 445294 h 810273"/>
                  <a:gd name="connsiteX119" fmla="*/ 288243 w 676387"/>
                  <a:gd name="connsiteY119" fmla="*/ 421481 h 810273"/>
                  <a:gd name="connsiteX120" fmla="*/ 285862 w 676387"/>
                  <a:gd name="connsiteY120" fmla="*/ 414337 h 810273"/>
                  <a:gd name="connsiteX121" fmla="*/ 271575 w 676387"/>
                  <a:gd name="connsiteY121" fmla="*/ 392906 h 810273"/>
                  <a:gd name="connsiteX122" fmla="*/ 266812 w 676387"/>
                  <a:gd name="connsiteY122" fmla="*/ 385762 h 810273"/>
                  <a:gd name="connsiteX123" fmla="*/ 257287 w 676387"/>
                  <a:gd name="connsiteY123" fmla="*/ 371475 h 810273"/>
                  <a:gd name="connsiteX124" fmla="*/ 245381 w 676387"/>
                  <a:gd name="connsiteY124" fmla="*/ 359569 h 810273"/>
                  <a:gd name="connsiteX125" fmla="*/ 233475 w 676387"/>
                  <a:gd name="connsiteY125" fmla="*/ 345281 h 810273"/>
                  <a:gd name="connsiteX126" fmla="*/ 219187 w 676387"/>
                  <a:gd name="connsiteY126" fmla="*/ 321469 h 810273"/>
                  <a:gd name="connsiteX127" fmla="*/ 207281 w 676387"/>
                  <a:gd name="connsiteY127" fmla="*/ 307181 h 810273"/>
                  <a:gd name="connsiteX128" fmla="*/ 197756 w 676387"/>
                  <a:gd name="connsiteY128" fmla="*/ 292894 h 810273"/>
                  <a:gd name="connsiteX129" fmla="*/ 192993 w 676387"/>
                  <a:gd name="connsiteY129" fmla="*/ 285750 h 810273"/>
                  <a:gd name="connsiteX130" fmla="*/ 183468 w 676387"/>
                  <a:gd name="connsiteY130" fmla="*/ 264319 h 810273"/>
                  <a:gd name="connsiteX131" fmla="*/ 176325 w 676387"/>
                  <a:gd name="connsiteY131" fmla="*/ 250031 h 810273"/>
                  <a:gd name="connsiteX132" fmla="*/ 169181 w 676387"/>
                  <a:gd name="connsiteY132" fmla="*/ 245269 h 810273"/>
                  <a:gd name="connsiteX133" fmla="*/ 162037 w 676387"/>
                  <a:gd name="connsiteY133" fmla="*/ 223837 h 810273"/>
                  <a:gd name="connsiteX134" fmla="*/ 159656 w 676387"/>
                  <a:gd name="connsiteY134" fmla="*/ 216694 h 810273"/>
                  <a:gd name="connsiteX135" fmla="*/ 154893 w 676387"/>
                  <a:gd name="connsiteY135" fmla="*/ 200025 h 810273"/>
                  <a:gd name="connsiteX136" fmla="*/ 140606 w 676387"/>
                  <a:gd name="connsiteY136" fmla="*/ 190500 h 810273"/>
                  <a:gd name="connsiteX137" fmla="*/ 112031 w 676387"/>
                  <a:gd name="connsiteY137" fmla="*/ 171450 h 810273"/>
                  <a:gd name="connsiteX138" fmla="*/ 97743 w 676387"/>
                  <a:gd name="connsiteY138" fmla="*/ 161925 h 810273"/>
                  <a:gd name="connsiteX139" fmla="*/ 83456 w 676387"/>
                  <a:gd name="connsiteY139" fmla="*/ 157162 h 810273"/>
                  <a:gd name="connsiteX140" fmla="*/ 76312 w 676387"/>
                  <a:gd name="connsiteY140" fmla="*/ 154781 h 810273"/>
                  <a:gd name="connsiteX141" fmla="*/ 54881 w 676387"/>
                  <a:gd name="connsiteY141" fmla="*/ 150019 h 810273"/>
                  <a:gd name="connsiteX142" fmla="*/ 26306 w 676387"/>
                  <a:gd name="connsiteY142" fmla="*/ 135731 h 810273"/>
                  <a:gd name="connsiteX143" fmla="*/ 19162 w 676387"/>
                  <a:gd name="connsiteY143" fmla="*/ 133350 h 810273"/>
                  <a:gd name="connsiteX144" fmla="*/ 112 w 676387"/>
                  <a:gd name="connsiteY144" fmla="*/ 114300 h 81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676387" h="810273">
                    <a:moveTo>
                      <a:pt x="112" y="114300"/>
                    </a:moveTo>
                    <a:cubicBezTo>
                      <a:pt x="-1079" y="112316"/>
                      <a:pt x="7464" y="120616"/>
                      <a:pt x="12018" y="121444"/>
                    </a:cubicBezTo>
                    <a:cubicBezTo>
                      <a:pt x="20522" y="122990"/>
                      <a:pt x="26019" y="118332"/>
                      <a:pt x="33450" y="116681"/>
                    </a:cubicBezTo>
                    <a:cubicBezTo>
                      <a:pt x="58595" y="111094"/>
                      <a:pt x="38799" y="117279"/>
                      <a:pt x="54881" y="111919"/>
                    </a:cubicBezTo>
                    <a:cubicBezTo>
                      <a:pt x="62025" y="107156"/>
                      <a:pt x="62818" y="107950"/>
                      <a:pt x="66787" y="100012"/>
                    </a:cubicBezTo>
                    <a:cubicBezTo>
                      <a:pt x="69995" y="93595"/>
                      <a:pt x="67864" y="91034"/>
                      <a:pt x="73931" y="85725"/>
                    </a:cubicBezTo>
                    <a:cubicBezTo>
                      <a:pt x="85272" y="75802"/>
                      <a:pt x="85907" y="76778"/>
                      <a:pt x="97743" y="73819"/>
                    </a:cubicBezTo>
                    <a:cubicBezTo>
                      <a:pt x="104093" y="74613"/>
                      <a:pt x="110536" y="74859"/>
                      <a:pt x="116793" y="76200"/>
                    </a:cubicBezTo>
                    <a:cubicBezTo>
                      <a:pt x="121702" y="77252"/>
                      <a:pt x="131081" y="80962"/>
                      <a:pt x="131081" y="80962"/>
                    </a:cubicBezTo>
                    <a:cubicBezTo>
                      <a:pt x="154893" y="80168"/>
                      <a:pt x="179278" y="83829"/>
                      <a:pt x="202518" y="78581"/>
                    </a:cubicBezTo>
                    <a:cubicBezTo>
                      <a:pt x="207228" y="77518"/>
                      <a:pt x="204900" y="69122"/>
                      <a:pt x="204900" y="64294"/>
                    </a:cubicBezTo>
                    <a:cubicBezTo>
                      <a:pt x="204900" y="52677"/>
                      <a:pt x="202551" y="55987"/>
                      <a:pt x="195375" y="50006"/>
                    </a:cubicBezTo>
                    <a:cubicBezTo>
                      <a:pt x="183216" y="39873"/>
                      <a:pt x="194122" y="44335"/>
                      <a:pt x="178706" y="40481"/>
                    </a:cubicBezTo>
                    <a:cubicBezTo>
                      <a:pt x="167988" y="33336"/>
                      <a:pt x="164617" y="33735"/>
                      <a:pt x="159656" y="23812"/>
                    </a:cubicBezTo>
                    <a:cubicBezTo>
                      <a:pt x="158534" y="21567"/>
                      <a:pt x="158069" y="19050"/>
                      <a:pt x="157275" y="16669"/>
                    </a:cubicBezTo>
                    <a:cubicBezTo>
                      <a:pt x="158069" y="12700"/>
                      <a:pt x="157648" y="8276"/>
                      <a:pt x="159656" y="4762"/>
                    </a:cubicBezTo>
                    <a:cubicBezTo>
                      <a:pt x="161076" y="2277"/>
                      <a:pt x="163941" y="124"/>
                      <a:pt x="166800" y="0"/>
                    </a:cubicBezTo>
                    <a:lnTo>
                      <a:pt x="214425" y="2381"/>
                    </a:lnTo>
                    <a:cubicBezTo>
                      <a:pt x="240482" y="11067"/>
                      <a:pt x="201008" y="-2788"/>
                      <a:pt x="228712" y="9525"/>
                    </a:cubicBezTo>
                    <a:cubicBezTo>
                      <a:pt x="240355" y="14699"/>
                      <a:pt x="241878" y="13475"/>
                      <a:pt x="252525" y="16669"/>
                    </a:cubicBezTo>
                    <a:cubicBezTo>
                      <a:pt x="257333" y="18112"/>
                      <a:pt x="266812" y="21431"/>
                      <a:pt x="266812" y="21431"/>
                    </a:cubicBezTo>
                    <a:cubicBezTo>
                      <a:pt x="268400" y="23812"/>
                      <a:pt x="271220" y="25735"/>
                      <a:pt x="271575" y="28575"/>
                    </a:cubicBezTo>
                    <a:cubicBezTo>
                      <a:pt x="272097" y="32752"/>
                      <a:pt x="268366" y="42962"/>
                      <a:pt x="266812" y="47625"/>
                    </a:cubicBezTo>
                    <a:cubicBezTo>
                      <a:pt x="267606" y="57944"/>
                      <a:pt x="266526" y="68581"/>
                      <a:pt x="269193" y="78581"/>
                    </a:cubicBezTo>
                    <a:cubicBezTo>
                      <a:pt x="269930" y="81346"/>
                      <a:pt x="273491" y="83039"/>
                      <a:pt x="276337" y="83344"/>
                    </a:cubicBezTo>
                    <a:cubicBezTo>
                      <a:pt x="296084" y="85460"/>
                      <a:pt x="316024" y="84931"/>
                      <a:pt x="335868" y="85725"/>
                    </a:cubicBezTo>
                    <a:cubicBezTo>
                      <a:pt x="340631" y="88900"/>
                      <a:pt x="346109" y="91203"/>
                      <a:pt x="350156" y="95250"/>
                    </a:cubicBezTo>
                    <a:cubicBezTo>
                      <a:pt x="359323" y="104417"/>
                      <a:pt x="354498" y="100526"/>
                      <a:pt x="364443" y="107156"/>
                    </a:cubicBezTo>
                    <a:cubicBezTo>
                      <a:pt x="370169" y="115744"/>
                      <a:pt x="373708" y="122064"/>
                      <a:pt x="383493" y="128587"/>
                    </a:cubicBezTo>
                    <a:cubicBezTo>
                      <a:pt x="388256" y="131762"/>
                      <a:pt x="393734" y="134065"/>
                      <a:pt x="397781" y="138112"/>
                    </a:cubicBezTo>
                    <a:cubicBezTo>
                      <a:pt x="406700" y="147031"/>
                      <a:pt x="401730" y="144191"/>
                      <a:pt x="412068" y="147637"/>
                    </a:cubicBezTo>
                    <a:cubicBezTo>
                      <a:pt x="421960" y="162474"/>
                      <a:pt x="419264" y="155248"/>
                      <a:pt x="414450" y="185737"/>
                    </a:cubicBezTo>
                    <a:cubicBezTo>
                      <a:pt x="413667" y="190696"/>
                      <a:pt x="411275" y="195262"/>
                      <a:pt x="409687" y="200025"/>
                    </a:cubicBezTo>
                    <a:lnTo>
                      <a:pt x="407306" y="207169"/>
                    </a:lnTo>
                    <a:cubicBezTo>
                      <a:pt x="408100" y="218281"/>
                      <a:pt x="408385" y="229442"/>
                      <a:pt x="409687" y="240506"/>
                    </a:cubicBezTo>
                    <a:cubicBezTo>
                      <a:pt x="410496" y="247380"/>
                      <a:pt x="413500" y="248965"/>
                      <a:pt x="416831" y="254794"/>
                    </a:cubicBezTo>
                    <a:cubicBezTo>
                      <a:pt x="418592" y="257876"/>
                      <a:pt x="419321" y="261592"/>
                      <a:pt x="421593" y="264319"/>
                    </a:cubicBezTo>
                    <a:cubicBezTo>
                      <a:pt x="423425" y="266518"/>
                      <a:pt x="426538" y="267249"/>
                      <a:pt x="428737" y="269081"/>
                    </a:cubicBezTo>
                    <a:cubicBezTo>
                      <a:pt x="431324" y="271237"/>
                      <a:pt x="433725" y="273638"/>
                      <a:pt x="435881" y="276225"/>
                    </a:cubicBezTo>
                    <a:cubicBezTo>
                      <a:pt x="437713" y="278424"/>
                      <a:pt x="438811" y="281170"/>
                      <a:pt x="440643" y="283369"/>
                    </a:cubicBezTo>
                    <a:cubicBezTo>
                      <a:pt x="446370" y="290242"/>
                      <a:pt x="447909" y="290594"/>
                      <a:pt x="454931" y="295275"/>
                    </a:cubicBezTo>
                    <a:cubicBezTo>
                      <a:pt x="456518" y="297656"/>
                      <a:pt x="457458" y="300631"/>
                      <a:pt x="459693" y="302419"/>
                    </a:cubicBezTo>
                    <a:cubicBezTo>
                      <a:pt x="461653" y="303987"/>
                      <a:pt x="464643" y="303581"/>
                      <a:pt x="466837" y="304800"/>
                    </a:cubicBezTo>
                    <a:cubicBezTo>
                      <a:pt x="471841" y="307580"/>
                      <a:pt x="476362" y="311150"/>
                      <a:pt x="481125" y="314325"/>
                    </a:cubicBezTo>
                    <a:lnTo>
                      <a:pt x="488268" y="319087"/>
                    </a:lnTo>
                    <a:lnTo>
                      <a:pt x="495412" y="323850"/>
                    </a:lnTo>
                    <a:cubicBezTo>
                      <a:pt x="497000" y="326231"/>
                      <a:pt x="499013" y="328379"/>
                      <a:pt x="500175" y="330994"/>
                    </a:cubicBezTo>
                    <a:cubicBezTo>
                      <a:pt x="511510" y="356498"/>
                      <a:pt x="498921" y="336257"/>
                      <a:pt x="509700" y="352425"/>
                    </a:cubicBezTo>
                    <a:cubicBezTo>
                      <a:pt x="510494" y="354806"/>
                      <a:pt x="510959" y="357324"/>
                      <a:pt x="512081" y="359569"/>
                    </a:cubicBezTo>
                    <a:cubicBezTo>
                      <a:pt x="514757" y="364920"/>
                      <a:pt x="519473" y="370095"/>
                      <a:pt x="523987" y="373856"/>
                    </a:cubicBezTo>
                    <a:cubicBezTo>
                      <a:pt x="526186" y="375688"/>
                      <a:pt x="528395" y="377777"/>
                      <a:pt x="531131" y="378619"/>
                    </a:cubicBezTo>
                    <a:cubicBezTo>
                      <a:pt x="538868" y="380999"/>
                      <a:pt x="547264" y="380822"/>
                      <a:pt x="554943" y="383381"/>
                    </a:cubicBezTo>
                    <a:lnTo>
                      <a:pt x="562087" y="385762"/>
                    </a:lnTo>
                    <a:cubicBezTo>
                      <a:pt x="562881" y="388143"/>
                      <a:pt x="563249" y="390712"/>
                      <a:pt x="564468" y="392906"/>
                    </a:cubicBezTo>
                    <a:cubicBezTo>
                      <a:pt x="567248" y="397910"/>
                      <a:pt x="572182" y="401764"/>
                      <a:pt x="573993" y="407194"/>
                    </a:cubicBezTo>
                    <a:cubicBezTo>
                      <a:pt x="574787" y="409575"/>
                      <a:pt x="574600" y="412562"/>
                      <a:pt x="576375" y="414337"/>
                    </a:cubicBezTo>
                    <a:cubicBezTo>
                      <a:pt x="578150" y="416112"/>
                      <a:pt x="581137" y="415925"/>
                      <a:pt x="583518" y="416719"/>
                    </a:cubicBezTo>
                    <a:cubicBezTo>
                      <a:pt x="585106" y="419100"/>
                      <a:pt x="586046" y="422074"/>
                      <a:pt x="588281" y="423862"/>
                    </a:cubicBezTo>
                    <a:cubicBezTo>
                      <a:pt x="590241" y="425430"/>
                      <a:pt x="593180" y="425121"/>
                      <a:pt x="595425" y="426244"/>
                    </a:cubicBezTo>
                    <a:cubicBezTo>
                      <a:pt x="613882" y="435473"/>
                      <a:pt x="591761" y="427404"/>
                      <a:pt x="609712" y="433387"/>
                    </a:cubicBezTo>
                    <a:cubicBezTo>
                      <a:pt x="612093" y="434975"/>
                      <a:pt x="614296" y="436870"/>
                      <a:pt x="616856" y="438150"/>
                    </a:cubicBezTo>
                    <a:cubicBezTo>
                      <a:pt x="622298" y="440871"/>
                      <a:pt x="630473" y="441554"/>
                      <a:pt x="635906" y="442912"/>
                    </a:cubicBezTo>
                    <a:cubicBezTo>
                      <a:pt x="638341" y="443521"/>
                      <a:pt x="640615" y="444685"/>
                      <a:pt x="643050" y="445294"/>
                    </a:cubicBezTo>
                    <a:cubicBezTo>
                      <a:pt x="660352" y="449620"/>
                      <a:pt x="650174" y="445819"/>
                      <a:pt x="669243" y="450056"/>
                    </a:cubicBezTo>
                    <a:cubicBezTo>
                      <a:pt x="671693" y="450600"/>
                      <a:pt x="674006" y="451643"/>
                      <a:pt x="676387" y="452437"/>
                    </a:cubicBezTo>
                    <a:cubicBezTo>
                      <a:pt x="675593" y="461962"/>
                      <a:pt x="677837" y="472255"/>
                      <a:pt x="674006" y="481012"/>
                    </a:cubicBezTo>
                    <a:cubicBezTo>
                      <a:pt x="671712" y="486256"/>
                      <a:pt x="659718" y="490537"/>
                      <a:pt x="659718" y="490537"/>
                    </a:cubicBezTo>
                    <a:cubicBezTo>
                      <a:pt x="654051" y="507540"/>
                      <a:pt x="657741" y="500648"/>
                      <a:pt x="650193" y="511969"/>
                    </a:cubicBezTo>
                    <a:cubicBezTo>
                      <a:pt x="644526" y="528971"/>
                      <a:pt x="648216" y="522079"/>
                      <a:pt x="640668" y="533400"/>
                    </a:cubicBezTo>
                    <a:cubicBezTo>
                      <a:pt x="638187" y="540845"/>
                      <a:pt x="635781" y="550151"/>
                      <a:pt x="628762" y="554831"/>
                    </a:cubicBezTo>
                    <a:lnTo>
                      <a:pt x="621618" y="559594"/>
                    </a:lnTo>
                    <a:cubicBezTo>
                      <a:pt x="614071" y="570914"/>
                      <a:pt x="619571" y="565832"/>
                      <a:pt x="602568" y="571500"/>
                    </a:cubicBezTo>
                    <a:lnTo>
                      <a:pt x="595425" y="573881"/>
                    </a:lnTo>
                    <a:lnTo>
                      <a:pt x="590662" y="588169"/>
                    </a:lnTo>
                    <a:cubicBezTo>
                      <a:pt x="589868" y="590550"/>
                      <a:pt x="588773" y="592851"/>
                      <a:pt x="588281" y="595312"/>
                    </a:cubicBezTo>
                    <a:cubicBezTo>
                      <a:pt x="585408" y="609680"/>
                      <a:pt x="587180" y="603379"/>
                      <a:pt x="583518" y="614362"/>
                    </a:cubicBezTo>
                    <a:cubicBezTo>
                      <a:pt x="582724" y="622300"/>
                      <a:pt x="581726" y="630220"/>
                      <a:pt x="581137" y="638175"/>
                    </a:cubicBezTo>
                    <a:cubicBezTo>
                      <a:pt x="580139" y="651655"/>
                      <a:pt x="580504" y="665253"/>
                      <a:pt x="578756" y="678656"/>
                    </a:cubicBezTo>
                    <a:cubicBezTo>
                      <a:pt x="578107" y="683634"/>
                      <a:pt x="575581" y="688181"/>
                      <a:pt x="573993" y="692944"/>
                    </a:cubicBezTo>
                    <a:lnTo>
                      <a:pt x="571612" y="700087"/>
                    </a:lnTo>
                    <a:lnTo>
                      <a:pt x="559706" y="735806"/>
                    </a:lnTo>
                    <a:lnTo>
                      <a:pt x="557325" y="742950"/>
                    </a:lnTo>
                    <a:cubicBezTo>
                      <a:pt x="556531" y="745331"/>
                      <a:pt x="555435" y="747633"/>
                      <a:pt x="554943" y="750094"/>
                    </a:cubicBezTo>
                    <a:cubicBezTo>
                      <a:pt x="553653" y="756547"/>
                      <a:pt x="553639" y="764473"/>
                      <a:pt x="547800" y="769144"/>
                    </a:cubicBezTo>
                    <a:cubicBezTo>
                      <a:pt x="545840" y="770712"/>
                      <a:pt x="543141" y="771170"/>
                      <a:pt x="540656" y="771525"/>
                    </a:cubicBezTo>
                    <a:cubicBezTo>
                      <a:pt x="531977" y="772765"/>
                      <a:pt x="523193" y="773112"/>
                      <a:pt x="514462" y="773906"/>
                    </a:cubicBezTo>
                    <a:cubicBezTo>
                      <a:pt x="502555" y="777874"/>
                      <a:pt x="508112" y="773906"/>
                      <a:pt x="502556" y="790575"/>
                    </a:cubicBezTo>
                    <a:lnTo>
                      <a:pt x="502556" y="790575"/>
                    </a:lnTo>
                    <a:cubicBezTo>
                      <a:pt x="500175" y="792162"/>
                      <a:pt x="498092" y="794332"/>
                      <a:pt x="495412" y="795337"/>
                    </a:cubicBezTo>
                    <a:cubicBezTo>
                      <a:pt x="491622" y="796758"/>
                      <a:pt x="487457" y="796841"/>
                      <a:pt x="483506" y="797719"/>
                    </a:cubicBezTo>
                    <a:cubicBezTo>
                      <a:pt x="474532" y="799713"/>
                      <a:pt x="474795" y="799829"/>
                      <a:pt x="466837" y="802481"/>
                    </a:cubicBezTo>
                    <a:cubicBezTo>
                      <a:pt x="465250" y="804862"/>
                      <a:pt x="464827" y="808839"/>
                      <a:pt x="462075" y="809625"/>
                    </a:cubicBezTo>
                    <a:cubicBezTo>
                      <a:pt x="449711" y="813158"/>
                      <a:pt x="445467" y="801504"/>
                      <a:pt x="443025" y="792956"/>
                    </a:cubicBezTo>
                    <a:cubicBezTo>
                      <a:pt x="442126" y="789809"/>
                      <a:pt x="441542" y="786578"/>
                      <a:pt x="440643" y="783431"/>
                    </a:cubicBezTo>
                    <a:cubicBezTo>
                      <a:pt x="439953" y="781017"/>
                      <a:pt x="439654" y="778376"/>
                      <a:pt x="438262" y="776287"/>
                    </a:cubicBezTo>
                    <a:cubicBezTo>
                      <a:pt x="436394" y="773485"/>
                      <a:pt x="433499" y="771525"/>
                      <a:pt x="431118" y="769144"/>
                    </a:cubicBezTo>
                    <a:cubicBezTo>
                      <a:pt x="420094" y="736067"/>
                      <a:pt x="432004" y="775930"/>
                      <a:pt x="423975" y="714375"/>
                    </a:cubicBezTo>
                    <a:cubicBezTo>
                      <a:pt x="423326" y="709397"/>
                      <a:pt x="420800" y="704850"/>
                      <a:pt x="419212" y="700087"/>
                    </a:cubicBezTo>
                    <a:lnTo>
                      <a:pt x="416831" y="692944"/>
                    </a:lnTo>
                    <a:cubicBezTo>
                      <a:pt x="416037" y="686594"/>
                      <a:pt x="415423" y="680219"/>
                      <a:pt x="414450" y="673894"/>
                    </a:cubicBezTo>
                    <a:cubicBezTo>
                      <a:pt x="412029" y="658160"/>
                      <a:pt x="413067" y="666674"/>
                      <a:pt x="409687" y="654844"/>
                    </a:cubicBezTo>
                    <a:cubicBezTo>
                      <a:pt x="408788" y="651697"/>
                      <a:pt x="408246" y="648454"/>
                      <a:pt x="407306" y="645319"/>
                    </a:cubicBezTo>
                    <a:cubicBezTo>
                      <a:pt x="405863" y="640510"/>
                      <a:pt x="404131" y="635794"/>
                      <a:pt x="402543" y="631031"/>
                    </a:cubicBezTo>
                    <a:cubicBezTo>
                      <a:pt x="400606" y="625220"/>
                      <a:pt x="400017" y="621361"/>
                      <a:pt x="395400" y="616744"/>
                    </a:cubicBezTo>
                    <a:cubicBezTo>
                      <a:pt x="393376" y="614720"/>
                      <a:pt x="390637" y="613569"/>
                      <a:pt x="388256" y="611981"/>
                    </a:cubicBezTo>
                    <a:lnTo>
                      <a:pt x="378731" y="597694"/>
                    </a:lnTo>
                    <a:lnTo>
                      <a:pt x="373968" y="590550"/>
                    </a:lnTo>
                    <a:cubicBezTo>
                      <a:pt x="367987" y="572603"/>
                      <a:pt x="376052" y="594716"/>
                      <a:pt x="366825" y="576262"/>
                    </a:cubicBezTo>
                    <a:cubicBezTo>
                      <a:pt x="365702" y="574017"/>
                      <a:pt x="365662" y="571313"/>
                      <a:pt x="364443" y="569119"/>
                    </a:cubicBezTo>
                    <a:cubicBezTo>
                      <a:pt x="359867" y="560882"/>
                      <a:pt x="354955" y="553670"/>
                      <a:pt x="347775" y="547687"/>
                    </a:cubicBezTo>
                    <a:cubicBezTo>
                      <a:pt x="345576" y="545855"/>
                      <a:pt x="343012" y="544512"/>
                      <a:pt x="340631" y="542925"/>
                    </a:cubicBezTo>
                    <a:cubicBezTo>
                      <a:pt x="339043" y="540544"/>
                      <a:pt x="337700" y="537980"/>
                      <a:pt x="335868" y="535781"/>
                    </a:cubicBezTo>
                    <a:cubicBezTo>
                      <a:pt x="320585" y="517440"/>
                      <a:pt x="335791" y="539234"/>
                      <a:pt x="323962" y="521494"/>
                    </a:cubicBezTo>
                    <a:cubicBezTo>
                      <a:pt x="316298" y="498498"/>
                      <a:pt x="328588" y="534251"/>
                      <a:pt x="316818" y="504825"/>
                    </a:cubicBezTo>
                    <a:cubicBezTo>
                      <a:pt x="314954" y="500164"/>
                      <a:pt x="313643" y="495300"/>
                      <a:pt x="312056" y="490537"/>
                    </a:cubicBezTo>
                    <a:lnTo>
                      <a:pt x="307293" y="476250"/>
                    </a:lnTo>
                    <a:cubicBezTo>
                      <a:pt x="306499" y="473869"/>
                      <a:pt x="306304" y="471195"/>
                      <a:pt x="304912" y="469106"/>
                    </a:cubicBezTo>
                    <a:lnTo>
                      <a:pt x="300150" y="461962"/>
                    </a:lnTo>
                    <a:cubicBezTo>
                      <a:pt x="292690" y="432130"/>
                      <a:pt x="302230" y="469247"/>
                      <a:pt x="295387" y="445294"/>
                    </a:cubicBezTo>
                    <a:cubicBezTo>
                      <a:pt x="288188" y="420098"/>
                      <a:pt x="299564" y="455443"/>
                      <a:pt x="288243" y="421481"/>
                    </a:cubicBezTo>
                    <a:cubicBezTo>
                      <a:pt x="287449" y="419100"/>
                      <a:pt x="287254" y="416426"/>
                      <a:pt x="285862" y="414337"/>
                    </a:cubicBezTo>
                    <a:lnTo>
                      <a:pt x="271575" y="392906"/>
                    </a:lnTo>
                    <a:lnTo>
                      <a:pt x="266812" y="385762"/>
                    </a:lnTo>
                    <a:cubicBezTo>
                      <a:pt x="262627" y="373208"/>
                      <a:pt x="267197" y="383368"/>
                      <a:pt x="257287" y="371475"/>
                    </a:cubicBezTo>
                    <a:cubicBezTo>
                      <a:pt x="247366" y="359569"/>
                      <a:pt x="258478" y="368299"/>
                      <a:pt x="245381" y="359569"/>
                    </a:cubicBezTo>
                    <a:cubicBezTo>
                      <a:pt x="228359" y="334037"/>
                      <a:pt x="254868" y="372787"/>
                      <a:pt x="233475" y="345281"/>
                    </a:cubicBezTo>
                    <a:cubicBezTo>
                      <a:pt x="220932" y="329153"/>
                      <a:pt x="227161" y="335423"/>
                      <a:pt x="219187" y="321469"/>
                    </a:cubicBezTo>
                    <a:cubicBezTo>
                      <a:pt x="211331" y="307721"/>
                      <a:pt x="217892" y="320823"/>
                      <a:pt x="207281" y="307181"/>
                    </a:cubicBezTo>
                    <a:cubicBezTo>
                      <a:pt x="203767" y="302663"/>
                      <a:pt x="200931" y="297656"/>
                      <a:pt x="197756" y="292894"/>
                    </a:cubicBezTo>
                    <a:lnTo>
                      <a:pt x="192993" y="285750"/>
                    </a:lnTo>
                    <a:cubicBezTo>
                      <a:pt x="187326" y="268747"/>
                      <a:pt x="191016" y="275639"/>
                      <a:pt x="183468" y="264319"/>
                    </a:cubicBezTo>
                    <a:cubicBezTo>
                      <a:pt x="181532" y="258510"/>
                      <a:pt x="180940" y="254646"/>
                      <a:pt x="176325" y="250031"/>
                    </a:cubicBezTo>
                    <a:cubicBezTo>
                      <a:pt x="174301" y="248007"/>
                      <a:pt x="171562" y="246856"/>
                      <a:pt x="169181" y="245269"/>
                    </a:cubicBezTo>
                    <a:lnTo>
                      <a:pt x="162037" y="223837"/>
                    </a:lnTo>
                    <a:cubicBezTo>
                      <a:pt x="161243" y="221456"/>
                      <a:pt x="160265" y="219129"/>
                      <a:pt x="159656" y="216694"/>
                    </a:cubicBezTo>
                    <a:cubicBezTo>
                      <a:pt x="159635" y="216609"/>
                      <a:pt x="156033" y="201165"/>
                      <a:pt x="154893" y="200025"/>
                    </a:cubicBezTo>
                    <a:cubicBezTo>
                      <a:pt x="150846" y="195978"/>
                      <a:pt x="145368" y="193675"/>
                      <a:pt x="140606" y="190500"/>
                    </a:cubicBezTo>
                    <a:lnTo>
                      <a:pt x="112031" y="171450"/>
                    </a:lnTo>
                    <a:lnTo>
                      <a:pt x="97743" y="161925"/>
                    </a:lnTo>
                    <a:lnTo>
                      <a:pt x="83456" y="157162"/>
                    </a:lnTo>
                    <a:cubicBezTo>
                      <a:pt x="81075" y="156368"/>
                      <a:pt x="78788" y="155194"/>
                      <a:pt x="76312" y="154781"/>
                    </a:cubicBezTo>
                    <a:cubicBezTo>
                      <a:pt x="59549" y="151987"/>
                      <a:pt x="66605" y="153927"/>
                      <a:pt x="54881" y="150019"/>
                    </a:cubicBezTo>
                    <a:cubicBezTo>
                      <a:pt x="36418" y="137711"/>
                      <a:pt x="46021" y="142303"/>
                      <a:pt x="26306" y="135731"/>
                    </a:cubicBezTo>
                    <a:lnTo>
                      <a:pt x="19162" y="133350"/>
                    </a:lnTo>
                    <a:cubicBezTo>
                      <a:pt x="11265" y="130718"/>
                      <a:pt x="1303" y="116284"/>
                      <a:pt x="112" y="1143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77" name="Freeform 176"/>
              <p:cNvSpPr/>
              <p:nvPr/>
            </p:nvSpPr>
            <p:spPr>
              <a:xfrm>
                <a:off x="1574686" y="2514595"/>
                <a:ext cx="933744" cy="894290"/>
              </a:xfrm>
              <a:custGeom>
                <a:avLst/>
                <a:gdLst>
                  <a:gd name="connsiteX0" fmla="*/ 47625 w 933744"/>
                  <a:gd name="connsiteY0" fmla="*/ 685 h 894290"/>
                  <a:gd name="connsiteX1" fmla="*/ 42862 w 933744"/>
                  <a:gd name="connsiteY1" fmla="*/ 12591 h 894290"/>
                  <a:gd name="connsiteX2" fmla="*/ 40481 w 933744"/>
                  <a:gd name="connsiteY2" fmla="*/ 26878 h 894290"/>
                  <a:gd name="connsiteX3" fmla="*/ 30956 w 933744"/>
                  <a:gd name="connsiteY3" fmla="*/ 41166 h 894290"/>
                  <a:gd name="connsiteX4" fmla="*/ 28575 w 933744"/>
                  <a:gd name="connsiteY4" fmla="*/ 81647 h 894290"/>
                  <a:gd name="connsiteX5" fmla="*/ 30956 w 933744"/>
                  <a:gd name="connsiteY5" fmla="*/ 88791 h 894290"/>
                  <a:gd name="connsiteX6" fmla="*/ 40481 w 933744"/>
                  <a:gd name="connsiteY6" fmla="*/ 103078 h 894290"/>
                  <a:gd name="connsiteX7" fmla="*/ 38100 w 933744"/>
                  <a:gd name="connsiteY7" fmla="*/ 126891 h 894290"/>
                  <a:gd name="connsiteX8" fmla="*/ 28575 w 933744"/>
                  <a:gd name="connsiteY8" fmla="*/ 141178 h 894290"/>
                  <a:gd name="connsiteX9" fmla="*/ 23812 w 933744"/>
                  <a:gd name="connsiteY9" fmla="*/ 148322 h 894290"/>
                  <a:gd name="connsiteX10" fmla="*/ 21431 w 933744"/>
                  <a:gd name="connsiteY10" fmla="*/ 155466 h 894290"/>
                  <a:gd name="connsiteX11" fmla="*/ 30956 w 933744"/>
                  <a:gd name="connsiteY11" fmla="*/ 167372 h 894290"/>
                  <a:gd name="connsiteX12" fmla="*/ 45244 w 933744"/>
                  <a:gd name="connsiteY12" fmla="*/ 172135 h 894290"/>
                  <a:gd name="connsiteX13" fmla="*/ 52387 w 933744"/>
                  <a:gd name="connsiteY13" fmla="*/ 174516 h 894290"/>
                  <a:gd name="connsiteX14" fmla="*/ 64294 w 933744"/>
                  <a:gd name="connsiteY14" fmla="*/ 195947 h 894290"/>
                  <a:gd name="connsiteX15" fmla="*/ 61912 w 933744"/>
                  <a:gd name="connsiteY15" fmla="*/ 214997 h 894290"/>
                  <a:gd name="connsiteX16" fmla="*/ 54769 w 933744"/>
                  <a:gd name="connsiteY16" fmla="*/ 236428 h 894290"/>
                  <a:gd name="connsiteX17" fmla="*/ 52387 w 933744"/>
                  <a:gd name="connsiteY17" fmla="*/ 243572 h 894290"/>
                  <a:gd name="connsiteX18" fmla="*/ 50006 w 933744"/>
                  <a:gd name="connsiteY18" fmla="*/ 250716 h 894290"/>
                  <a:gd name="connsiteX19" fmla="*/ 28575 w 933744"/>
                  <a:gd name="connsiteY19" fmla="*/ 267385 h 894290"/>
                  <a:gd name="connsiteX20" fmla="*/ 21431 w 933744"/>
                  <a:gd name="connsiteY20" fmla="*/ 272147 h 894290"/>
                  <a:gd name="connsiteX21" fmla="*/ 14287 w 933744"/>
                  <a:gd name="connsiteY21" fmla="*/ 276910 h 894290"/>
                  <a:gd name="connsiteX22" fmla="*/ 11906 w 933744"/>
                  <a:gd name="connsiteY22" fmla="*/ 284053 h 894290"/>
                  <a:gd name="connsiteX23" fmla="*/ 4762 w 933744"/>
                  <a:gd name="connsiteY23" fmla="*/ 288816 h 894290"/>
                  <a:gd name="connsiteX24" fmla="*/ 0 w 933744"/>
                  <a:gd name="connsiteY24" fmla="*/ 295960 h 894290"/>
                  <a:gd name="connsiteX25" fmla="*/ 2381 w 933744"/>
                  <a:gd name="connsiteY25" fmla="*/ 334060 h 894290"/>
                  <a:gd name="connsiteX26" fmla="*/ 4762 w 933744"/>
                  <a:gd name="connsiteY26" fmla="*/ 341203 h 894290"/>
                  <a:gd name="connsiteX27" fmla="*/ 9525 w 933744"/>
                  <a:gd name="connsiteY27" fmla="*/ 384066 h 894290"/>
                  <a:gd name="connsiteX28" fmla="*/ 7144 w 933744"/>
                  <a:gd name="connsiteY28" fmla="*/ 431691 h 894290"/>
                  <a:gd name="connsiteX29" fmla="*/ 4762 w 933744"/>
                  <a:gd name="connsiteY29" fmla="*/ 441216 h 894290"/>
                  <a:gd name="connsiteX30" fmla="*/ 2381 w 933744"/>
                  <a:gd name="connsiteY30" fmla="*/ 455503 h 894290"/>
                  <a:gd name="connsiteX31" fmla="*/ 4762 w 933744"/>
                  <a:gd name="connsiteY31" fmla="*/ 479316 h 894290"/>
                  <a:gd name="connsiteX32" fmla="*/ 9525 w 933744"/>
                  <a:gd name="connsiteY32" fmla="*/ 486460 h 894290"/>
                  <a:gd name="connsiteX33" fmla="*/ 14287 w 933744"/>
                  <a:gd name="connsiteY33" fmla="*/ 500747 h 894290"/>
                  <a:gd name="connsiteX34" fmla="*/ 71437 w 933744"/>
                  <a:gd name="connsiteY34" fmla="*/ 505510 h 894290"/>
                  <a:gd name="connsiteX35" fmla="*/ 85725 w 933744"/>
                  <a:gd name="connsiteY35" fmla="*/ 510272 h 894290"/>
                  <a:gd name="connsiteX36" fmla="*/ 100012 w 933744"/>
                  <a:gd name="connsiteY36" fmla="*/ 519797 h 894290"/>
                  <a:gd name="connsiteX37" fmla="*/ 104775 w 933744"/>
                  <a:gd name="connsiteY37" fmla="*/ 526941 h 894290"/>
                  <a:gd name="connsiteX38" fmla="*/ 111919 w 933744"/>
                  <a:gd name="connsiteY38" fmla="*/ 531703 h 894290"/>
                  <a:gd name="connsiteX39" fmla="*/ 119062 w 933744"/>
                  <a:gd name="connsiteY39" fmla="*/ 545991 h 894290"/>
                  <a:gd name="connsiteX40" fmla="*/ 133350 w 933744"/>
                  <a:gd name="connsiteY40" fmla="*/ 555516 h 894290"/>
                  <a:gd name="connsiteX41" fmla="*/ 140494 w 933744"/>
                  <a:gd name="connsiteY41" fmla="*/ 560278 h 894290"/>
                  <a:gd name="connsiteX42" fmla="*/ 152400 w 933744"/>
                  <a:gd name="connsiteY42" fmla="*/ 574566 h 894290"/>
                  <a:gd name="connsiteX43" fmla="*/ 154781 w 933744"/>
                  <a:gd name="connsiteY43" fmla="*/ 581710 h 894290"/>
                  <a:gd name="connsiteX44" fmla="*/ 150019 w 933744"/>
                  <a:gd name="connsiteY44" fmla="*/ 605522 h 894290"/>
                  <a:gd name="connsiteX45" fmla="*/ 152400 w 933744"/>
                  <a:gd name="connsiteY45" fmla="*/ 634097 h 894290"/>
                  <a:gd name="connsiteX46" fmla="*/ 154781 w 933744"/>
                  <a:gd name="connsiteY46" fmla="*/ 641241 h 894290"/>
                  <a:gd name="connsiteX47" fmla="*/ 159544 w 933744"/>
                  <a:gd name="connsiteY47" fmla="*/ 667435 h 894290"/>
                  <a:gd name="connsiteX48" fmla="*/ 164306 w 933744"/>
                  <a:gd name="connsiteY48" fmla="*/ 681722 h 894290"/>
                  <a:gd name="connsiteX49" fmla="*/ 166687 w 933744"/>
                  <a:gd name="connsiteY49" fmla="*/ 688866 h 894290"/>
                  <a:gd name="connsiteX50" fmla="*/ 185737 w 933744"/>
                  <a:gd name="connsiteY50" fmla="*/ 710297 h 894290"/>
                  <a:gd name="connsiteX51" fmla="*/ 200025 w 933744"/>
                  <a:gd name="connsiteY51" fmla="*/ 719822 h 894290"/>
                  <a:gd name="connsiteX52" fmla="*/ 207169 w 933744"/>
                  <a:gd name="connsiteY52" fmla="*/ 724585 h 894290"/>
                  <a:gd name="connsiteX53" fmla="*/ 221456 w 933744"/>
                  <a:gd name="connsiteY53" fmla="*/ 731728 h 894290"/>
                  <a:gd name="connsiteX54" fmla="*/ 238125 w 933744"/>
                  <a:gd name="connsiteY54" fmla="*/ 753160 h 894290"/>
                  <a:gd name="connsiteX55" fmla="*/ 242887 w 933744"/>
                  <a:gd name="connsiteY55" fmla="*/ 760303 h 894290"/>
                  <a:gd name="connsiteX56" fmla="*/ 257175 w 933744"/>
                  <a:gd name="connsiteY56" fmla="*/ 788878 h 894290"/>
                  <a:gd name="connsiteX57" fmla="*/ 264319 w 933744"/>
                  <a:gd name="connsiteY57" fmla="*/ 793641 h 894290"/>
                  <a:gd name="connsiteX58" fmla="*/ 278606 w 933744"/>
                  <a:gd name="connsiteY58" fmla="*/ 796022 h 894290"/>
                  <a:gd name="connsiteX59" fmla="*/ 285750 w 933744"/>
                  <a:gd name="connsiteY59" fmla="*/ 798403 h 894290"/>
                  <a:gd name="connsiteX60" fmla="*/ 292894 w 933744"/>
                  <a:gd name="connsiteY60" fmla="*/ 805547 h 894290"/>
                  <a:gd name="connsiteX61" fmla="*/ 302419 w 933744"/>
                  <a:gd name="connsiteY61" fmla="*/ 826978 h 894290"/>
                  <a:gd name="connsiteX62" fmla="*/ 316706 w 933744"/>
                  <a:gd name="connsiteY62" fmla="*/ 836503 h 894290"/>
                  <a:gd name="connsiteX63" fmla="*/ 330994 w 933744"/>
                  <a:gd name="connsiteY63" fmla="*/ 843647 h 894290"/>
                  <a:gd name="connsiteX64" fmla="*/ 345281 w 933744"/>
                  <a:gd name="connsiteY64" fmla="*/ 850791 h 894290"/>
                  <a:gd name="connsiteX65" fmla="*/ 352425 w 933744"/>
                  <a:gd name="connsiteY65" fmla="*/ 855553 h 894290"/>
                  <a:gd name="connsiteX66" fmla="*/ 366712 w 933744"/>
                  <a:gd name="connsiteY66" fmla="*/ 860316 h 894290"/>
                  <a:gd name="connsiteX67" fmla="*/ 373856 w 933744"/>
                  <a:gd name="connsiteY67" fmla="*/ 862697 h 894290"/>
                  <a:gd name="connsiteX68" fmla="*/ 407194 w 933744"/>
                  <a:gd name="connsiteY68" fmla="*/ 860316 h 894290"/>
                  <a:gd name="connsiteX69" fmla="*/ 421481 w 933744"/>
                  <a:gd name="connsiteY69" fmla="*/ 855553 h 894290"/>
                  <a:gd name="connsiteX70" fmla="*/ 428625 w 933744"/>
                  <a:gd name="connsiteY70" fmla="*/ 853172 h 894290"/>
                  <a:gd name="connsiteX71" fmla="*/ 445294 w 933744"/>
                  <a:gd name="connsiteY71" fmla="*/ 850791 h 894290"/>
                  <a:gd name="connsiteX72" fmla="*/ 473869 w 933744"/>
                  <a:gd name="connsiteY72" fmla="*/ 848410 h 894290"/>
                  <a:gd name="connsiteX73" fmla="*/ 497681 w 933744"/>
                  <a:gd name="connsiteY73" fmla="*/ 853172 h 894290"/>
                  <a:gd name="connsiteX74" fmla="*/ 521494 w 933744"/>
                  <a:gd name="connsiteY74" fmla="*/ 857935 h 894290"/>
                  <a:gd name="connsiteX75" fmla="*/ 528637 w 933744"/>
                  <a:gd name="connsiteY75" fmla="*/ 860316 h 894290"/>
                  <a:gd name="connsiteX76" fmla="*/ 542925 w 933744"/>
                  <a:gd name="connsiteY76" fmla="*/ 872222 h 894290"/>
                  <a:gd name="connsiteX77" fmla="*/ 557212 w 933744"/>
                  <a:gd name="connsiteY77" fmla="*/ 884128 h 894290"/>
                  <a:gd name="connsiteX78" fmla="*/ 578644 w 933744"/>
                  <a:gd name="connsiteY78" fmla="*/ 891272 h 894290"/>
                  <a:gd name="connsiteX79" fmla="*/ 585787 w 933744"/>
                  <a:gd name="connsiteY79" fmla="*/ 893653 h 894290"/>
                  <a:gd name="connsiteX80" fmla="*/ 628650 w 933744"/>
                  <a:gd name="connsiteY80" fmla="*/ 891272 h 894290"/>
                  <a:gd name="connsiteX81" fmla="*/ 631031 w 933744"/>
                  <a:gd name="connsiteY81" fmla="*/ 874603 h 894290"/>
                  <a:gd name="connsiteX82" fmla="*/ 640556 w 933744"/>
                  <a:gd name="connsiteY82" fmla="*/ 860316 h 894290"/>
                  <a:gd name="connsiteX83" fmla="*/ 645319 w 933744"/>
                  <a:gd name="connsiteY83" fmla="*/ 843647 h 894290"/>
                  <a:gd name="connsiteX84" fmla="*/ 650081 w 933744"/>
                  <a:gd name="connsiteY84" fmla="*/ 829360 h 894290"/>
                  <a:gd name="connsiteX85" fmla="*/ 664369 w 933744"/>
                  <a:gd name="connsiteY85" fmla="*/ 817453 h 894290"/>
                  <a:gd name="connsiteX86" fmla="*/ 709612 w 933744"/>
                  <a:gd name="connsiteY86" fmla="*/ 819835 h 894290"/>
                  <a:gd name="connsiteX87" fmla="*/ 728662 w 933744"/>
                  <a:gd name="connsiteY87" fmla="*/ 824597 h 894290"/>
                  <a:gd name="connsiteX88" fmla="*/ 735806 w 933744"/>
                  <a:gd name="connsiteY88" fmla="*/ 826978 h 894290"/>
                  <a:gd name="connsiteX89" fmla="*/ 778669 w 933744"/>
                  <a:gd name="connsiteY89" fmla="*/ 829360 h 894290"/>
                  <a:gd name="connsiteX90" fmla="*/ 819150 w 933744"/>
                  <a:gd name="connsiteY90" fmla="*/ 819835 h 894290"/>
                  <a:gd name="connsiteX91" fmla="*/ 823912 w 933744"/>
                  <a:gd name="connsiteY91" fmla="*/ 810310 h 894290"/>
                  <a:gd name="connsiteX92" fmla="*/ 826294 w 933744"/>
                  <a:gd name="connsiteY92" fmla="*/ 779353 h 894290"/>
                  <a:gd name="connsiteX93" fmla="*/ 828675 w 933744"/>
                  <a:gd name="connsiteY93" fmla="*/ 772210 h 894290"/>
                  <a:gd name="connsiteX94" fmla="*/ 831056 w 933744"/>
                  <a:gd name="connsiteY94" fmla="*/ 762685 h 894290"/>
                  <a:gd name="connsiteX95" fmla="*/ 833437 w 933744"/>
                  <a:gd name="connsiteY95" fmla="*/ 755541 h 894290"/>
                  <a:gd name="connsiteX96" fmla="*/ 847725 w 933744"/>
                  <a:gd name="connsiteY96" fmla="*/ 741253 h 894290"/>
                  <a:gd name="connsiteX97" fmla="*/ 850106 w 933744"/>
                  <a:gd name="connsiteY97" fmla="*/ 734110 h 894290"/>
                  <a:gd name="connsiteX98" fmla="*/ 847725 w 933744"/>
                  <a:gd name="connsiteY98" fmla="*/ 717441 h 894290"/>
                  <a:gd name="connsiteX99" fmla="*/ 840581 w 933744"/>
                  <a:gd name="connsiteY99" fmla="*/ 715060 h 894290"/>
                  <a:gd name="connsiteX100" fmla="*/ 819150 w 933744"/>
                  <a:gd name="connsiteY100" fmla="*/ 710297 h 894290"/>
                  <a:gd name="connsiteX101" fmla="*/ 812006 w 933744"/>
                  <a:gd name="connsiteY101" fmla="*/ 703153 h 894290"/>
                  <a:gd name="connsiteX102" fmla="*/ 816769 w 933744"/>
                  <a:gd name="connsiteY102" fmla="*/ 667435 h 894290"/>
                  <a:gd name="connsiteX103" fmla="*/ 821531 w 933744"/>
                  <a:gd name="connsiteY103" fmla="*/ 660291 h 894290"/>
                  <a:gd name="connsiteX104" fmla="*/ 831056 w 933744"/>
                  <a:gd name="connsiteY104" fmla="*/ 655528 h 894290"/>
                  <a:gd name="connsiteX105" fmla="*/ 838200 w 933744"/>
                  <a:gd name="connsiteY105" fmla="*/ 650766 h 894290"/>
                  <a:gd name="connsiteX106" fmla="*/ 845344 w 933744"/>
                  <a:gd name="connsiteY106" fmla="*/ 643622 h 894290"/>
                  <a:gd name="connsiteX107" fmla="*/ 866775 w 933744"/>
                  <a:gd name="connsiteY107" fmla="*/ 634097 h 894290"/>
                  <a:gd name="connsiteX108" fmla="*/ 928687 w 933744"/>
                  <a:gd name="connsiteY108" fmla="*/ 631716 h 894290"/>
                  <a:gd name="connsiteX109" fmla="*/ 933450 w 933744"/>
                  <a:gd name="connsiteY109" fmla="*/ 624572 h 894290"/>
                  <a:gd name="connsiteX110" fmla="*/ 926306 w 933744"/>
                  <a:gd name="connsiteY110" fmla="*/ 591235 h 894290"/>
                  <a:gd name="connsiteX111" fmla="*/ 923925 w 933744"/>
                  <a:gd name="connsiteY111" fmla="*/ 579328 h 894290"/>
                  <a:gd name="connsiteX112" fmla="*/ 912019 w 933744"/>
                  <a:gd name="connsiteY112" fmla="*/ 565041 h 894290"/>
                  <a:gd name="connsiteX113" fmla="*/ 909637 w 933744"/>
                  <a:gd name="connsiteY113" fmla="*/ 557897 h 894290"/>
                  <a:gd name="connsiteX114" fmla="*/ 907256 w 933744"/>
                  <a:gd name="connsiteY114" fmla="*/ 548372 h 894290"/>
                  <a:gd name="connsiteX115" fmla="*/ 900112 w 933744"/>
                  <a:gd name="connsiteY115" fmla="*/ 538847 h 894290"/>
                  <a:gd name="connsiteX116" fmla="*/ 862012 w 933744"/>
                  <a:gd name="connsiteY116" fmla="*/ 529322 h 894290"/>
                  <a:gd name="connsiteX117" fmla="*/ 845344 w 933744"/>
                  <a:gd name="connsiteY117" fmla="*/ 524560 h 894290"/>
                  <a:gd name="connsiteX118" fmla="*/ 838200 w 933744"/>
                  <a:gd name="connsiteY118" fmla="*/ 517416 h 894290"/>
                  <a:gd name="connsiteX119" fmla="*/ 823912 w 933744"/>
                  <a:gd name="connsiteY119" fmla="*/ 507891 h 894290"/>
                  <a:gd name="connsiteX120" fmla="*/ 783431 w 933744"/>
                  <a:gd name="connsiteY120" fmla="*/ 510272 h 894290"/>
                  <a:gd name="connsiteX121" fmla="*/ 764381 w 933744"/>
                  <a:gd name="connsiteY121" fmla="*/ 512653 h 894290"/>
                  <a:gd name="connsiteX122" fmla="*/ 759619 w 933744"/>
                  <a:gd name="connsiteY122" fmla="*/ 519797 h 894290"/>
                  <a:gd name="connsiteX123" fmla="*/ 750094 w 933744"/>
                  <a:gd name="connsiteY123" fmla="*/ 541228 h 894290"/>
                  <a:gd name="connsiteX124" fmla="*/ 735806 w 933744"/>
                  <a:gd name="connsiteY124" fmla="*/ 545991 h 894290"/>
                  <a:gd name="connsiteX125" fmla="*/ 714375 w 933744"/>
                  <a:gd name="connsiteY125" fmla="*/ 550753 h 894290"/>
                  <a:gd name="connsiteX126" fmla="*/ 673894 w 933744"/>
                  <a:gd name="connsiteY126" fmla="*/ 548372 h 894290"/>
                  <a:gd name="connsiteX127" fmla="*/ 676275 w 933744"/>
                  <a:gd name="connsiteY127" fmla="*/ 538847 h 894290"/>
                  <a:gd name="connsiteX128" fmla="*/ 690562 w 933744"/>
                  <a:gd name="connsiteY128" fmla="*/ 534085 h 894290"/>
                  <a:gd name="connsiteX129" fmla="*/ 697706 w 933744"/>
                  <a:gd name="connsiteY129" fmla="*/ 529322 h 894290"/>
                  <a:gd name="connsiteX130" fmla="*/ 704850 w 933744"/>
                  <a:gd name="connsiteY130" fmla="*/ 512653 h 894290"/>
                  <a:gd name="connsiteX131" fmla="*/ 697706 w 933744"/>
                  <a:gd name="connsiteY131" fmla="*/ 488841 h 894290"/>
                  <a:gd name="connsiteX132" fmla="*/ 695325 w 933744"/>
                  <a:gd name="connsiteY132" fmla="*/ 481697 h 894290"/>
                  <a:gd name="connsiteX133" fmla="*/ 688181 w 933744"/>
                  <a:gd name="connsiteY133" fmla="*/ 476935 h 894290"/>
                  <a:gd name="connsiteX134" fmla="*/ 681037 w 933744"/>
                  <a:gd name="connsiteY134" fmla="*/ 469791 h 894290"/>
                  <a:gd name="connsiteX135" fmla="*/ 671512 w 933744"/>
                  <a:gd name="connsiteY135" fmla="*/ 467410 h 894290"/>
                  <a:gd name="connsiteX136" fmla="*/ 657225 w 933744"/>
                  <a:gd name="connsiteY136" fmla="*/ 462647 h 894290"/>
                  <a:gd name="connsiteX137" fmla="*/ 647700 w 933744"/>
                  <a:gd name="connsiteY137" fmla="*/ 457885 h 894290"/>
                  <a:gd name="connsiteX138" fmla="*/ 640556 w 933744"/>
                  <a:gd name="connsiteY138" fmla="*/ 453122 h 894290"/>
                  <a:gd name="connsiteX139" fmla="*/ 626269 w 933744"/>
                  <a:gd name="connsiteY139" fmla="*/ 448360 h 894290"/>
                  <a:gd name="connsiteX140" fmla="*/ 616744 w 933744"/>
                  <a:gd name="connsiteY140" fmla="*/ 443597 h 894290"/>
                  <a:gd name="connsiteX141" fmla="*/ 597694 w 933744"/>
                  <a:gd name="connsiteY141" fmla="*/ 438835 h 894290"/>
                  <a:gd name="connsiteX142" fmla="*/ 581025 w 933744"/>
                  <a:gd name="connsiteY142" fmla="*/ 434072 h 894290"/>
                  <a:gd name="connsiteX143" fmla="*/ 573881 w 933744"/>
                  <a:gd name="connsiteY143" fmla="*/ 431691 h 894290"/>
                  <a:gd name="connsiteX144" fmla="*/ 554831 w 933744"/>
                  <a:gd name="connsiteY144" fmla="*/ 426928 h 894290"/>
                  <a:gd name="connsiteX145" fmla="*/ 545306 w 933744"/>
                  <a:gd name="connsiteY145" fmla="*/ 424547 h 894290"/>
                  <a:gd name="connsiteX146" fmla="*/ 538162 w 933744"/>
                  <a:gd name="connsiteY146" fmla="*/ 422166 h 894290"/>
                  <a:gd name="connsiteX147" fmla="*/ 526256 w 933744"/>
                  <a:gd name="connsiteY147" fmla="*/ 407878 h 894290"/>
                  <a:gd name="connsiteX148" fmla="*/ 523875 w 933744"/>
                  <a:gd name="connsiteY148" fmla="*/ 400735 h 894290"/>
                  <a:gd name="connsiteX149" fmla="*/ 509587 w 933744"/>
                  <a:gd name="connsiteY149" fmla="*/ 386447 h 894290"/>
                  <a:gd name="connsiteX150" fmla="*/ 502444 w 933744"/>
                  <a:gd name="connsiteY150" fmla="*/ 372160 h 894290"/>
                  <a:gd name="connsiteX151" fmla="*/ 497681 w 933744"/>
                  <a:gd name="connsiteY151" fmla="*/ 365016 h 894290"/>
                  <a:gd name="connsiteX152" fmla="*/ 495300 w 933744"/>
                  <a:gd name="connsiteY152" fmla="*/ 348347 h 894290"/>
                  <a:gd name="connsiteX153" fmla="*/ 492919 w 933744"/>
                  <a:gd name="connsiteY153" fmla="*/ 334060 h 894290"/>
                  <a:gd name="connsiteX154" fmla="*/ 488156 w 933744"/>
                  <a:gd name="connsiteY154" fmla="*/ 291197 h 894290"/>
                  <a:gd name="connsiteX155" fmla="*/ 476250 w 933744"/>
                  <a:gd name="connsiteY155" fmla="*/ 265003 h 894290"/>
                  <a:gd name="connsiteX156" fmla="*/ 461962 w 933744"/>
                  <a:gd name="connsiteY156" fmla="*/ 255478 h 894290"/>
                  <a:gd name="connsiteX157" fmla="*/ 454819 w 933744"/>
                  <a:gd name="connsiteY157" fmla="*/ 253097 h 894290"/>
                  <a:gd name="connsiteX158" fmla="*/ 447675 w 933744"/>
                  <a:gd name="connsiteY158" fmla="*/ 248335 h 894290"/>
                  <a:gd name="connsiteX159" fmla="*/ 433387 w 933744"/>
                  <a:gd name="connsiteY159" fmla="*/ 243572 h 894290"/>
                  <a:gd name="connsiteX160" fmla="*/ 426244 w 933744"/>
                  <a:gd name="connsiteY160" fmla="*/ 238810 h 894290"/>
                  <a:gd name="connsiteX161" fmla="*/ 409575 w 933744"/>
                  <a:gd name="connsiteY161" fmla="*/ 234047 h 894290"/>
                  <a:gd name="connsiteX162" fmla="*/ 392906 w 933744"/>
                  <a:gd name="connsiteY162" fmla="*/ 222141 h 894290"/>
                  <a:gd name="connsiteX163" fmla="*/ 378619 w 933744"/>
                  <a:gd name="connsiteY163" fmla="*/ 212616 h 894290"/>
                  <a:gd name="connsiteX164" fmla="*/ 371475 w 933744"/>
                  <a:gd name="connsiteY164" fmla="*/ 207853 h 894290"/>
                  <a:gd name="connsiteX165" fmla="*/ 338137 w 933744"/>
                  <a:gd name="connsiteY165" fmla="*/ 200710 h 894290"/>
                  <a:gd name="connsiteX166" fmla="*/ 326231 w 933744"/>
                  <a:gd name="connsiteY166" fmla="*/ 198328 h 894290"/>
                  <a:gd name="connsiteX167" fmla="*/ 302419 w 933744"/>
                  <a:gd name="connsiteY167" fmla="*/ 191185 h 894290"/>
                  <a:gd name="connsiteX168" fmla="*/ 292894 w 933744"/>
                  <a:gd name="connsiteY168" fmla="*/ 184041 h 894290"/>
                  <a:gd name="connsiteX169" fmla="*/ 290512 w 933744"/>
                  <a:gd name="connsiteY169" fmla="*/ 176897 h 894290"/>
                  <a:gd name="connsiteX170" fmla="*/ 285750 w 933744"/>
                  <a:gd name="connsiteY170" fmla="*/ 167372 h 894290"/>
                  <a:gd name="connsiteX171" fmla="*/ 280987 w 933744"/>
                  <a:gd name="connsiteY171" fmla="*/ 148322 h 894290"/>
                  <a:gd name="connsiteX172" fmla="*/ 276225 w 933744"/>
                  <a:gd name="connsiteY172" fmla="*/ 119747 h 894290"/>
                  <a:gd name="connsiteX173" fmla="*/ 257175 w 933744"/>
                  <a:gd name="connsiteY173" fmla="*/ 95935 h 894290"/>
                  <a:gd name="connsiteX174" fmla="*/ 247650 w 933744"/>
                  <a:gd name="connsiteY174" fmla="*/ 88791 h 894290"/>
                  <a:gd name="connsiteX175" fmla="*/ 240506 w 933744"/>
                  <a:gd name="connsiteY175" fmla="*/ 81647 h 894290"/>
                  <a:gd name="connsiteX176" fmla="*/ 233362 w 933744"/>
                  <a:gd name="connsiteY176" fmla="*/ 76885 h 894290"/>
                  <a:gd name="connsiteX177" fmla="*/ 211931 w 933744"/>
                  <a:gd name="connsiteY177" fmla="*/ 60216 h 894290"/>
                  <a:gd name="connsiteX178" fmla="*/ 166687 w 933744"/>
                  <a:gd name="connsiteY178" fmla="*/ 62597 h 894290"/>
                  <a:gd name="connsiteX179" fmla="*/ 159544 w 933744"/>
                  <a:gd name="connsiteY179" fmla="*/ 64978 h 894290"/>
                  <a:gd name="connsiteX180" fmla="*/ 152400 w 933744"/>
                  <a:gd name="connsiteY180" fmla="*/ 69741 h 894290"/>
                  <a:gd name="connsiteX181" fmla="*/ 154781 w 933744"/>
                  <a:gd name="connsiteY181" fmla="*/ 79266 h 894290"/>
                  <a:gd name="connsiteX182" fmla="*/ 161925 w 933744"/>
                  <a:gd name="connsiteY182" fmla="*/ 81647 h 894290"/>
                  <a:gd name="connsiteX183" fmla="*/ 166687 w 933744"/>
                  <a:gd name="connsiteY183" fmla="*/ 88791 h 894290"/>
                  <a:gd name="connsiteX184" fmla="*/ 169069 w 933744"/>
                  <a:gd name="connsiteY184" fmla="*/ 105460 h 894290"/>
                  <a:gd name="connsiteX185" fmla="*/ 173831 w 933744"/>
                  <a:gd name="connsiteY185" fmla="*/ 119747 h 894290"/>
                  <a:gd name="connsiteX186" fmla="*/ 178594 w 933744"/>
                  <a:gd name="connsiteY186" fmla="*/ 141178 h 894290"/>
                  <a:gd name="connsiteX187" fmla="*/ 173831 w 933744"/>
                  <a:gd name="connsiteY187" fmla="*/ 134035 h 894290"/>
                  <a:gd name="connsiteX188" fmla="*/ 164306 w 933744"/>
                  <a:gd name="connsiteY188" fmla="*/ 119747 h 894290"/>
                  <a:gd name="connsiteX189" fmla="*/ 154781 w 933744"/>
                  <a:gd name="connsiteY189" fmla="*/ 98316 h 894290"/>
                  <a:gd name="connsiteX190" fmla="*/ 128587 w 933744"/>
                  <a:gd name="connsiteY190" fmla="*/ 84028 h 894290"/>
                  <a:gd name="connsiteX191" fmla="*/ 107156 w 933744"/>
                  <a:gd name="connsiteY191" fmla="*/ 79266 h 894290"/>
                  <a:gd name="connsiteX192" fmla="*/ 90487 w 933744"/>
                  <a:gd name="connsiteY192" fmla="*/ 72122 h 894290"/>
                  <a:gd name="connsiteX193" fmla="*/ 83344 w 933744"/>
                  <a:gd name="connsiteY193" fmla="*/ 67360 h 894290"/>
                  <a:gd name="connsiteX194" fmla="*/ 73819 w 933744"/>
                  <a:gd name="connsiteY194" fmla="*/ 62597 h 894290"/>
                  <a:gd name="connsiteX195" fmla="*/ 64294 w 933744"/>
                  <a:gd name="connsiteY195" fmla="*/ 48310 h 894290"/>
                  <a:gd name="connsiteX196" fmla="*/ 59531 w 933744"/>
                  <a:gd name="connsiteY196" fmla="*/ 41166 h 894290"/>
                  <a:gd name="connsiteX197" fmla="*/ 57150 w 933744"/>
                  <a:gd name="connsiteY197" fmla="*/ 34022 h 894290"/>
                  <a:gd name="connsiteX198" fmla="*/ 47625 w 933744"/>
                  <a:gd name="connsiteY198" fmla="*/ 685 h 89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933744" h="894290">
                    <a:moveTo>
                      <a:pt x="47625" y="685"/>
                    </a:moveTo>
                    <a:cubicBezTo>
                      <a:pt x="45244" y="-2887"/>
                      <a:pt x="43987" y="8467"/>
                      <a:pt x="42862" y="12591"/>
                    </a:cubicBezTo>
                    <a:cubicBezTo>
                      <a:pt x="41592" y="17249"/>
                      <a:pt x="42338" y="22421"/>
                      <a:pt x="40481" y="26878"/>
                    </a:cubicBezTo>
                    <a:cubicBezTo>
                      <a:pt x="38280" y="32162"/>
                      <a:pt x="30956" y="41166"/>
                      <a:pt x="30956" y="41166"/>
                    </a:cubicBezTo>
                    <a:cubicBezTo>
                      <a:pt x="24071" y="61822"/>
                      <a:pt x="24605" y="53856"/>
                      <a:pt x="28575" y="81647"/>
                    </a:cubicBezTo>
                    <a:cubicBezTo>
                      <a:pt x="28930" y="84132"/>
                      <a:pt x="29737" y="86597"/>
                      <a:pt x="30956" y="88791"/>
                    </a:cubicBezTo>
                    <a:cubicBezTo>
                      <a:pt x="33736" y="93794"/>
                      <a:pt x="40481" y="103078"/>
                      <a:pt x="40481" y="103078"/>
                    </a:cubicBezTo>
                    <a:cubicBezTo>
                      <a:pt x="39687" y="111016"/>
                      <a:pt x="40479" y="119277"/>
                      <a:pt x="38100" y="126891"/>
                    </a:cubicBezTo>
                    <a:cubicBezTo>
                      <a:pt x="36393" y="132354"/>
                      <a:pt x="31750" y="136416"/>
                      <a:pt x="28575" y="141178"/>
                    </a:cubicBezTo>
                    <a:lnTo>
                      <a:pt x="23812" y="148322"/>
                    </a:lnTo>
                    <a:cubicBezTo>
                      <a:pt x="23018" y="150703"/>
                      <a:pt x="21431" y="152956"/>
                      <a:pt x="21431" y="155466"/>
                    </a:cubicBezTo>
                    <a:cubicBezTo>
                      <a:pt x="21431" y="162066"/>
                      <a:pt x="25470" y="164934"/>
                      <a:pt x="30956" y="167372"/>
                    </a:cubicBezTo>
                    <a:cubicBezTo>
                      <a:pt x="35544" y="169411"/>
                      <a:pt x="40481" y="170547"/>
                      <a:pt x="45244" y="172135"/>
                    </a:cubicBezTo>
                    <a:lnTo>
                      <a:pt x="52387" y="174516"/>
                    </a:lnTo>
                    <a:cubicBezTo>
                      <a:pt x="63304" y="190892"/>
                      <a:pt x="60102" y="183373"/>
                      <a:pt x="64294" y="195947"/>
                    </a:cubicBezTo>
                    <a:cubicBezTo>
                      <a:pt x="63500" y="202297"/>
                      <a:pt x="63253" y="208740"/>
                      <a:pt x="61912" y="214997"/>
                    </a:cubicBezTo>
                    <a:cubicBezTo>
                      <a:pt x="61911" y="215001"/>
                      <a:pt x="55960" y="232854"/>
                      <a:pt x="54769" y="236428"/>
                    </a:cubicBezTo>
                    <a:lnTo>
                      <a:pt x="52387" y="243572"/>
                    </a:lnTo>
                    <a:cubicBezTo>
                      <a:pt x="51593" y="245953"/>
                      <a:pt x="51781" y="248941"/>
                      <a:pt x="50006" y="250716"/>
                    </a:cubicBezTo>
                    <a:cubicBezTo>
                      <a:pt x="38816" y="261906"/>
                      <a:pt x="45662" y="255994"/>
                      <a:pt x="28575" y="267385"/>
                    </a:cubicBezTo>
                    <a:lnTo>
                      <a:pt x="21431" y="272147"/>
                    </a:lnTo>
                    <a:lnTo>
                      <a:pt x="14287" y="276910"/>
                    </a:lnTo>
                    <a:cubicBezTo>
                      <a:pt x="13493" y="279291"/>
                      <a:pt x="13474" y="282093"/>
                      <a:pt x="11906" y="284053"/>
                    </a:cubicBezTo>
                    <a:cubicBezTo>
                      <a:pt x="10118" y="286288"/>
                      <a:pt x="6786" y="286792"/>
                      <a:pt x="4762" y="288816"/>
                    </a:cubicBezTo>
                    <a:cubicBezTo>
                      <a:pt x="2738" y="290840"/>
                      <a:pt x="1587" y="293579"/>
                      <a:pt x="0" y="295960"/>
                    </a:cubicBezTo>
                    <a:cubicBezTo>
                      <a:pt x="794" y="308660"/>
                      <a:pt x="1049" y="321405"/>
                      <a:pt x="2381" y="334060"/>
                    </a:cubicBezTo>
                    <a:cubicBezTo>
                      <a:pt x="2644" y="336556"/>
                      <a:pt x="4469" y="338710"/>
                      <a:pt x="4762" y="341203"/>
                    </a:cubicBezTo>
                    <a:cubicBezTo>
                      <a:pt x="10573" y="390589"/>
                      <a:pt x="3503" y="359977"/>
                      <a:pt x="9525" y="384066"/>
                    </a:cubicBezTo>
                    <a:cubicBezTo>
                      <a:pt x="8731" y="399941"/>
                      <a:pt x="8464" y="415851"/>
                      <a:pt x="7144" y="431691"/>
                    </a:cubicBezTo>
                    <a:cubicBezTo>
                      <a:pt x="6872" y="434952"/>
                      <a:pt x="5404" y="438007"/>
                      <a:pt x="4762" y="441216"/>
                    </a:cubicBezTo>
                    <a:cubicBezTo>
                      <a:pt x="3815" y="445950"/>
                      <a:pt x="3175" y="450741"/>
                      <a:pt x="2381" y="455503"/>
                    </a:cubicBezTo>
                    <a:cubicBezTo>
                      <a:pt x="3175" y="463441"/>
                      <a:pt x="2968" y="471543"/>
                      <a:pt x="4762" y="479316"/>
                    </a:cubicBezTo>
                    <a:cubicBezTo>
                      <a:pt x="5406" y="482105"/>
                      <a:pt x="8363" y="483845"/>
                      <a:pt x="9525" y="486460"/>
                    </a:cubicBezTo>
                    <a:cubicBezTo>
                      <a:pt x="11564" y="491047"/>
                      <a:pt x="9525" y="499160"/>
                      <a:pt x="14287" y="500747"/>
                    </a:cubicBezTo>
                    <a:cubicBezTo>
                      <a:pt x="37262" y="508404"/>
                      <a:pt x="18924" y="503009"/>
                      <a:pt x="71437" y="505510"/>
                    </a:cubicBezTo>
                    <a:cubicBezTo>
                      <a:pt x="76200" y="507097"/>
                      <a:pt x="81548" y="507487"/>
                      <a:pt x="85725" y="510272"/>
                    </a:cubicBezTo>
                    <a:lnTo>
                      <a:pt x="100012" y="519797"/>
                    </a:lnTo>
                    <a:cubicBezTo>
                      <a:pt x="101600" y="522178"/>
                      <a:pt x="102751" y="524917"/>
                      <a:pt x="104775" y="526941"/>
                    </a:cubicBezTo>
                    <a:cubicBezTo>
                      <a:pt x="106799" y="528965"/>
                      <a:pt x="110131" y="529468"/>
                      <a:pt x="111919" y="531703"/>
                    </a:cubicBezTo>
                    <a:cubicBezTo>
                      <a:pt x="121545" y="543735"/>
                      <a:pt x="105680" y="534281"/>
                      <a:pt x="119062" y="545991"/>
                    </a:cubicBezTo>
                    <a:cubicBezTo>
                      <a:pt x="123370" y="549760"/>
                      <a:pt x="128587" y="552341"/>
                      <a:pt x="133350" y="555516"/>
                    </a:cubicBezTo>
                    <a:cubicBezTo>
                      <a:pt x="135731" y="557103"/>
                      <a:pt x="138470" y="558254"/>
                      <a:pt x="140494" y="560278"/>
                    </a:cubicBezTo>
                    <a:cubicBezTo>
                      <a:pt x="149661" y="569446"/>
                      <a:pt x="145769" y="564620"/>
                      <a:pt x="152400" y="574566"/>
                    </a:cubicBezTo>
                    <a:cubicBezTo>
                      <a:pt x="153194" y="576947"/>
                      <a:pt x="154781" y="579200"/>
                      <a:pt x="154781" y="581710"/>
                    </a:cubicBezTo>
                    <a:cubicBezTo>
                      <a:pt x="154781" y="592654"/>
                      <a:pt x="152951" y="596725"/>
                      <a:pt x="150019" y="605522"/>
                    </a:cubicBezTo>
                    <a:cubicBezTo>
                      <a:pt x="150813" y="615047"/>
                      <a:pt x="151137" y="624623"/>
                      <a:pt x="152400" y="634097"/>
                    </a:cubicBezTo>
                    <a:cubicBezTo>
                      <a:pt x="152732" y="636585"/>
                      <a:pt x="154289" y="638780"/>
                      <a:pt x="154781" y="641241"/>
                    </a:cubicBezTo>
                    <a:cubicBezTo>
                      <a:pt x="158473" y="659705"/>
                      <a:pt x="155306" y="653308"/>
                      <a:pt x="159544" y="667435"/>
                    </a:cubicBezTo>
                    <a:cubicBezTo>
                      <a:pt x="160987" y="672243"/>
                      <a:pt x="162719" y="676960"/>
                      <a:pt x="164306" y="681722"/>
                    </a:cubicBezTo>
                    <a:cubicBezTo>
                      <a:pt x="165100" y="684103"/>
                      <a:pt x="165295" y="686778"/>
                      <a:pt x="166687" y="688866"/>
                    </a:cubicBezTo>
                    <a:cubicBezTo>
                      <a:pt x="175186" y="701614"/>
                      <a:pt x="169426" y="693986"/>
                      <a:pt x="185737" y="710297"/>
                    </a:cubicBezTo>
                    <a:cubicBezTo>
                      <a:pt x="194656" y="719216"/>
                      <a:pt x="189686" y="716376"/>
                      <a:pt x="200025" y="719822"/>
                    </a:cubicBezTo>
                    <a:cubicBezTo>
                      <a:pt x="202406" y="721410"/>
                      <a:pt x="204609" y="723305"/>
                      <a:pt x="207169" y="724585"/>
                    </a:cubicBezTo>
                    <a:cubicBezTo>
                      <a:pt x="217908" y="729955"/>
                      <a:pt x="211219" y="723198"/>
                      <a:pt x="221456" y="731728"/>
                    </a:cubicBezTo>
                    <a:cubicBezTo>
                      <a:pt x="229849" y="738722"/>
                      <a:pt x="231488" y="743204"/>
                      <a:pt x="238125" y="753160"/>
                    </a:cubicBezTo>
                    <a:cubicBezTo>
                      <a:pt x="239712" y="755541"/>
                      <a:pt x="241982" y="757588"/>
                      <a:pt x="242887" y="760303"/>
                    </a:cubicBezTo>
                    <a:cubicBezTo>
                      <a:pt x="245604" y="768453"/>
                      <a:pt x="249261" y="783602"/>
                      <a:pt x="257175" y="788878"/>
                    </a:cubicBezTo>
                    <a:cubicBezTo>
                      <a:pt x="259556" y="790466"/>
                      <a:pt x="261604" y="792736"/>
                      <a:pt x="264319" y="793641"/>
                    </a:cubicBezTo>
                    <a:cubicBezTo>
                      <a:pt x="268899" y="795168"/>
                      <a:pt x="273893" y="794975"/>
                      <a:pt x="278606" y="796022"/>
                    </a:cubicBezTo>
                    <a:cubicBezTo>
                      <a:pt x="281056" y="796566"/>
                      <a:pt x="283369" y="797609"/>
                      <a:pt x="285750" y="798403"/>
                    </a:cubicBezTo>
                    <a:cubicBezTo>
                      <a:pt x="288131" y="800784"/>
                      <a:pt x="291259" y="802603"/>
                      <a:pt x="292894" y="805547"/>
                    </a:cubicBezTo>
                    <a:cubicBezTo>
                      <a:pt x="296972" y="812888"/>
                      <a:pt x="295777" y="821166"/>
                      <a:pt x="302419" y="826978"/>
                    </a:cubicBezTo>
                    <a:cubicBezTo>
                      <a:pt x="306727" y="830747"/>
                      <a:pt x="311944" y="833328"/>
                      <a:pt x="316706" y="836503"/>
                    </a:cubicBezTo>
                    <a:cubicBezTo>
                      <a:pt x="325939" y="842659"/>
                      <a:pt x="321134" y="840361"/>
                      <a:pt x="330994" y="843647"/>
                    </a:cubicBezTo>
                    <a:cubicBezTo>
                      <a:pt x="351450" y="857287"/>
                      <a:pt x="325577" y="840940"/>
                      <a:pt x="345281" y="850791"/>
                    </a:cubicBezTo>
                    <a:cubicBezTo>
                      <a:pt x="347841" y="852071"/>
                      <a:pt x="349810" y="854391"/>
                      <a:pt x="352425" y="855553"/>
                    </a:cubicBezTo>
                    <a:cubicBezTo>
                      <a:pt x="357012" y="857592"/>
                      <a:pt x="361950" y="858728"/>
                      <a:pt x="366712" y="860316"/>
                    </a:cubicBezTo>
                    <a:lnTo>
                      <a:pt x="373856" y="862697"/>
                    </a:lnTo>
                    <a:cubicBezTo>
                      <a:pt x="384969" y="861903"/>
                      <a:pt x="396176" y="861969"/>
                      <a:pt x="407194" y="860316"/>
                    </a:cubicBezTo>
                    <a:cubicBezTo>
                      <a:pt x="412158" y="859571"/>
                      <a:pt x="416719" y="857141"/>
                      <a:pt x="421481" y="855553"/>
                    </a:cubicBezTo>
                    <a:cubicBezTo>
                      <a:pt x="423862" y="854759"/>
                      <a:pt x="426140" y="853527"/>
                      <a:pt x="428625" y="853172"/>
                    </a:cubicBezTo>
                    <a:lnTo>
                      <a:pt x="445294" y="850791"/>
                    </a:lnTo>
                    <a:cubicBezTo>
                      <a:pt x="457869" y="842406"/>
                      <a:pt x="450969" y="844794"/>
                      <a:pt x="473869" y="848410"/>
                    </a:cubicBezTo>
                    <a:cubicBezTo>
                      <a:pt x="481864" y="849672"/>
                      <a:pt x="489744" y="851585"/>
                      <a:pt x="497681" y="853172"/>
                    </a:cubicBezTo>
                    <a:cubicBezTo>
                      <a:pt x="497690" y="853174"/>
                      <a:pt x="521486" y="857932"/>
                      <a:pt x="521494" y="857935"/>
                    </a:cubicBezTo>
                    <a:lnTo>
                      <a:pt x="528637" y="860316"/>
                    </a:lnTo>
                    <a:cubicBezTo>
                      <a:pt x="549509" y="881188"/>
                      <a:pt x="523033" y="855646"/>
                      <a:pt x="542925" y="872222"/>
                    </a:cubicBezTo>
                    <a:cubicBezTo>
                      <a:pt x="549334" y="877563"/>
                      <a:pt x="549611" y="880750"/>
                      <a:pt x="557212" y="884128"/>
                    </a:cubicBezTo>
                    <a:cubicBezTo>
                      <a:pt x="557224" y="884133"/>
                      <a:pt x="575066" y="890079"/>
                      <a:pt x="578644" y="891272"/>
                    </a:cubicBezTo>
                    <a:lnTo>
                      <a:pt x="585787" y="893653"/>
                    </a:lnTo>
                    <a:cubicBezTo>
                      <a:pt x="600075" y="892859"/>
                      <a:pt x="615462" y="896825"/>
                      <a:pt x="628650" y="891272"/>
                    </a:cubicBezTo>
                    <a:cubicBezTo>
                      <a:pt x="633823" y="889094"/>
                      <a:pt x="629016" y="879842"/>
                      <a:pt x="631031" y="874603"/>
                    </a:cubicBezTo>
                    <a:cubicBezTo>
                      <a:pt x="633086" y="869261"/>
                      <a:pt x="638746" y="865746"/>
                      <a:pt x="640556" y="860316"/>
                    </a:cubicBezTo>
                    <a:cubicBezTo>
                      <a:pt x="648561" y="836298"/>
                      <a:pt x="636345" y="873559"/>
                      <a:pt x="645319" y="843647"/>
                    </a:cubicBezTo>
                    <a:cubicBezTo>
                      <a:pt x="646762" y="838839"/>
                      <a:pt x="646531" y="832910"/>
                      <a:pt x="650081" y="829360"/>
                    </a:cubicBezTo>
                    <a:cubicBezTo>
                      <a:pt x="659249" y="820192"/>
                      <a:pt x="654423" y="824084"/>
                      <a:pt x="664369" y="817453"/>
                    </a:cubicBezTo>
                    <a:cubicBezTo>
                      <a:pt x="679450" y="818247"/>
                      <a:pt x="694602" y="818167"/>
                      <a:pt x="709612" y="819835"/>
                    </a:cubicBezTo>
                    <a:cubicBezTo>
                      <a:pt x="716117" y="820558"/>
                      <a:pt x="722452" y="822527"/>
                      <a:pt x="728662" y="824597"/>
                    </a:cubicBezTo>
                    <a:cubicBezTo>
                      <a:pt x="731043" y="825391"/>
                      <a:pt x="733307" y="826740"/>
                      <a:pt x="735806" y="826978"/>
                    </a:cubicBezTo>
                    <a:cubicBezTo>
                      <a:pt x="750051" y="828335"/>
                      <a:pt x="764381" y="828566"/>
                      <a:pt x="778669" y="829360"/>
                    </a:cubicBezTo>
                    <a:cubicBezTo>
                      <a:pt x="800397" y="827807"/>
                      <a:pt x="808652" y="834532"/>
                      <a:pt x="819150" y="819835"/>
                    </a:cubicBezTo>
                    <a:cubicBezTo>
                      <a:pt x="821213" y="816947"/>
                      <a:pt x="822325" y="813485"/>
                      <a:pt x="823912" y="810310"/>
                    </a:cubicBezTo>
                    <a:cubicBezTo>
                      <a:pt x="824706" y="799991"/>
                      <a:pt x="825010" y="789623"/>
                      <a:pt x="826294" y="779353"/>
                    </a:cubicBezTo>
                    <a:cubicBezTo>
                      <a:pt x="826605" y="776863"/>
                      <a:pt x="827986" y="774623"/>
                      <a:pt x="828675" y="772210"/>
                    </a:cubicBezTo>
                    <a:cubicBezTo>
                      <a:pt x="829574" y="769063"/>
                      <a:pt x="830157" y="765832"/>
                      <a:pt x="831056" y="762685"/>
                    </a:cubicBezTo>
                    <a:cubicBezTo>
                      <a:pt x="831746" y="760271"/>
                      <a:pt x="831896" y="757522"/>
                      <a:pt x="833437" y="755541"/>
                    </a:cubicBezTo>
                    <a:cubicBezTo>
                      <a:pt x="837572" y="750224"/>
                      <a:pt x="847725" y="741253"/>
                      <a:pt x="847725" y="741253"/>
                    </a:cubicBezTo>
                    <a:cubicBezTo>
                      <a:pt x="848519" y="738872"/>
                      <a:pt x="850106" y="736620"/>
                      <a:pt x="850106" y="734110"/>
                    </a:cubicBezTo>
                    <a:cubicBezTo>
                      <a:pt x="850106" y="728497"/>
                      <a:pt x="850235" y="722461"/>
                      <a:pt x="847725" y="717441"/>
                    </a:cubicBezTo>
                    <a:cubicBezTo>
                      <a:pt x="846602" y="715196"/>
                      <a:pt x="843031" y="715605"/>
                      <a:pt x="840581" y="715060"/>
                    </a:cubicBezTo>
                    <a:cubicBezTo>
                      <a:pt x="815436" y="709472"/>
                      <a:pt x="835232" y="715657"/>
                      <a:pt x="819150" y="710297"/>
                    </a:cubicBezTo>
                    <a:cubicBezTo>
                      <a:pt x="816769" y="707916"/>
                      <a:pt x="812451" y="706491"/>
                      <a:pt x="812006" y="703153"/>
                    </a:cubicBezTo>
                    <a:cubicBezTo>
                      <a:pt x="811444" y="698941"/>
                      <a:pt x="812191" y="676591"/>
                      <a:pt x="816769" y="667435"/>
                    </a:cubicBezTo>
                    <a:cubicBezTo>
                      <a:pt x="818049" y="664875"/>
                      <a:pt x="819333" y="662123"/>
                      <a:pt x="821531" y="660291"/>
                    </a:cubicBezTo>
                    <a:cubicBezTo>
                      <a:pt x="824258" y="658018"/>
                      <a:pt x="827974" y="657289"/>
                      <a:pt x="831056" y="655528"/>
                    </a:cubicBezTo>
                    <a:cubicBezTo>
                      <a:pt x="833541" y="654108"/>
                      <a:pt x="836001" y="652598"/>
                      <a:pt x="838200" y="650766"/>
                    </a:cubicBezTo>
                    <a:cubicBezTo>
                      <a:pt x="840787" y="648610"/>
                      <a:pt x="842757" y="645778"/>
                      <a:pt x="845344" y="643622"/>
                    </a:cubicBezTo>
                    <a:cubicBezTo>
                      <a:pt x="850695" y="639163"/>
                      <a:pt x="860245" y="634348"/>
                      <a:pt x="866775" y="634097"/>
                    </a:cubicBezTo>
                    <a:lnTo>
                      <a:pt x="928687" y="631716"/>
                    </a:lnTo>
                    <a:cubicBezTo>
                      <a:pt x="930275" y="629335"/>
                      <a:pt x="933191" y="627422"/>
                      <a:pt x="933450" y="624572"/>
                    </a:cubicBezTo>
                    <a:cubicBezTo>
                      <a:pt x="935096" y="606476"/>
                      <a:pt x="929446" y="606937"/>
                      <a:pt x="926306" y="591235"/>
                    </a:cubicBezTo>
                    <a:cubicBezTo>
                      <a:pt x="925512" y="587266"/>
                      <a:pt x="925346" y="583118"/>
                      <a:pt x="923925" y="579328"/>
                    </a:cubicBezTo>
                    <a:cubicBezTo>
                      <a:pt x="921937" y="574027"/>
                      <a:pt x="915722" y="568744"/>
                      <a:pt x="912019" y="565041"/>
                    </a:cubicBezTo>
                    <a:cubicBezTo>
                      <a:pt x="911225" y="562660"/>
                      <a:pt x="910327" y="560311"/>
                      <a:pt x="909637" y="557897"/>
                    </a:cubicBezTo>
                    <a:cubicBezTo>
                      <a:pt x="908738" y="554750"/>
                      <a:pt x="908720" y="551299"/>
                      <a:pt x="907256" y="548372"/>
                    </a:cubicBezTo>
                    <a:cubicBezTo>
                      <a:pt x="905481" y="544822"/>
                      <a:pt x="902918" y="541653"/>
                      <a:pt x="900112" y="538847"/>
                    </a:cubicBezTo>
                    <a:cubicBezTo>
                      <a:pt x="890634" y="529369"/>
                      <a:pt x="873351" y="530456"/>
                      <a:pt x="862012" y="529322"/>
                    </a:cubicBezTo>
                    <a:cubicBezTo>
                      <a:pt x="860742" y="529004"/>
                      <a:pt x="847394" y="525927"/>
                      <a:pt x="845344" y="524560"/>
                    </a:cubicBezTo>
                    <a:cubicBezTo>
                      <a:pt x="842542" y="522692"/>
                      <a:pt x="840858" y="519484"/>
                      <a:pt x="838200" y="517416"/>
                    </a:cubicBezTo>
                    <a:cubicBezTo>
                      <a:pt x="833682" y="513902"/>
                      <a:pt x="823912" y="507891"/>
                      <a:pt x="823912" y="507891"/>
                    </a:cubicBezTo>
                    <a:cubicBezTo>
                      <a:pt x="810418" y="508685"/>
                      <a:pt x="796905" y="509194"/>
                      <a:pt x="783431" y="510272"/>
                    </a:cubicBezTo>
                    <a:cubicBezTo>
                      <a:pt x="777052" y="510782"/>
                      <a:pt x="770323" y="510276"/>
                      <a:pt x="764381" y="512653"/>
                    </a:cubicBezTo>
                    <a:cubicBezTo>
                      <a:pt x="761724" y="513716"/>
                      <a:pt x="760781" y="517182"/>
                      <a:pt x="759619" y="519797"/>
                    </a:cubicBezTo>
                    <a:cubicBezTo>
                      <a:pt x="758465" y="522393"/>
                      <a:pt x="755068" y="538119"/>
                      <a:pt x="750094" y="541228"/>
                    </a:cubicBezTo>
                    <a:cubicBezTo>
                      <a:pt x="745837" y="543889"/>
                      <a:pt x="740729" y="545007"/>
                      <a:pt x="735806" y="545991"/>
                    </a:cubicBezTo>
                    <a:cubicBezTo>
                      <a:pt x="720691" y="549014"/>
                      <a:pt x="727826" y="547390"/>
                      <a:pt x="714375" y="550753"/>
                    </a:cubicBezTo>
                    <a:lnTo>
                      <a:pt x="673894" y="548372"/>
                    </a:lnTo>
                    <a:cubicBezTo>
                      <a:pt x="670770" y="547396"/>
                      <a:pt x="673790" y="540977"/>
                      <a:pt x="676275" y="538847"/>
                    </a:cubicBezTo>
                    <a:cubicBezTo>
                      <a:pt x="680086" y="535580"/>
                      <a:pt x="690562" y="534085"/>
                      <a:pt x="690562" y="534085"/>
                    </a:cubicBezTo>
                    <a:cubicBezTo>
                      <a:pt x="692943" y="532497"/>
                      <a:pt x="695682" y="531346"/>
                      <a:pt x="697706" y="529322"/>
                    </a:cubicBezTo>
                    <a:cubicBezTo>
                      <a:pt x="703188" y="523840"/>
                      <a:pt x="703028" y="519941"/>
                      <a:pt x="704850" y="512653"/>
                    </a:cubicBezTo>
                    <a:cubicBezTo>
                      <a:pt x="700520" y="482338"/>
                      <a:pt x="706370" y="506169"/>
                      <a:pt x="697706" y="488841"/>
                    </a:cubicBezTo>
                    <a:cubicBezTo>
                      <a:pt x="696583" y="486596"/>
                      <a:pt x="696893" y="483657"/>
                      <a:pt x="695325" y="481697"/>
                    </a:cubicBezTo>
                    <a:cubicBezTo>
                      <a:pt x="693537" y="479462"/>
                      <a:pt x="690380" y="478767"/>
                      <a:pt x="688181" y="476935"/>
                    </a:cubicBezTo>
                    <a:cubicBezTo>
                      <a:pt x="685594" y="474779"/>
                      <a:pt x="683961" y="471462"/>
                      <a:pt x="681037" y="469791"/>
                    </a:cubicBezTo>
                    <a:cubicBezTo>
                      <a:pt x="678195" y="468167"/>
                      <a:pt x="674647" y="468350"/>
                      <a:pt x="671512" y="467410"/>
                    </a:cubicBezTo>
                    <a:cubicBezTo>
                      <a:pt x="666704" y="465967"/>
                      <a:pt x="661715" y="464892"/>
                      <a:pt x="657225" y="462647"/>
                    </a:cubicBezTo>
                    <a:cubicBezTo>
                      <a:pt x="654050" y="461060"/>
                      <a:pt x="650782" y="459646"/>
                      <a:pt x="647700" y="457885"/>
                    </a:cubicBezTo>
                    <a:cubicBezTo>
                      <a:pt x="645215" y="456465"/>
                      <a:pt x="643171" y="454284"/>
                      <a:pt x="640556" y="453122"/>
                    </a:cubicBezTo>
                    <a:cubicBezTo>
                      <a:pt x="635969" y="451083"/>
                      <a:pt x="630759" y="450605"/>
                      <a:pt x="626269" y="448360"/>
                    </a:cubicBezTo>
                    <a:cubicBezTo>
                      <a:pt x="623094" y="446772"/>
                      <a:pt x="620112" y="444720"/>
                      <a:pt x="616744" y="443597"/>
                    </a:cubicBezTo>
                    <a:cubicBezTo>
                      <a:pt x="610534" y="441527"/>
                      <a:pt x="603903" y="440905"/>
                      <a:pt x="597694" y="438835"/>
                    </a:cubicBezTo>
                    <a:cubicBezTo>
                      <a:pt x="580585" y="433130"/>
                      <a:pt x="601930" y="440044"/>
                      <a:pt x="581025" y="434072"/>
                    </a:cubicBezTo>
                    <a:cubicBezTo>
                      <a:pt x="578611" y="433382"/>
                      <a:pt x="576303" y="432351"/>
                      <a:pt x="573881" y="431691"/>
                    </a:cubicBezTo>
                    <a:cubicBezTo>
                      <a:pt x="567566" y="429969"/>
                      <a:pt x="561181" y="428516"/>
                      <a:pt x="554831" y="426928"/>
                    </a:cubicBezTo>
                    <a:cubicBezTo>
                      <a:pt x="551656" y="426134"/>
                      <a:pt x="548411" y="425582"/>
                      <a:pt x="545306" y="424547"/>
                    </a:cubicBezTo>
                    <a:lnTo>
                      <a:pt x="538162" y="422166"/>
                    </a:lnTo>
                    <a:cubicBezTo>
                      <a:pt x="532897" y="416900"/>
                      <a:pt x="529571" y="414507"/>
                      <a:pt x="526256" y="407878"/>
                    </a:cubicBezTo>
                    <a:cubicBezTo>
                      <a:pt x="525134" y="405633"/>
                      <a:pt x="525416" y="402716"/>
                      <a:pt x="523875" y="400735"/>
                    </a:cubicBezTo>
                    <a:cubicBezTo>
                      <a:pt x="519740" y="395418"/>
                      <a:pt x="513323" y="392051"/>
                      <a:pt x="509587" y="386447"/>
                    </a:cubicBezTo>
                    <a:cubicBezTo>
                      <a:pt x="495933" y="365963"/>
                      <a:pt x="512308" y="391886"/>
                      <a:pt x="502444" y="372160"/>
                    </a:cubicBezTo>
                    <a:cubicBezTo>
                      <a:pt x="501164" y="369600"/>
                      <a:pt x="499269" y="367397"/>
                      <a:pt x="497681" y="365016"/>
                    </a:cubicBezTo>
                    <a:cubicBezTo>
                      <a:pt x="496887" y="359460"/>
                      <a:pt x="496153" y="353894"/>
                      <a:pt x="495300" y="348347"/>
                    </a:cubicBezTo>
                    <a:cubicBezTo>
                      <a:pt x="494566" y="343575"/>
                      <a:pt x="493399" y="338864"/>
                      <a:pt x="492919" y="334060"/>
                    </a:cubicBezTo>
                    <a:cubicBezTo>
                      <a:pt x="490027" y="305139"/>
                      <a:pt x="493320" y="309274"/>
                      <a:pt x="488156" y="291197"/>
                    </a:cubicBezTo>
                    <a:cubicBezTo>
                      <a:pt x="486118" y="284062"/>
                      <a:pt x="479579" y="267222"/>
                      <a:pt x="476250" y="265003"/>
                    </a:cubicBezTo>
                    <a:cubicBezTo>
                      <a:pt x="471487" y="261828"/>
                      <a:pt x="467392" y="257288"/>
                      <a:pt x="461962" y="255478"/>
                    </a:cubicBezTo>
                    <a:cubicBezTo>
                      <a:pt x="459581" y="254684"/>
                      <a:pt x="457064" y="254219"/>
                      <a:pt x="454819" y="253097"/>
                    </a:cubicBezTo>
                    <a:cubicBezTo>
                      <a:pt x="452259" y="251817"/>
                      <a:pt x="450290" y="249497"/>
                      <a:pt x="447675" y="248335"/>
                    </a:cubicBezTo>
                    <a:cubicBezTo>
                      <a:pt x="443087" y="246296"/>
                      <a:pt x="433387" y="243572"/>
                      <a:pt x="433387" y="243572"/>
                    </a:cubicBezTo>
                    <a:cubicBezTo>
                      <a:pt x="431006" y="241985"/>
                      <a:pt x="428874" y="239937"/>
                      <a:pt x="426244" y="238810"/>
                    </a:cubicBezTo>
                    <a:cubicBezTo>
                      <a:pt x="415569" y="234234"/>
                      <a:pt x="418839" y="238678"/>
                      <a:pt x="409575" y="234047"/>
                    </a:cubicBezTo>
                    <a:cubicBezTo>
                      <a:pt x="405700" y="232110"/>
                      <a:pt x="395608" y="224032"/>
                      <a:pt x="392906" y="222141"/>
                    </a:cubicBezTo>
                    <a:cubicBezTo>
                      <a:pt x="388217" y="218859"/>
                      <a:pt x="383381" y="215791"/>
                      <a:pt x="378619" y="212616"/>
                    </a:cubicBezTo>
                    <a:cubicBezTo>
                      <a:pt x="376238" y="211028"/>
                      <a:pt x="374252" y="208547"/>
                      <a:pt x="371475" y="207853"/>
                    </a:cubicBezTo>
                    <a:cubicBezTo>
                      <a:pt x="354090" y="203507"/>
                      <a:pt x="365176" y="206118"/>
                      <a:pt x="338137" y="200710"/>
                    </a:cubicBezTo>
                    <a:cubicBezTo>
                      <a:pt x="334168" y="199916"/>
                      <a:pt x="330071" y="199608"/>
                      <a:pt x="326231" y="198328"/>
                    </a:cubicBezTo>
                    <a:cubicBezTo>
                      <a:pt x="308839" y="192531"/>
                      <a:pt x="316814" y="194783"/>
                      <a:pt x="302419" y="191185"/>
                    </a:cubicBezTo>
                    <a:cubicBezTo>
                      <a:pt x="299244" y="188804"/>
                      <a:pt x="295435" y="187090"/>
                      <a:pt x="292894" y="184041"/>
                    </a:cubicBezTo>
                    <a:cubicBezTo>
                      <a:pt x="291287" y="182113"/>
                      <a:pt x="291501" y="179204"/>
                      <a:pt x="290512" y="176897"/>
                    </a:cubicBezTo>
                    <a:cubicBezTo>
                      <a:pt x="289114" y="173634"/>
                      <a:pt x="286873" y="170740"/>
                      <a:pt x="285750" y="167372"/>
                    </a:cubicBezTo>
                    <a:cubicBezTo>
                      <a:pt x="283680" y="161162"/>
                      <a:pt x="280987" y="148322"/>
                      <a:pt x="280987" y="148322"/>
                    </a:cubicBezTo>
                    <a:cubicBezTo>
                      <a:pt x="280550" y="144391"/>
                      <a:pt x="280103" y="126727"/>
                      <a:pt x="276225" y="119747"/>
                    </a:cubicBezTo>
                    <a:cubicBezTo>
                      <a:pt x="270445" y="109343"/>
                      <a:pt x="265856" y="103531"/>
                      <a:pt x="257175" y="95935"/>
                    </a:cubicBezTo>
                    <a:cubicBezTo>
                      <a:pt x="254188" y="93322"/>
                      <a:pt x="250663" y="91374"/>
                      <a:pt x="247650" y="88791"/>
                    </a:cubicBezTo>
                    <a:cubicBezTo>
                      <a:pt x="245093" y="86599"/>
                      <a:pt x="243093" y="83803"/>
                      <a:pt x="240506" y="81647"/>
                    </a:cubicBezTo>
                    <a:cubicBezTo>
                      <a:pt x="238307" y="79815"/>
                      <a:pt x="235501" y="78786"/>
                      <a:pt x="233362" y="76885"/>
                    </a:cubicBezTo>
                    <a:cubicBezTo>
                      <a:pt x="214086" y="59751"/>
                      <a:pt x="226662" y="65126"/>
                      <a:pt x="211931" y="60216"/>
                    </a:cubicBezTo>
                    <a:cubicBezTo>
                      <a:pt x="196850" y="61010"/>
                      <a:pt x="181727" y="61230"/>
                      <a:pt x="166687" y="62597"/>
                    </a:cubicBezTo>
                    <a:cubicBezTo>
                      <a:pt x="164188" y="62824"/>
                      <a:pt x="161789" y="63856"/>
                      <a:pt x="159544" y="64978"/>
                    </a:cubicBezTo>
                    <a:cubicBezTo>
                      <a:pt x="156984" y="66258"/>
                      <a:pt x="154781" y="68153"/>
                      <a:pt x="152400" y="69741"/>
                    </a:cubicBezTo>
                    <a:cubicBezTo>
                      <a:pt x="153194" y="72916"/>
                      <a:pt x="152737" y="76710"/>
                      <a:pt x="154781" y="79266"/>
                    </a:cubicBezTo>
                    <a:cubicBezTo>
                      <a:pt x="156349" y="81226"/>
                      <a:pt x="159965" y="80079"/>
                      <a:pt x="161925" y="81647"/>
                    </a:cubicBezTo>
                    <a:cubicBezTo>
                      <a:pt x="164160" y="83435"/>
                      <a:pt x="165100" y="86410"/>
                      <a:pt x="166687" y="88791"/>
                    </a:cubicBezTo>
                    <a:cubicBezTo>
                      <a:pt x="167481" y="94347"/>
                      <a:pt x="167807" y="99991"/>
                      <a:pt x="169069" y="105460"/>
                    </a:cubicBezTo>
                    <a:cubicBezTo>
                      <a:pt x="170198" y="110351"/>
                      <a:pt x="172244" y="114985"/>
                      <a:pt x="173831" y="119747"/>
                    </a:cubicBezTo>
                    <a:cubicBezTo>
                      <a:pt x="175560" y="124934"/>
                      <a:pt x="179990" y="136990"/>
                      <a:pt x="178594" y="141178"/>
                    </a:cubicBezTo>
                    <a:cubicBezTo>
                      <a:pt x="177689" y="143893"/>
                      <a:pt x="175419" y="136416"/>
                      <a:pt x="173831" y="134035"/>
                    </a:cubicBezTo>
                    <a:cubicBezTo>
                      <a:pt x="165955" y="110403"/>
                      <a:pt x="179169" y="146501"/>
                      <a:pt x="164306" y="119747"/>
                    </a:cubicBezTo>
                    <a:cubicBezTo>
                      <a:pt x="160229" y="112408"/>
                      <a:pt x="161422" y="104127"/>
                      <a:pt x="154781" y="98316"/>
                    </a:cubicBezTo>
                    <a:cubicBezTo>
                      <a:pt x="146638" y="91191"/>
                      <a:pt x="138563" y="87353"/>
                      <a:pt x="128587" y="84028"/>
                    </a:cubicBezTo>
                    <a:cubicBezTo>
                      <a:pt x="121257" y="81585"/>
                      <a:pt x="114701" y="81152"/>
                      <a:pt x="107156" y="79266"/>
                    </a:cubicBezTo>
                    <a:cubicBezTo>
                      <a:pt x="101217" y="77781"/>
                      <a:pt x="95790" y="75153"/>
                      <a:pt x="90487" y="72122"/>
                    </a:cubicBezTo>
                    <a:cubicBezTo>
                      <a:pt x="88002" y="70702"/>
                      <a:pt x="85829" y="68780"/>
                      <a:pt x="83344" y="67360"/>
                    </a:cubicBezTo>
                    <a:cubicBezTo>
                      <a:pt x="80262" y="65599"/>
                      <a:pt x="76994" y="64185"/>
                      <a:pt x="73819" y="62597"/>
                    </a:cubicBezTo>
                    <a:lnTo>
                      <a:pt x="64294" y="48310"/>
                    </a:lnTo>
                    <a:lnTo>
                      <a:pt x="59531" y="41166"/>
                    </a:lnTo>
                    <a:cubicBezTo>
                      <a:pt x="58737" y="38785"/>
                      <a:pt x="58273" y="36267"/>
                      <a:pt x="57150" y="34022"/>
                    </a:cubicBezTo>
                    <a:cubicBezTo>
                      <a:pt x="55870" y="31462"/>
                      <a:pt x="50006" y="4257"/>
                      <a:pt x="47625" y="68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78" name="Freeform 177"/>
              <p:cNvSpPr/>
              <p:nvPr/>
            </p:nvSpPr>
            <p:spPr>
              <a:xfrm>
                <a:off x="2634342" y="2831986"/>
                <a:ext cx="113444" cy="140494"/>
              </a:xfrm>
              <a:custGeom>
                <a:avLst/>
                <a:gdLst>
                  <a:gd name="connsiteX0" fmla="*/ 19050 w 113444"/>
                  <a:gd name="connsiteY0" fmla="*/ 28575 h 140494"/>
                  <a:gd name="connsiteX1" fmla="*/ 30956 w 113444"/>
                  <a:gd name="connsiteY1" fmla="*/ 19050 h 140494"/>
                  <a:gd name="connsiteX2" fmla="*/ 40481 w 113444"/>
                  <a:gd name="connsiteY2" fmla="*/ 4762 h 140494"/>
                  <a:gd name="connsiteX3" fmla="*/ 54769 w 113444"/>
                  <a:gd name="connsiteY3" fmla="*/ 0 h 140494"/>
                  <a:gd name="connsiteX4" fmla="*/ 66675 w 113444"/>
                  <a:gd name="connsiteY4" fmla="*/ 2381 h 140494"/>
                  <a:gd name="connsiteX5" fmla="*/ 69056 w 113444"/>
                  <a:gd name="connsiteY5" fmla="*/ 9525 h 140494"/>
                  <a:gd name="connsiteX6" fmla="*/ 71438 w 113444"/>
                  <a:gd name="connsiteY6" fmla="*/ 21431 h 140494"/>
                  <a:gd name="connsiteX7" fmla="*/ 80963 w 113444"/>
                  <a:gd name="connsiteY7" fmla="*/ 33337 h 140494"/>
                  <a:gd name="connsiteX8" fmla="*/ 83344 w 113444"/>
                  <a:gd name="connsiteY8" fmla="*/ 40481 h 140494"/>
                  <a:gd name="connsiteX9" fmla="*/ 100013 w 113444"/>
                  <a:gd name="connsiteY9" fmla="*/ 59531 h 140494"/>
                  <a:gd name="connsiteX10" fmla="*/ 107156 w 113444"/>
                  <a:gd name="connsiteY10" fmla="*/ 61912 h 140494"/>
                  <a:gd name="connsiteX11" fmla="*/ 109538 w 113444"/>
                  <a:gd name="connsiteY11" fmla="*/ 95250 h 140494"/>
                  <a:gd name="connsiteX12" fmla="*/ 104775 w 113444"/>
                  <a:gd name="connsiteY12" fmla="*/ 109537 h 140494"/>
                  <a:gd name="connsiteX13" fmla="*/ 90488 w 113444"/>
                  <a:gd name="connsiteY13" fmla="*/ 119062 h 140494"/>
                  <a:gd name="connsiteX14" fmla="*/ 76200 w 113444"/>
                  <a:gd name="connsiteY14" fmla="*/ 123825 h 140494"/>
                  <a:gd name="connsiteX15" fmla="*/ 54769 w 113444"/>
                  <a:gd name="connsiteY15" fmla="*/ 135731 h 140494"/>
                  <a:gd name="connsiteX16" fmla="*/ 47625 w 113444"/>
                  <a:gd name="connsiteY16" fmla="*/ 138112 h 140494"/>
                  <a:gd name="connsiteX17" fmla="*/ 40481 w 113444"/>
                  <a:gd name="connsiteY17" fmla="*/ 140494 h 140494"/>
                  <a:gd name="connsiteX18" fmla="*/ 16669 w 113444"/>
                  <a:gd name="connsiteY18" fmla="*/ 138112 h 140494"/>
                  <a:gd name="connsiteX19" fmla="*/ 19050 w 113444"/>
                  <a:gd name="connsiteY19" fmla="*/ 130969 h 140494"/>
                  <a:gd name="connsiteX20" fmla="*/ 33338 w 113444"/>
                  <a:gd name="connsiteY20" fmla="*/ 121444 h 140494"/>
                  <a:gd name="connsiteX21" fmla="*/ 40481 w 113444"/>
                  <a:gd name="connsiteY21" fmla="*/ 116681 h 140494"/>
                  <a:gd name="connsiteX22" fmla="*/ 42863 w 113444"/>
                  <a:gd name="connsiteY22" fmla="*/ 109537 h 140494"/>
                  <a:gd name="connsiteX23" fmla="*/ 40481 w 113444"/>
                  <a:gd name="connsiteY23" fmla="*/ 97631 h 140494"/>
                  <a:gd name="connsiteX24" fmla="*/ 19050 w 113444"/>
                  <a:gd name="connsiteY24" fmla="*/ 85725 h 140494"/>
                  <a:gd name="connsiteX25" fmla="*/ 16669 w 113444"/>
                  <a:gd name="connsiteY25" fmla="*/ 78581 h 140494"/>
                  <a:gd name="connsiteX26" fmla="*/ 14288 w 113444"/>
                  <a:gd name="connsiteY26" fmla="*/ 61912 h 140494"/>
                  <a:gd name="connsiteX27" fmla="*/ 7144 w 113444"/>
                  <a:gd name="connsiteY27" fmla="*/ 57150 h 140494"/>
                  <a:gd name="connsiteX28" fmla="*/ 0 w 113444"/>
                  <a:gd name="connsiteY28" fmla="*/ 50006 h 140494"/>
                  <a:gd name="connsiteX29" fmla="*/ 19050 w 113444"/>
                  <a:gd name="connsiteY29" fmla="*/ 28575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444" h="140494">
                    <a:moveTo>
                      <a:pt x="19050" y="28575"/>
                    </a:moveTo>
                    <a:cubicBezTo>
                      <a:pt x="24209" y="23416"/>
                      <a:pt x="27556" y="22828"/>
                      <a:pt x="30956" y="19050"/>
                    </a:cubicBezTo>
                    <a:cubicBezTo>
                      <a:pt x="34785" y="14795"/>
                      <a:pt x="35051" y="6572"/>
                      <a:pt x="40481" y="4762"/>
                    </a:cubicBezTo>
                    <a:lnTo>
                      <a:pt x="54769" y="0"/>
                    </a:lnTo>
                    <a:cubicBezTo>
                      <a:pt x="58738" y="794"/>
                      <a:pt x="63308" y="136"/>
                      <a:pt x="66675" y="2381"/>
                    </a:cubicBezTo>
                    <a:cubicBezTo>
                      <a:pt x="68764" y="3773"/>
                      <a:pt x="68447" y="7090"/>
                      <a:pt x="69056" y="9525"/>
                    </a:cubicBezTo>
                    <a:cubicBezTo>
                      <a:pt x="70038" y="13451"/>
                      <a:pt x="70456" y="17505"/>
                      <a:pt x="71438" y="21431"/>
                    </a:cubicBezTo>
                    <a:cubicBezTo>
                      <a:pt x="73739" y="30633"/>
                      <a:pt x="72853" y="27931"/>
                      <a:pt x="80963" y="33337"/>
                    </a:cubicBezTo>
                    <a:cubicBezTo>
                      <a:pt x="81757" y="35718"/>
                      <a:pt x="82125" y="38287"/>
                      <a:pt x="83344" y="40481"/>
                    </a:cubicBezTo>
                    <a:cubicBezTo>
                      <a:pt x="88840" y="50375"/>
                      <a:pt x="90914" y="54982"/>
                      <a:pt x="100013" y="59531"/>
                    </a:cubicBezTo>
                    <a:cubicBezTo>
                      <a:pt x="102258" y="60653"/>
                      <a:pt x="104775" y="61118"/>
                      <a:pt x="107156" y="61912"/>
                    </a:cubicBezTo>
                    <a:cubicBezTo>
                      <a:pt x="116141" y="75388"/>
                      <a:pt x="114143" y="69154"/>
                      <a:pt x="109538" y="95250"/>
                    </a:cubicBezTo>
                    <a:cubicBezTo>
                      <a:pt x="108666" y="100194"/>
                      <a:pt x="108952" y="106752"/>
                      <a:pt x="104775" y="109537"/>
                    </a:cubicBezTo>
                    <a:cubicBezTo>
                      <a:pt x="100013" y="112712"/>
                      <a:pt x="95918" y="117252"/>
                      <a:pt x="90488" y="119062"/>
                    </a:cubicBezTo>
                    <a:lnTo>
                      <a:pt x="76200" y="123825"/>
                    </a:lnTo>
                    <a:cubicBezTo>
                      <a:pt x="65507" y="134518"/>
                      <a:pt x="72251" y="129904"/>
                      <a:pt x="54769" y="135731"/>
                    </a:cubicBezTo>
                    <a:lnTo>
                      <a:pt x="47625" y="138112"/>
                    </a:lnTo>
                    <a:lnTo>
                      <a:pt x="40481" y="140494"/>
                    </a:lnTo>
                    <a:cubicBezTo>
                      <a:pt x="32544" y="139700"/>
                      <a:pt x="23958" y="141352"/>
                      <a:pt x="16669" y="138112"/>
                    </a:cubicBezTo>
                    <a:cubicBezTo>
                      <a:pt x="14376" y="137093"/>
                      <a:pt x="17275" y="132744"/>
                      <a:pt x="19050" y="130969"/>
                    </a:cubicBezTo>
                    <a:cubicBezTo>
                      <a:pt x="23098" y="126922"/>
                      <a:pt x="28575" y="124619"/>
                      <a:pt x="33338" y="121444"/>
                    </a:cubicBezTo>
                    <a:lnTo>
                      <a:pt x="40481" y="116681"/>
                    </a:lnTo>
                    <a:cubicBezTo>
                      <a:pt x="41275" y="114300"/>
                      <a:pt x="42863" y="112047"/>
                      <a:pt x="42863" y="109537"/>
                    </a:cubicBezTo>
                    <a:cubicBezTo>
                      <a:pt x="42863" y="105490"/>
                      <a:pt x="42966" y="100826"/>
                      <a:pt x="40481" y="97631"/>
                    </a:cubicBezTo>
                    <a:cubicBezTo>
                      <a:pt x="34748" y="90261"/>
                      <a:pt x="26957" y="88360"/>
                      <a:pt x="19050" y="85725"/>
                    </a:cubicBezTo>
                    <a:cubicBezTo>
                      <a:pt x="18256" y="83344"/>
                      <a:pt x="17161" y="81042"/>
                      <a:pt x="16669" y="78581"/>
                    </a:cubicBezTo>
                    <a:cubicBezTo>
                      <a:pt x="15568" y="73077"/>
                      <a:pt x="16568" y="67041"/>
                      <a:pt x="14288" y="61912"/>
                    </a:cubicBezTo>
                    <a:cubicBezTo>
                      <a:pt x="13126" y="59297"/>
                      <a:pt x="9343" y="58982"/>
                      <a:pt x="7144" y="57150"/>
                    </a:cubicBezTo>
                    <a:cubicBezTo>
                      <a:pt x="4557" y="54994"/>
                      <a:pt x="2381" y="52387"/>
                      <a:pt x="0" y="50006"/>
                    </a:cubicBezTo>
                    <a:cubicBezTo>
                      <a:pt x="2632" y="42109"/>
                      <a:pt x="13891" y="33734"/>
                      <a:pt x="19050" y="2857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79" name="Freeform 178"/>
              <p:cNvSpPr/>
              <p:nvPr/>
            </p:nvSpPr>
            <p:spPr>
              <a:xfrm>
                <a:off x="2574157" y="2920904"/>
                <a:ext cx="63390" cy="111107"/>
              </a:xfrm>
              <a:custGeom>
                <a:avLst/>
                <a:gdLst>
                  <a:gd name="connsiteX0" fmla="*/ 654 w 63390"/>
                  <a:gd name="connsiteY0" fmla="*/ 1569 h 111107"/>
                  <a:gd name="connsiteX1" fmla="*/ 5416 w 63390"/>
                  <a:gd name="connsiteY1" fmla="*/ 20619 h 111107"/>
                  <a:gd name="connsiteX2" fmla="*/ 10179 w 63390"/>
                  <a:gd name="connsiteY2" fmla="*/ 27763 h 111107"/>
                  <a:gd name="connsiteX3" fmla="*/ 14941 w 63390"/>
                  <a:gd name="connsiteY3" fmla="*/ 53957 h 111107"/>
                  <a:gd name="connsiteX4" fmla="*/ 19704 w 63390"/>
                  <a:gd name="connsiteY4" fmla="*/ 68244 h 111107"/>
                  <a:gd name="connsiteX5" fmla="*/ 26848 w 63390"/>
                  <a:gd name="connsiteY5" fmla="*/ 82532 h 111107"/>
                  <a:gd name="connsiteX6" fmla="*/ 38754 w 63390"/>
                  <a:gd name="connsiteY6" fmla="*/ 111107 h 111107"/>
                  <a:gd name="connsiteX7" fmla="*/ 45898 w 63390"/>
                  <a:gd name="connsiteY7" fmla="*/ 108726 h 111107"/>
                  <a:gd name="connsiteX8" fmla="*/ 60185 w 63390"/>
                  <a:gd name="connsiteY8" fmla="*/ 99201 h 111107"/>
                  <a:gd name="connsiteX9" fmla="*/ 60185 w 63390"/>
                  <a:gd name="connsiteY9" fmla="*/ 65863 h 111107"/>
                  <a:gd name="connsiteX10" fmla="*/ 57804 w 63390"/>
                  <a:gd name="connsiteY10" fmla="*/ 58719 h 111107"/>
                  <a:gd name="connsiteX11" fmla="*/ 50660 w 63390"/>
                  <a:gd name="connsiteY11" fmla="*/ 53957 h 111107"/>
                  <a:gd name="connsiteX12" fmla="*/ 36373 w 63390"/>
                  <a:gd name="connsiteY12" fmla="*/ 39669 h 111107"/>
                  <a:gd name="connsiteX13" fmla="*/ 29229 w 63390"/>
                  <a:gd name="connsiteY13" fmla="*/ 13476 h 111107"/>
                  <a:gd name="connsiteX14" fmla="*/ 26848 w 63390"/>
                  <a:gd name="connsiteY14" fmla="*/ 3951 h 111107"/>
                  <a:gd name="connsiteX15" fmla="*/ 19704 w 63390"/>
                  <a:gd name="connsiteY15" fmla="*/ 1569 h 111107"/>
                  <a:gd name="connsiteX16" fmla="*/ 654 w 63390"/>
                  <a:gd name="connsiteY16" fmla="*/ 1569 h 11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90" h="111107">
                    <a:moveTo>
                      <a:pt x="654" y="1569"/>
                    </a:moveTo>
                    <a:cubicBezTo>
                      <a:pt x="-1727" y="4744"/>
                      <a:pt x="2975" y="15738"/>
                      <a:pt x="5416" y="20619"/>
                    </a:cubicBezTo>
                    <a:cubicBezTo>
                      <a:pt x="6696" y="23179"/>
                      <a:pt x="8591" y="25382"/>
                      <a:pt x="10179" y="27763"/>
                    </a:cubicBezTo>
                    <a:cubicBezTo>
                      <a:pt x="16697" y="47320"/>
                      <a:pt x="6860" y="16249"/>
                      <a:pt x="14941" y="53957"/>
                    </a:cubicBezTo>
                    <a:cubicBezTo>
                      <a:pt x="15993" y="58866"/>
                      <a:pt x="16920" y="64067"/>
                      <a:pt x="19704" y="68244"/>
                    </a:cubicBezTo>
                    <a:cubicBezTo>
                      <a:pt x="24094" y="74829"/>
                      <a:pt x="25109" y="74995"/>
                      <a:pt x="26848" y="82532"/>
                    </a:cubicBezTo>
                    <a:cubicBezTo>
                      <a:pt x="33140" y="109796"/>
                      <a:pt x="24533" y="101625"/>
                      <a:pt x="38754" y="111107"/>
                    </a:cubicBezTo>
                    <a:cubicBezTo>
                      <a:pt x="41135" y="110313"/>
                      <a:pt x="43704" y="109945"/>
                      <a:pt x="45898" y="108726"/>
                    </a:cubicBezTo>
                    <a:cubicBezTo>
                      <a:pt x="50901" y="105946"/>
                      <a:pt x="60185" y="99201"/>
                      <a:pt x="60185" y="99201"/>
                    </a:cubicBezTo>
                    <a:cubicBezTo>
                      <a:pt x="65039" y="84636"/>
                      <a:pt x="63836" y="91427"/>
                      <a:pt x="60185" y="65863"/>
                    </a:cubicBezTo>
                    <a:cubicBezTo>
                      <a:pt x="59830" y="63378"/>
                      <a:pt x="59372" y="60679"/>
                      <a:pt x="57804" y="58719"/>
                    </a:cubicBezTo>
                    <a:cubicBezTo>
                      <a:pt x="56016" y="56484"/>
                      <a:pt x="52799" y="55858"/>
                      <a:pt x="50660" y="53957"/>
                    </a:cubicBezTo>
                    <a:cubicBezTo>
                      <a:pt x="45626" y="49482"/>
                      <a:pt x="36373" y="39669"/>
                      <a:pt x="36373" y="39669"/>
                    </a:cubicBezTo>
                    <a:cubicBezTo>
                      <a:pt x="28939" y="17371"/>
                      <a:pt x="33716" y="33668"/>
                      <a:pt x="29229" y="13476"/>
                    </a:cubicBezTo>
                    <a:cubicBezTo>
                      <a:pt x="28519" y="10281"/>
                      <a:pt x="28892" y="6507"/>
                      <a:pt x="26848" y="3951"/>
                    </a:cubicBezTo>
                    <a:cubicBezTo>
                      <a:pt x="25280" y="1991"/>
                      <a:pt x="22035" y="2501"/>
                      <a:pt x="19704" y="1569"/>
                    </a:cubicBezTo>
                    <a:cubicBezTo>
                      <a:pt x="18056" y="910"/>
                      <a:pt x="3035" y="-1606"/>
                      <a:pt x="654" y="15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0" name="Freeform 179"/>
              <p:cNvSpPr/>
              <p:nvPr/>
            </p:nvSpPr>
            <p:spPr>
              <a:xfrm>
                <a:off x="2646208" y="3058205"/>
                <a:ext cx="169109" cy="126206"/>
              </a:xfrm>
              <a:custGeom>
                <a:avLst/>
                <a:gdLst>
                  <a:gd name="connsiteX0" fmla="*/ 40 w 169109"/>
                  <a:gd name="connsiteY0" fmla="*/ 42862 h 126206"/>
                  <a:gd name="connsiteX1" fmla="*/ 35759 w 169109"/>
                  <a:gd name="connsiteY1" fmla="*/ 45243 h 126206"/>
                  <a:gd name="connsiteX2" fmla="*/ 47665 w 169109"/>
                  <a:gd name="connsiteY2" fmla="*/ 57150 h 126206"/>
                  <a:gd name="connsiteX3" fmla="*/ 54809 w 169109"/>
                  <a:gd name="connsiteY3" fmla="*/ 61912 h 126206"/>
                  <a:gd name="connsiteX4" fmla="*/ 66715 w 169109"/>
                  <a:gd name="connsiteY4" fmla="*/ 76200 h 126206"/>
                  <a:gd name="connsiteX5" fmla="*/ 73859 w 169109"/>
                  <a:gd name="connsiteY5" fmla="*/ 80962 h 126206"/>
                  <a:gd name="connsiteX6" fmla="*/ 85765 w 169109"/>
                  <a:gd name="connsiteY6" fmla="*/ 102393 h 126206"/>
                  <a:gd name="connsiteX7" fmla="*/ 92909 w 169109"/>
                  <a:gd name="connsiteY7" fmla="*/ 107156 h 126206"/>
                  <a:gd name="connsiteX8" fmla="*/ 102434 w 169109"/>
                  <a:gd name="connsiteY8" fmla="*/ 121443 h 126206"/>
                  <a:gd name="connsiteX9" fmla="*/ 116722 w 169109"/>
                  <a:gd name="connsiteY9" fmla="*/ 126206 h 126206"/>
                  <a:gd name="connsiteX10" fmla="*/ 157203 w 169109"/>
                  <a:gd name="connsiteY10" fmla="*/ 123825 h 126206"/>
                  <a:gd name="connsiteX11" fmla="*/ 164347 w 169109"/>
                  <a:gd name="connsiteY11" fmla="*/ 119062 h 126206"/>
                  <a:gd name="connsiteX12" fmla="*/ 169109 w 169109"/>
                  <a:gd name="connsiteY12" fmla="*/ 104775 h 126206"/>
                  <a:gd name="connsiteX13" fmla="*/ 166728 w 169109"/>
                  <a:gd name="connsiteY13" fmla="*/ 92868 h 126206"/>
                  <a:gd name="connsiteX14" fmla="*/ 152440 w 169109"/>
                  <a:gd name="connsiteY14" fmla="*/ 83343 h 126206"/>
                  <a:gd name="connsiteX15" fmla="*/ 138153 w 169109"/>
                  <a:gd name="connsiteY15" fmla="*/ 76200 h 126206"/>
                  <a:gd name="connsiteX16" fmla="*/ 131009 w 169109"/>
                  <a:gd name="connsiteY16" fmla="*/ 71437 h 126206"/>
                  <a:gd name="connsiteX17" fmla="*/ 116722 w 169109"/>
                  <a:gd name="connsiteY17" fmla="*/ 59531 h 126206"/>
                  <a:gd name="connsiteX18" fmla="*/ 111959 w 169109"/>
                  <a:gd name="connsiteY18" fmla="*/ 52387 h 126206"/>
                  <a:gd name="connsiteX19" fmla="*/ 109578 w 169109"/>
                  <a:gd name="connsiteY19" fmla="*/ 45243 h 126206"/>
                  <a:gd name="connsiteX20" fmla="*/ 102434 w 169109"/>
                  <a:gd name="connsiteY20" fmla="*/ 38100 h 126206"/>
                  <a:gd name="connsiteX21" fmla="*/ 97672 w 169109"/>
                  <a:gd name="connsiteY21" fmla="*/ 21431 h 126206"/>
                  <a:gd name="connsiteX22" fmla="*/ 88147 w 169109"/>
                  <a:gd name="connsiteY22" fmla="*/ 7143 h 126206"/>
                  <a:gd name="connsiteX23" fmla="*/ 73859 w 169109"/>
                  <a:gd name="connsiteY23" fmla="*/ 2381 h 126206"/>
                  <a:gd name="connsiteX24" fmla="*/ 66715 w 169109"/>
                  <a:gd name="connsiteY24" fmla="*/ 0 h 126206"/>
                  <a:gd name="connsiteX25" fmla="*/ 42903 w 169109"/>
                  <a:gd name="connsiteY25" fmla="*/ 2381 h 126206"/>
                  <a:gd name="connsiteX26" fmla="*/ 40 w 169109"/>
                  <a:gd name="connsiteY26" fmla="*/ 42862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9109" h="126206">
                    <a:moveTo>
                      <a:pt x="40" y="42862"/>
                    </a:moveTo>
                    <a:cubicBezTo>
                      <a:pt x="-1151" y="50006"/>
                      <a:pt x="23989" y="43281"/>
                      <a:pt x="35759" y="45243"/>
                    </a:cubicBezTo>
                    <a:cubicBezTo>
                      <a:pt x="43380" y="46513"/>
                      <a:pt x="43220" y="52705"/>
                      <a:pt x="47665" y="57150"/>
                    </a:cubicBezTo>
                    <a:cubicBezTo>
                      <a:pt x="49689" y="59174"/>
                      <a:pt x="52428" y="60325"/>
                      <a:pt x="54809" y="61912"/>
                    </a:cubicBezTo>
                    <a:cubicBezTo>
                      <a:pt x="59490" y="68934"/>
                      <a:pt x="59842" y="70473"/>
                      <a:pt x="66715" y="76200"/>
                    </a:cubicBezTo>
                    <a:cubicBezTo>
                      <a:pt x="68914" y="78032"/>
                      <a:pt x="71478" y="79375"/>
                      <a:pt x="73859" y="80962"/>
                    </a:cubicBezTo>
                    <a:cubicBezTo>
                      <a:pt x="76340" y="88407"/>
                      <a:pt x="78746" y="97713"/>
                      <a:pt x="85765" y="102393"/>
                    </a:cubicBezTo>
                    <a:lnTo>
                      <a:pt x="92909" y="107156"/>
                    </a:lnTo>
                    <a:cubicBezTo>
                      <a:pt x="96084" y="111918"/>
                      <a:pt x="97004" y="119633"/>
                      <a:pt x="102434" y="121443"/>
                    </a:cubicBezTo>
                    <a:lnTo>
                      <a:pt x="116722" y="126206"/>
                    </a:lnTo>
                    <a:cubicBezTo>
                      <a:pt x="130216" y="125412"/>
                      <a:pt x="143836" y="125830"/>
                      <a:pt x="157203" y="123825"/>
                    </a:cubicBezTo>
                    <a:cubicBezTo>
                      <a:pt x="160033" y="123400"/>
                      <a:pt x="162830" y="121489"/>
                      <a:pt x="164347" y="119062"/>
                    </a:cubicBezTo>
                    <a:cubicBezTo>
                      <a:pt x="167008" y="114805"/>
                      <a:pt x="169109" y="104775"/>
                      <a:pt x="169109" y="104775"/>
                    </a:cubicBezTo>
                    <a:cubicBezTo>
                      <a:pt x="168315" y="100806"/>
                      <a:pt x="169213" y="96063"/>
                      <a:pt x="166728" y="92868"/>
                    </a:cubicBezTo>
                    <a:cubicBezTo>
                      <a:pt x="163214" y="88350"/>
                      <a:pt x="157203" y="86518"/>
                      <a:pt x="152440" y="83343"/>
                    </a:cubicBezTo>
                    <a:cubicBezTo>
                      <a:pt x="143208" y="77188"/>
                      <a:pt x="148012" y="79486"/>
                      <a:pt x="138153" y="76200"/>
                    </a:cubicBezTo>
                    <a:cubicBezTo>
                      <a:pt x="135772" y="74612"/>
                      <a:pt x="133208" y="73269"/>
                      <a:pt x="131009" y="71437"/>
                    </a:cubicBezTo>
                    <a:cubicBezTo>
                      <a:pt x="112677" y="56160"/>
                      <a:pt x="134455" y="71353"/>
                      <a:pt x="116722" y="59531"/>
                    </a:cubicBezTo>
                    <a:cubicBezTo>
                      <a:pt x="115134" y="57150"/>
                      <a:pt x="113239" y="54947"/>
                      <a:pt x="111959" y="52387"/>
                    </a:cubicBezTo>
                    <a:cubicBezTo>
                      <a:pt x="110836" y="50142"/>
                      <a:pt x="110970" y="47332"/>
                      <a:pt x="109578" y="45243"/>
                    </a:cubicBezTo>
                    <a:cubicBezTo>
                      <a:pt x="107710" y="42441"/>
                      <a:pt x="104815" y="40481"/>
                      <a:pt x="102434" y="38100"/>
                    </a:cubicBezTo>
                    <a:cubicBezTo>
                      <a:pt x="101874" y="35859"/>
                      <a:pt x="99224" y="24225"/>
                      <a:pt x="97672" y="21431"/>
                    </a:cubicBezTo>
                    <a:cubicBezTo>
                      <a:pt x="94892" y="16427"/>
                      <a:pt x="93577" y="8953"/>
                      <a:pt x="88147" y="7143"/>
                    </a:cubicBezTo>
                    <a:lnTo>
                      <a:pt x="73859" y="2381"/>
                    </a:lnTo>
                    <a:lnTo>
                      <a:pt x="66715" y="0"/>
                    </a:lnTo>
                    <a:cubicBezTo>
                      <a:pt x="58778" y="794"/>
                      <a:pt x="50517" y="2"/>
                      <a:pt x="42903" y="2381"/>
                    </a:cubicBezTo>
                    <a:cubicBezTo>
                      <a:pt x="35522" y="4687"/>
                      <a:pt x="1231" y="35718"/>
                      <a:pt x="40" y="4286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1" name="Freeform 180"/>
              <p:cNvSpPr/>
              <p:nvPr/>
            </p:nvSpPr>
            <p:spPr>
              <a:xfrm>
                <a:off x="2500992" y="2893887"/>
                <a:ext cx="40481" cy="71449"/>
              </a:xfrm>
              <a:custGeom>
                <a:avLst/>
                <a:gdLst>
                  <a:gd name="connsiteX0" fmla="*/ 19050 w 40481"/>
                  <a:gd name="connsiteY0" fmla="*/ 11 h 71449"/>
                  <a:gd name="connsiteX1" fmla="*/ 2381 w 40481"/>
                  <a:gd name="connsiteY1" fmla="*/ 16680 h 71449"/>
                  <a:gd name="connsiteX2" fmla="*/ 0 w 40481"/>
                  <a:gd name="connsiteY2" fmla="*/ 23824 h 71449"/>
                  <a:gd name="connsiteX3" fmla="*/ 7144 w 40481"/>
                  <a:gd name="connsiteY3" fmla="*/ 57161 h 71449"/>
                  <a:gd name="connsiteX4" fmla="*/ 9525 w 40481"/>
                  <a:gd name="connsiteY4" fmla="*/ 64305 h 71449"/>
                  <a:gd name="connsiteX5" fmla="*/ 11906 w 40481"/>
                  <a:gd name="connsiteY5" fmla="*/ 71449 h 71449"/>
                  <a:gd name="connsiteX6" fmla="*/ 33338 w 40481"/>
                  <a:gd name="connsiteY6" fmla="*/ 69068 h 71449"/>
                  <a:gd name="connsiteX7" fmla="*/ 38100 w 40481"/>
                  <a:gd name="connsiteY7" fmla="*/ 61924 h 71449"/>
                  <a:gd name="connsiteX8" fmla="*/ 40481 w 40481"/>
                  <a:gd name="connsiteY8" fmla="*/ 30968 h 71449"/>
                  <a:gd name="connsiteX9" fmla="*/ 38100 w 40481"/>
                  <a:gd name="connsiteY9" fmla="*/ 14299 h 71449"/>
                  <a:gd name="connsiteX10" fmla="*/ 19050 w 40481"/>
                  <a:gd name="connsiteY10" fmla="*/ 11 h 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481" h="71449">
                    <a:moveTo>
                      <a:pt x="19050" y="11"/>
                    </a:moveTo>
                    <a:cubicBezTo>
                      <a:pt x="13097" y="408"/>
                      <a:pt x="6803" y="7835"/>
                      <a:pt x="2381" y="16680"/>
                    </a:cubicBezTo>
                    <a:cubicBezTo>
                      <a:pt x="1258" y="18925"/>
                      <a:pt x="794" y="21443"/>
                      <a:pt x="0" y="23824"/>
                    </a:cubicBezTo>
                    <a:cubicBezTo>
                      <a:pt x="3004" y="47859"/>
                      <a:pt x="357" y="36800"/>
                      <a:pt x="7144" y="57161"/>
                    </a:cubicBezTo>
                    <a:lnTo>
                      <a:pt x="9525" y="64305"/>
                    </a:lnTo>
                    <a:lnTo>
                      <a:pt x="11906" y="71449"/>
                    </a:lnTo>
                    <a:cubicBezTo>
                      <a:pt x="19050" y="70655"/>
                      <a:pt x="26583" y="71524"/>
                      <a:pt x="33338" y="69068"/>
                    </a:cubicBezTo>
                    <a:cubicBezTo>
                      <a:pt x="36028" y="68090"/>
                      <a:pt x="37573" y="64737"/>
                      <a:pt x="38100" y="61924"/>
                    </a:cubicBezTo>
                    <a:cubicBezTo>
                      <a:pt x="40007" y="51752"/>
                      <a:pt x="39687" y="41287"/>
                      <a:pt x="40481" y="30968"/>
                    </a:cubicBezTo>
                    <a:cubicBezTo>
                      <a:pt x="39687" y="25412"/>
                      <a:pt x="41113" y="19034"/>
                      <a:pt x="38100" y="14299"/>
                    </a:cubicBezTo>
                    <a:cubicBezTo>
                      <a:pt x="35027" y="9470"/>
                      <a:pt x="25003" y="-386"/>
                      <a:pt x="19050" y="1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2" name="Freeform 181"/>
              <p:cNvSpPr/>
              <p:nvPr/>
            </p:nvSpPr>
            <p:spPr>
              <a:xfrm>
                <a:off x="2536403" y="2984386"/>
                <a:ext cx="39030" cy="66675"/>
              </a:xfrm>
              <a:custGeom>
                <a:avLst/>
                <a:gdLst>
                  <a:gd name="connsiteX0" fmla="*/ 2689 w 39030"/>
                  <a:gd name="connsiteY0" fmla="*/ 0 h 66675"/>
                  <a:gd name="connsiteX1" fmla="*/ 2689 w 39030"/>
                  <a:gd name="connsiteY1" fmla="*/ 40481 h 66675"/>
                  <a:gd name="connsiteX2" fmla="*/ 5070 w 39030"/>
                  <a:gd name="connsiteY2" fmla="*/ 61912 h 66675"/>
                  <a:gd name="connsiteX3" fmla="*/ 19358 w 39030"/>
                  <a:gd name="connsiteY3" fmla="*/ 66675 h 66675"/>
                  <a:gd name="connsiteX4" fmla="*/ 33645 w 39030"/>
                  <a:gd name="connsiteY4" fmla="*/ 64294 h 66675"/>
                  <a:gd name="connsiteX5" fmla="*/ 36027 w 39030"/>
                  <a:gd name="connsiteY5" fmla="*/ 30956 h 66675"/>
                  <a:gd name="connsiteX6" fmla="*/ 31264 w 39030"/>
                  <a:gd name="connsiteY6" fmla="*/ 14287 h 66675"/>
                  <a:gd name="connsiteX7" fmla="*/ 21739 w 39030"/>
                  <a:gd name="connsiteY7" fmla="*/ 0 h 66675"/>
                  <a:gd name="connsiteX8" fmla="*/ 2689 w 39030"/>
                  <a:gd name="connsiteY8" fmla="*/ 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30" h="66675">
                    <a:moveTo>
                      <a:pt x="2689" y="0"/>
                    </a:moveTo>
                    <a:cubicBezTo>
                      <a:pt x="-1455" y="20722"/>
                      <a:pt x="-291" y="9188"/>
                      <a:pt x="2689" y="40481"/>
                    </a:cubicBezTo>
                    <a:cubicBezTo>
                      <a:pt x="3370" y="47636"/>
                      <a:pt x="1211" y="55848"/>
                      <a:pt x="5070" y="61912"/>
                    </a:cubicBezTo>
                    <a:cubicBezTo>
                      <a:pt x="7765" y="66147"/>
                      <a:pt x="19358" y="66675"/>
                      <a:pt x="19358" y="66675"/>
                    </a:cubicBezTo>
                    <a:cubicBezTo>
                      <a:pt x="24120" y="65881"/>
                      <a:pt x="29327" y="66453"/>
                      <a:pt x="33645" y="64294"/>
                    </a:cubicBezTo>
                    <a:cubicBezTo>
                      <a:pt x="44097" y="59068"/>
                      <a:pt x="36137" y="31780"/>
                      <a:pt x="36027" y="30956"/>
                    </a:cubicBezTo>
                    <a:cubicBezTo>
                      <a:pt x="35811" y="29337"/>
                      <a:pt x="32551" y="16604"/>
                      <a:pt x="31264" y="14287"/>
                    </a:cubicBezTo>
                    <a:cubicBezTo>
                      <a:pt x="28484" y="9284"/>
                      <a:pt x="27463" y="0"/>
                      <a:pt x="21739" y="0"/>
                    </a:cubicBezTo>
                    <a:lnTo>
                      <a:pt x="2689"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3" name="Freeform 182"/>
              <p:cNvSpPr/>
              <p:nvPr/>
            </p:nvSpPr>
            <p:spPr>
              <a:xfrm>
                <a:off x="2648597" y="3136018"/>
                <a:ext cx="74819" cy="65062"/>
              </a:xfrm>
              <a:custGeom>
                <a:avLst/>
                <a:gdLst>
                  <a:gd name="connsiteX0" fmla="*/ 35751 w 74819"/>
                  <a:gd name="connsiteY0" fmla="*/ 768 h 65062"/>
                  <a:gd name="connsiteX1" fmla="*/ 23845 w 74819"/>
                  <a:gd name="connsiteY1" fmla="*/ 5530 h 65062"/>
                  <a:gd name="connsiteX2" fmla="*/ 9558 w 74819"/>
                  <a:gd name="connsiteY2" fmla="*/ 15055 h 65062"/>
                  <a:gd name="connsiteX3" fmla="*/ 33 w 74819"/>
                  <a:gd name="connsiteY3" fmla="*/ 29343 h 65062"/>
                  <a:gd name="connsiteX4" fmla="*/ 2414 w 74819"/>
                  <a:gd name="connsiteY4" fmla="*/ 53155 h 65062"/>
                  <a:gd name="connsiteX5" fmla="*/ 16701 w 74819"/>
                  <a:gd name="connsiteY5" fmla="*/ 57918 h 65062"/>
                  <a:gd name="connsiteX6" fmla="*/ 54801 w 74819"/>
                  <a:gd name="connsiteY6" fmla="*/ 62680 h 65062"/>
                  <a:gd name="connsiteX7" fmla="*/ 71470 w 74819"/>
                  <a:gd name="connsiteY7" fmla="*/ 65062 h 65062"/>
                  <a:gd name="connsiteX8" fmla="*/ 71470 w 74819"/>
                  <a:gd name="connsiteY8" fmla="*/ 34105 h 65062"/>
                  <a:gd name="connsiteX9" fmla="*/ 66708 w 74819"/>
                  <a:gd name="connsiteY9" fmla="*/ 26962 h 65062"/>
                  <a:gd name="connsiteX10" fmla="*/ 57183 w 74819"/>
                  <a:gd name="connsiteY10" fmla="*/ 22199 h 65062"/>
                  <a:gd name="connsiteX11" fmla="*/ 35751 w 74819"/>
                  <a:gd name="connsiteY11" fmla="*/ 768 h 6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819" h="65062">
                    <a:moveTo>
                      <a:pt x="35751" y="768"/>
                    </a:moveTo>
                    <a:cubicBezTo>
                      <a:pt x="30195" y="-2010"/>
                      <a:pt x="27597" y="3483"/>
                      <a:pt x="23845" y="5530"/>
                    </a:cubicBezTo>
                    <a:cubicBezTo>
                      <a:pt x="18820" y="8271"/>
                      <a:pt x="9558" y="15055"/>
                      <a:pt x="9558" y="15055"/>
                    </a:cubicBezTo>
                    <a:cubicBezTo>
                      <a:pt x="6383" y="19818"/>
                      <a:pt x="-537" y="23647"/>
                      <a:pt x="33" y="29343"/>
                    </a:cubicBezTo>
                    <a:cubicBezTo>
                      <a:pt x="827" y="37280"/>
                      <a:pt x="-1605" y="46265"/>
                      <a:pt x="2414" y="53155"/>
                    </a:cubicBezTo>
                    <a:cubicBezTo>
                      <a:pt x="4943" y="57491"/>
                      <a:pt x="11939" y="56330"/>
                      <a:pt x="16701" y="57918"/>
                    </a:cubicBezTo>
                    <a:cubicBezTo>
                      <a:pt x="34462" y="63839"/>
                      <a:pt x="18049" y="59004"/>
                      <a:pt x="54801" y="62680"/>
                    </a:cubicBezTo>
                    <a:cubicBezTo>
                      <a:pt x="60386" y="63239"/>
                      <a:pt x="65914" y="64268"/>
                      <a:pt x="71470" y="65062"/>
                    </a:cubicBezTo>
                    <a:cubicBezTo>
                      <a:pt x="75734" y="52269"/>
                      <a:pt x="76134" y="54316"/>
                      <a:pt x="71470" y="34105"/>
                    </a:cubicBezTo>
                    <a:cubicBezTo>
                      <a:pt x="70827" y="31317"/>
                      <a:pt x="68906" y="28794"/>
                      <a:pt x="66708" y="26962"/>
                    </a:cubicBezTo>
                    <a:cubicBezTo>
                      <a:pt x="63981" y="24689"/>
                      <a:pt x="60358" y="23787"/>
                      <a:pt x="57183" y="22199"/>
                    </a:cubicBezTo>
                    <a:cubicBezTo>
                      <a:pt x="51175" y="13187"/>
                      <a:pt x="41307" y="3546"/>
                      <a:pt x="35751" y="76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4" name="Freeform 183"/>
              <p:cNvSpPr/>
              <p:nvPr/>
            </p:nvSpPr>
            <p:spPr>
              <a:xfrm>
                <a:off x="802878" y="2770019"/>
                <a:ext cx="220194" cy="223892"/>
              </a:xfrm>
              <a:custGeom>
                <a:avLst/>
                <a:gdLst>
                  <a:gd name="connsiteX0" fmla="*/ 21714 w 220194"/>
                  <a:gd name="connsiteY0" fmla="*/ 4817 h 223892"/>
                  <a:gd name="connsiteX1" fmla="*/ 97914 w 220194"/>
                  <a:gd name="connsiteY1" fmla="*/ 7198 h 223892"/>
                  <a:gd name="connsiteX2" fmla="*/ 112202 w 220194"/>
                  <a:gd name="connsiteY2" fmla="*/ 21486 h 223892"/>
                  <a:gd name="connsiteX3" fmla="*/ 119345 w 220194"/>
                  <a:gd name="connsiteY3" fmla="*/ 28629 h 223892"/>
                  <a:gd name="connsiteX4" fmla="*/ 126489 w 220194"/>
                  <a:gd name="connsiteY4" fmla="*/ 35773 h 223892"/>
                  <a:gd name="connsiteX5" fmla="*/ 143158 w 220194"/>
                  <a:gd name="connsiteY5" fmla="*/ 54823 h 223892"/>
                  <a:gd name="connsiteX6" fmla="*/ 159827 w 220194"/>
                  <a:gd name="connsiteY6" fmla="*/ 73873 h 223892"/>
                  <a:gd name="connsiteX7" fmla="*/ 171733 w 220194"/>
                  <a:gd name="connsiteY7" fmla="*/ 85779 h 223892"/>
                  <a:gd name="connsiteX8" fmla="*/ 186020 w 220194"/>
                  <a:gd name="connsiteY8" fmla="*/ 100067 h 223892"/>
                  <a:gd name="connsiteX9" fmla="*/ 190783 w 220194"/>
                  <a:gd name="connsiteY9" fmla="*/ 107211 h 223892"/>
                  <a:gd name="connsiteX10" fmla="*/ 197927 w 220194"/>
                  <a:gd name="connsiteY10" fmla="*/ 109592 h 223892"/>
                  <a:gd name="connsiteX11" fmla="*/ 207452 w 220194"/>
                  <a:gd name="connsiteY11" fmla="*/ 123879 h 223892"/>
                  <a:gd name="connsiteX12" fmla="*/ 214595 w 220194"/>
                  <a:gd name="connsiteY12" fmla="*/ 147692 h 223892"/>
                  <a:gd name="connsiteX13" fmla="*/ 197927 w 220194"/>
                  <a:gd name="connsiteY13" fmla="*/ 223892 h 223892"/>
                  <a:gd name="connsiteX14" fmla="*/ 166970 w 220194"/>
                  <a:gd name="connsiteY14" fmla="*/ 221511 h 223892"/>
                  <a:gd name="connsiteX15" fmla="*/ 157445 w 220194"/>
                  <a:gd name="connsiteY15" fmla="*/ 219129 h 223892"/>
                  <a:gd name="connsiteX16" fmla="*/ 150302 w 220194"/>
                  <a:gd name="connsiteY16" fmla="*/ 204842 h 223892"/>
                  <a:gd name="connsiteX17" fmla="*/ 143158 w 220194"/>
                  <a:gd name="connsiteY17" fmla="*/ 166742 h 223892"/>
                  <a:gd name="connsiteX18" fmla="*/ 136014 w 220194"/>
                  <a:gd name="connsiteY18" fmla="*/ 161979 h 223892"/>
                  <a:gd name="connsiteX19" fmla="*/ 131252 w 220194"/>
                  <a:gd name="connsiteY19" fmla="*/ 154836 h 223892"/>
                  <a:gd name="connsiteX20" fmla="*/ 116964 w 220194"/>
                  <a:gd name="connsiteY20" fmla="*/ 145311 h 223892"/>
                  <a:gd name="connsiteX21" fmla="*/ 107439 w 220194"/>
                  <a:gd name="connsiteY21" fmla="*/ 138167 h 223892"/>
                  <a:gd name="connsiteX22" fmla="*/ 100295 w 220194"/>
                  <a:gd name="connsiteY22" fmla="*/ 135786 h 223892"/>
                  <a:gd name="connsiteX23" fmla="*/ 71720 w 220194"/>
                  <a:gd name="connsiteY23" fmla="*/ 133404 h 223892"/>
                  <a:gd name="connsiteX24" fmla="*/ 57433 w 220194"/>
                  <a:gd name="connsiteY24" fmla="*/ 123879 h 223892"/>
                  <a:gd name="connsiteX25" fmla="*/ 55052 w 220194"/>
                  <a:gd name="connsiteY25" fmla="*/ 116736 h 223892"/>
                  <a:gd name="connsiteX26" fmla="*/ 50289 w 220194"/>
                  <a:gd name="connsiteY26" fmla="*/ 92923 h 223892"/>
                  <a:gd name="connsiteX27" fmla="*/ 45527 w 220194"/>
                  <a:gd name="connsiteY27" fmla="*/ 78636 h 223892"/>
                  <a:gd name="connsiteX28" fmla="*/ 40764 w 220194"/>
                  <a:gd name="connsiteY28" fmla="*/ 71492 h 223892"/>
                  <a:gd name="connsiteX29" fmla="*/ 31239 w 220194"/>
                  <a:gd name="connsiteY29" fmla="*/ 59586 h 223892"/>
                  <a:gd name="connsiteX30" fmla="*/ 21714 w 220194"/>
                  <a:gd name="connsiteY30" fmla="*/ 47679 h 223892"/>
                  <a:gd name="connsiteX31" fmla="*/ 9808 w 220194"/>
                  <a:gd name="connsiteY31" fmla="*/ 35773 h 223892"/>
                  <a:gd name="connsiteX32" fmla="*/ 5045 w 220194"/>
                  <a:gd name="connsiteY32" fmla="*/ 28629 h 223892"/>
                  <a:gd name="connsiteX33" fmla="*/ 2664 w 220194"/>
                  <a:gd name="connsiteY33" fmla="*/ 2436 h 223892"/>
                  <a:gd name="connsiteX34" fmla="*/ 9808 w 220194"/>
                  <a:gd name="connsiteY34" fmla="*/ 54 h 223892"/>
                  <a:gd name="connsiteX35" fmla="*/ 21714 w 220194"/>
                  <a:gd name="connsiteY35" fmla="*/ 4817 h 223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194" h="223892">
                    <a:moveTo>
                      <a:pt x="21714" y="4817"/>
                    </a:moveTo>
                    <a:cubicBezTo>
                      <a:pt x="36398" y="6008"/>
                      <a:pt x="72922" y="2594"/>
                      <a:pt x="97914" y="7198"/>
                    </a:cubicBezTo>
                    <a:cubicBezTo>
                      <a:pt x="104538" y="8418"/>
                      <a:pt x="107439" y="16723"/>
                      <a:pt x="112202" y="21486"/>
                    </a:cubicBezTo>
                    <a:lnTo>
                      <a:pt x="119345" y="28629"/>
                    </a:lnTo>
                    <a:cubicBezTo>
                      <a:pt x="121726" y="31010"/>
                      <a:pt x="124621" y="32971"/>
                      <a:pt x="126489" y="35773"/>
                    </a:cubicBezTo>
                    <a:cubicBezTo>
                      <a:pt x="137601" y="52442"/>
                      <a:pt x="131251" y="46886"/>
                      <a:pt x="143158" y="54823"/>
                    </a:cubicBezTo>
                    <a:cubicBezTo>
                      <a:pt x="154270" y="71492"/>
                      <a:pt x="147920" y="65936"/>
                      <a:pt x="159827" y="73873"/>
                    </a:cubicBezTo>
                    <a:cubicBezTo>
                      <a:pt x="169641" y="88595"/>
                      <a:pt x="158743" y="74233"/>
                      <a:pt x="171733" y="85779"/>
                    </a:cubicBezTo>
                    <a:cubicBezTo>
                      <a:pt x="176767" y="90254"/>
                      <a:pt x="182284" y="94463"/>
                      <a:pt x="186020" y="100067"/>
                    </a:cubicBezTo>
                    <a:cubicBezTo>
                      <a:pt x="187608" y="102448"/>
                      <a:pt x="188548" y="105423"/>
                      <a:pt x="190783" y="107211"/>
                    </a:cubicBezTo>
                    <a:cubicBezTo>
                      <a:pt x="192743" y="108779"/>
                      <a:pt x="195546" y="108798"/>
                      <a:pt x="197927" y="109592"/>
                    </a:cubicBezTo>
                    <a:cubicBezTo>
                      <a:pt x="201102" y="114354"/>
                      <a:pt x="205642" y="118449"/>
                      <a:pt x="207452" y="123879"/>
                    </a:cubicBezTo>
                    <a:cubicBezTo>
                      <a:pt x="213249" y="141272"/>
                      <a:pt x="210997" y="133297"/>
                      <a:pt x="214595" y="147692"/>
                    </a:cubicBezTo>
                    <a:cubicBezTo>
                      <a:pt x="213116" y="193558"/>
                      <a:pt x="236291" y="223892"/>
                      <a:pt x="197927" y="223892"/>
                    </a:cubicBezTo>
                    <a:cubicBezTo>
                      <a:pt x="187578" y="223892"/>
                      <a:pt x="177289" y="222305"/>
                      <a:pt x="166970" y="221511"/>
                    </a:cubicBezTo>
                    <a:cubicBezTo>
                      <a:pt x="163795" y="220717"/>
                      <a:pt x="160168" y="220944"/>
                      <a:pt x="157445" y="219129"/>
                    </a:cubicBezTo>
                    <a:cubicBezTo>
                      <a:pt x="153488" y="216491"/>
                      <a:pt x="151660" y="208917"/>
                      <a:pt x="150302" y="204842"/>
                    </a:cubicBezTo>
                    <a:cubicBezTo>
                      <a:pt x="149284" y="191610"/>
                      <a:pt x="153222" y="176807"/>
                      <a:pt x="143158" y="166742"/>
                    </a:cubicBezTo>
                    <a:cubicBezTo>
                      <a:pt x="141134" y="164718"/>
                      <a:pt x="138395" y="163567"/>
                      <a:pt x="136014" y="161979"/>
                    </a:cubicBezTo>
                    <a:cubicBezTo>
                      <a:pt x="134427" y="159598"/>
                      <a:pt x="133406" y="156720"/>
                      <a:pt x="131252" y="154836"/>
                    </a:cubicBezTo>
                    <a:cubicBezTo>
                      <a:pt x="126944" y="151067"/>
                      <a:pt x="121543" y="148745"/>
                      <a:pt x="116964" y="145311"/>
                    </a:cubicBezTo>
                    <a:cubicBezTo>
                      <a:pt x="113789" y="142930"/>
                      <a:pt x="110885" y="140136"/>
                      <a:pt x="107439" y="138167"/>
                    </a:cubicBezTo>
                    <a:cubicBezTo>
                      <a:pt x="105260" y="136922"/>
                      <a:pt x="102783" y="136118"/>
                      <a:pt x="100295" y="135786"/>
                    </a:cubicBezTo>
                    <a:cubicBezTo>
                      <a:pt x="90821" y="134523"/>
                      <a:pt x="81245" y="134198"/>
                      <a:pt x="71720" y="133404"/>
                    </a:cubicBezTo>
                    <a:cubicBezTo>
                      <a:pt x="66958" y="130229"/>
                      <a:pt x="59243" y="129309"/>
                      <a:pt x="57433" y="123879"/>
                    </a:cubicBezTo>
                    <a:cubicBezTo>
                      <a:pt x="56639" y="121498"/>
                      <a:pt x="55597" y="119186"/>
                      <a:pt x="55052" y="116736"/>
                    </a:cubicBezTo>
                    <a:cubicBezTo>
                      <a:pt x="51375" y="100191"/>
                      <a:pt x="54354" y="106474"/>
                      <a:pt x="50289" y="92923"/>
                    </a:cubicBezTo>
                    <a:cubicBezTo>
                      <a:pt x="48847" y="88115"/>
                      <a:pt x="48312" y="82813"/>
                      <a:pt x="45527" y="78636"/>
                    </a:cubicBezTo>
                    <a:lnTo>
                      <a:pt x="40764" y="71492"/>
                    </a:lnTo>
                    <a:cubicBezTo>
                      <a:pt x="34779" y="53535"/>
                      <a:pt x="43549" y="74973"/>
                      <a:pt x="31239" y="59586"/>
                    </a:cubicBezTo>
                    <a:cubicBezTo>
                      <a:pt x="18091" y="43152"/>
                      <a:pt x="42191" y="61331"/>
                      <a:pt x="21714" y="47679"/>
                    </a:cubicBezTo>
                    <a:cubicBezTo>
                      <a:pt x="9016" y="28633"/>
                      <a:pt x="25682" y="51647"/>
                      <a:pt x="9808" y="35773"/>
                    </a:cubicBezTo>
                    <a:cubicBezTo>
                      <a:pt x="7784" y="33749"/>
                      <a:pt x="6633" y="31010"/>
                      <a:pt x="5045" y="28629"/>
                    </a:cubicBezTo>
                    <a:cubicBezTo>
                      <a:pt x="2250" y="20243"/>
                      <a:pt x="-3319" y="11411"/>
                      <a:pt x="2664" y="2436"/>
                    </a:cubicBezTo>
                    <a:cubicBezTo>
                      <a:pt x="4056" y="347"/>
                      <a:pt x="7308" y="281"/>
                      <a:pt x="9808" y="54"/>
                    </a:cubicBezTo>
                    <a:cubicBezTo>
                      <a:pt x="16132" y="-521"/>
                      <a:pt x="7030" y="3626"/>
                      <a:pt x="21714" y="4817"/>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5" name="Freeform 184"/>
              <p:cNvSpPr/>
              <p:nvPr/>
            </p:nvSpPr>
            <p:spPr>
              <a:xfrm>
                <a:off x="1867443" y="3332048"/>
                <a:ext cx="785949" cy="490538"/>
              </a:xfrm>
              <a:custGeom>
                <a:avLst/>
                <a:gdLst>
                  <a:gd name="connsiteX0" fmla="*/ 114437 w 785949"/>
                  <a:gd name="connsiteY0" fmla="*/ 47625 h 490538"/>
                  <a:gd name="connsiteX1" fmla="*/ 140630 w 785949"/>
                  <a:gd name="connsiteY1" fmla="*/ 38100 h 490538"/>
                  <a:gd name="connsiteX2" fmla="*/ 150155 w 785949"/>
                  <a:gd name="connsiteY2" fmla="*/ 35719 h 490538"/>
                  <a:gd name="connsiteX3" fmla="*/ 164443 w 785949"/>
                  <a:gd name="connsiteY3" fmla="*/ 30957 h 490538"/>
                  <a:gd name="connsiteX4" fmla="*/ 178730 w 785949"/>
                  <a:gd name="connsiteY4" fmla="*/ 33338 h 490538"/>
                  <a:gd name="connsiteX5" fmla="*/ 193018 w 785949"/>
                  <a:gd name="connsiteY5" fmla="*/ 38100 h 490538"/>
                  <a:gd name="connsiteX6" fmla="*/ 223974 w 785949"/>
                  <a:gd name="connsiteY6" fmla="*/ 40482 h 490538"/>
                  <a:gd name="connsiteX7" fmla="*/ 233499 w 785949"/>
                  <a:gd name="connsiteY7" fmla="*/ 42863 h 490538"/>
                  <a:gd name="connsiteX8" fmla="*/ 247787 w 785949"/>
                  <a:gd name="connsiteY8" fmla="*/ 52388 h 490538"/>
                  <a:gd name="connsiteX9" fmla="*/ 259693 w 785949"/>
                  <a:gd name="connsiteY9" fmla="*/ 61913 h 490538"/>
                  <a:gd name="connsiteX10" fmla="*/ 266837 w 785949"/>
                  <a:gd name="connsiteY10" fmla="*/ 66675 h 490538"/>
                  <a:gd name="connsiteX11" fmla="*/ 281124 w 785949"/>
                  <a:gd name="connsiteY11" fmla="*/ 71438 h 490538"/>
                  <a:gd name="connsiteX12" fmla="*/ 288268 w 785949"/>
                  <a:gd name="connsiteY12" fmla="*/ 73819 h 490538"/>
                  <a:gd name="connsiteX13" fmla="*/ 338274 w 785949"/>
                  <a:gd name="connsiteY13" fmla="*/ 71438 h 490538"/>
                  <a:gd name="connsiteX14" fmla="*/ 340655 w 785949"/>
                  <a:gd name="connsiteY14" fmla="*/ 57150 h 490538"/>
                  <a:gd name="connsiteX15" fmla="*/ 347799 w 785949"/>
                  <a:gd name="connsiteY15" fmla="*/ 52388 h 490538"/>
                  <a:gd name="connsiteX16" fmla="*/ 352562 w 785949"/>
                  <a:gd name="connsiteY16" fmla="*/ 45244 h 490538"/>
                  <a:gd name="connsiteX17" fmla="*/ 359705 w 785949"/>
                  <a:gd name="connsiteY17" fmla="*/ 40482 h 490538"/>
                  <a:gd name="connsiteX18" fmla="*/ 362087 w 785949"/>
                  <a:gd name="connsiteY18" fmla="*/ 28575 h 490538"/>
                  <a:gd name="connsiteX19" fmla="*/ 364468 w 785949"/>
                  <a:gd name="connsiteY19" fmla="*/ 14288 h 490538"/>
                  <a:gd name="connsiteX20" fmla="*/ 385899 w 785949"/>
                  <a:gd name="connsiteY20" fmla="*/ 2382 h 490538"/>
                  <a:gd name="connsiteX21" fmla="*/ 395424 w 785949"/>
                  <a:gd name="connsiteY21" fmla="*/ 0 h 490538"/>
                  <a:gd name="connsiteX22" fmla="*/ 431143 w 785949"/>
                  <a:gd name="connsiteY22" fmla="*/ 4763 h 490538"/>
                  <a:gd name="connsiteX23" fmla="*/ 443049 w 785949"/>
                  <a:gd name="connsiteY23" fmla="*/ 7144 h 490538"/>
                  <a:gd name="connsiteX24" fmla="*/ 457337 w 785949"/>
                  <a:gd name="connsiteY24" fmla="*/ 11907 h 490538"/>
                  <a:gd name="connsiteX25" fmla="*/ 466862 w 785949"/>
                  <a:gd name="connsiteY25" fmla="*/ 14288 h 490538"/>
                  <a:gd name="connsiteX26" fmla="*/ 524012 w 785949"/>
                  <a:gd name="connsiteY26" fmla="*/ 11907 h 490538"/>
                  <a:gd name="connsiteX27" fmla="*/ 531155 w 785949"/>
                  <a:gd name="connsiteY27" fmla="*/ 7144 h 490538"/>
                  <a:gd name="connsiteX28" fmla="*/ 547824 w 785949"/>
                  <a:gd name="connsiteY28" fmla="*/ 2382 h 490538"/>
                  <a:gd name="connsiteX29" fmla="*/ 564493 w 785949"/>
                  <a:gd name="connsiteY29" fmla="*/ 4763 h 490538"/>
                  <a:gd name="connsiteX30" fmla="*/ 569255 w 785949"/>
                  <a:gd name="connsiteY30" fmla="*/ 11907 h 490538"/>
                  <a:gd name="connsiteX31" fmla="*/ 576399 w 785949"/>
                  <a:gd name="connsiteY31" fmla="*/ 19050 h 490538"/>
                  <a:gd name="connsiteX32" fmla="*/ 578780 w 785949"/>
                  <a:gd name="connsiteY32" fmla="*/ 26194 h 490538"/>
                  <a:gd name="connsiteX33" fmla="*/ 593068 w 785949"/>
                  <a:gd name="connsiteY33" fmla="*/ 33338 h 490538"/>
                  <a:gd name="connsiteX34" fmla="*/ 607355 w 785949"/>
                  <a:gd name="connsiteY34" fmla="*/ 42863 h 490538"/>
                  <a:gd name="connsiteX35" fmla="*/ 628787 w 785949"/>
                  <a:gd name="connsiteY35" fmla="*/ 50007 h 490538"/>
                  <a:gd name="connsiteX36" fmla="*/ 635930 w 785949"/>
                  <a:gd name="connsiteY36" fmla="*/ 52388 h 490538"/>
                  <a:gd name="connsiteX37" fmla="*/ 657362 w 785949"/>
                  <a:gd name="connsiteY37" fmla="*/ 54769 h 490538"/>
                  <a:gd name="connsiteX38" fmla="*/ 671649 w 785949"/>
                  <a:gd name="connsiteY38" fmla="*/ 57150 h 490538"/>
                  <a:gd name="connsiteX39" fmla="*/ 690699 w 785949"/>
                  <a:gd name="connsiteY39" fmla="*/ 59532 h 490538"/>
                  <a:gd name="connsiteX40" fmla="*/ 707368 w 785949"/>
                  <a:gd name="connsiteY40" fmla="*/ 61913 h 490538"/>
                  <a:gd name="connsiteX41" fmla="*/ 731180 w 785949"/>
                  <a:gd name="connsiteY41" fmla="*/ 69057 h 490538"/>
                  <a:gd name="connsiteX42" fmla="*/ 738324 w 785949"/>
                  <a:gd name="connsiteY42" fmla="*/ 71438 h 490538"/>
                  <a:gd name="connsiteX43" fmla="*/ 745468 w 785949"/>
                  <a:gd name="connsiteY43" fmla="*/ 73819 h 490538"/>
                  <a:gd name="connsiteX44" fmla="*/ 752612 w 785949"/>
                  <a:gd name="connsiteY44" fmla="*/ 78582 h 490538"/>
                  <a:gd name="connsiteX45" fmla="*/ 757374 w 785949"/>
                  <a:gd name="connsiteY45" fmla="*/ 85725 h 490538"/>
                  <a:gd name="connsiteX46" fmla="*/ 764518 w 785949"/>
                  <a:gd name="connsiteY46" fmla="*/ 92869 h 490538"/>
                  <a:gd name="connsiteX47" fmla="*/ 769280 w 785949"/>
                  <a:gd name="connsiteY47" fmla="*/ 107157 h 490538"/>
                  <a:gd name="connsiteX48" fmla="*/ 774043 w 785949"/>
                  <a:gd name="connsiteY48" fmla="*/ 128588 h 490538"/>
                  <a:gd name="connsiteX49" fmla="*/ 778805 w 785949"/>
                  <a:gd name="connsiteY49" fmla="*/ 161925 h 490538"/>
                  <a:gd name="connsiteX50" fmla="*/ 785949 w 785949"/>
                  <a:gd name="connsiteY50" fmla="*/ 188119 h 490538"/>
                  <a:gd name="connsiteX51" fmla="*/ 783568 w 785949"/>
                  <a:gd name="connsiteY51" fmla="*/ 214313 h 490538"/>
                  <a:gd name="connsiteX52" fmla="*/ 776424 w 785949"/>
                  <a:gd name="connsiteY52" fmla="*/ 216694 h 490538"/>
                  <a:gd name="connsiteX53" fmla="*/ 757374 w 785949"/>
                  <a:gd name="connsiteY53" fmla="*/ 221457 h 490538"/>
                  <a:gd name="connsiteX54" fmla="*/ 743087 w 785949"/>
                  <a:gd name="connsiteY54" fmla="*/ 226219 h 490538"/>
                  <a:gd name="connsiteX55" fmla="*/ 735943 w 785949"/>
                  <a:gd name="connsiteY55" fmla="*/ 230982 h 490538"/>
                  <a:gd name="connsiteX56" fmla="*/ 728799 w 785949"/>
                  <a:gd name="connsiteY56" fmla="*/ 233363 h 490538"/>
                  <a:gd name="connsiteX57" fmla="*/ 676412 w 785949"/>
                  <a:gd name="connsiteY57" fmla="*/ 238125 h 490538"/>
                  <a:gd name="connsiteX58" fmla="*/ 657362 w 785949"/>
                  <a:gd name="connsiteY58" fmla="*/ 240507 h 490538"/>
                  <a:gd name="connsiteX59" fmla="*/ 640693 w 785949"/>
                  <a:gd name="connsiteY59" fmla="*/ 242888 h 490538"/>
                  <a:gd name="connsiteX60" fmla="*/ 619262 w 785949"/>
                  <a:gd name="connsiteY60" fmla="*/ 245269 h 490538"/>
                  <a:gd name="connsiteX61" fmla="*/ 593068 w 785949"/>
                  <a:gd name="connsiteY61" fmla="*/ 250032 h 490538"/>
                  <a:gd name="connsiteX62" fmla="*/ 578780 w 785949"/>
                  <a:gd name="connsiteY62" fmla="*/ 257175 h 490538"/>
                  <a:gd name="connsiteX63" fmla="*/ 571637 w 785949"/>
                  <a:gd name="connsiteY63" fmla="*/ 259557 h 490538"/>
                  <a:gd name="connsiteX64" fmla="*/ 564493 w 785949"/>
                  <a:gd name="connsiteY64" fmla="*/ 264319 h 490538"/>
                  <a:gd name="connsiteX65" fmla="*/ 543062 w 785949"/>
                  <a:gd name="connsiteY65" fmla="*/ 273844 h 490538"/>
                  <a:gd name="connsiteX66" fmla="*/ 538299 w 785949"/>
                  <a:gd name="connsiteY66" fmla="*/ 280988 h 490538"/>
                  <a:gd name="connsiteX67" fmla="*/ 531155 w 785949"/>
                  <a:gd name="connsiteY67" fmla="*/ 288132 h 490538"/>
                  <a:gd name="connsiteX68" fmla="*/ 528774 w 785949"/>
                  <a:gd name="connsiteY68" fmla="*/ 295275 h 490538"/>
                  <a:gd name="connsiteX69" fmla="*/ 526393 w 785949"/>
                  <a:gd name="connsiteY69" fmla="*/ 323850 h 490538"/>
                  <a:gd name="connsiteX70" fmla="*/ 524012 w 785949"/>
                  <a:gd name="connsiteY70" fmla="*/ 333375 h 490538"/>
                  <a:gd name="connsiteX71" fmla="*/ 512105 w 785949"/>
                  <a:gd name="connsiteY71" fmla="*/ 383382 h 490538"/>
                  <a:gd name="connsiteX72" fmla="*/ 452574 w 785949"/>
                  <a:gd name="connsiteY72" fmla="*/ 381000 h 490538"/>
                  <a:gd name="connsiteX73" fmla="*/ 447812 w 785949"/>
                  <a:gd name="connsiteY73" fmla="*/ 366713 h 490538"/>
                  <a:gd name="connsiteX74" fmla="*/ 445430 w 785949"/>
                  <a:gd name="connsiteY74" fmla="*/ 350044 h 490538"/>
                  <a:gd name="connsiteX75" fmla="*/ 435905 w 785949"/>
                  <a:gd name="connsiteY75" fmla="*/ 347663 h 490538"/>
                  <a:gd name="connsiteX76" fmla="*/ 390662 w 785949"/>
                  <a:gd name="connsiteY76" fmla="*/ 350044 h 490538"/>
                  <a:gd name="connsiteX77" fmla="*/ 366849 w 785949"/>
                  <a:gd name="connsiteY77" fmla="*/ 359569 h 490538"/>
                  <a:gd name="connsiteX78" fmla="*/ 362087 w 785949"/>
                  <a:gd name="connsiteY78" fmla="*/ 366713 h 490538"/>
                  <a:gd name="connsiteX79" fmla="*/ 357324 w 785949"/>
                  <a:gd name="connsiteY79" fmla="*/ 381000 h 490538"/>
                  <a:gd name="connsiteX80" fmla="*/ 354943 w 785949"/>
                  <a:gd name="connsiteY80" fmla="*/ 407194 h 490538"/>
                  <a:gd name="connsiteX81" fmla="*/ 350180 w 785949"/>
                  <a:gd name="connsiteY81" fmla="*/ 414338 h 490538"/>
                  <a:gd name="connsiteX82" fmla="*/ 328749 w 785949"/>
                  <a:gd name="connsiteY82" fmla="*/ 426244 h 490538"/>
                  <a:gd name="connsiteX83" fmla="*/ 314462 w 785949"/>
                  <a:gd name="connsiteY83" fmla="*/ 428625 h 490538"/>
                  <a:gd name="connsiteX84" fmla="*/ 276362 w 785949"/>
                  <a:gd name="connsiteY84" fmla="*/ 431007 h 490538"/>
                  <a:gd name="connsiteX85" fmla="*/ 226355 w 785949"/>
                  <a:gd name="connsiteY85" fmla="*/ 447675 h 490538"/>
                  <a:gd name="connsiteX86" fmla="*/ 212068 w 785949"/>
                  <a:gd name="connsiteY86" fmla="*/ 452438 h 490538"/>
                  <a:gd name="connsiteX87" fmla="*/ 204924 w 785949"/>
                  <a:gd name="connsiteY87" fmla="*/ 454819 h 490538"/>
                  <a:gd name="connsiteX88" fmla="*/ 193018 w 785949"/>
                  <a:gd name="connsiteY88" fmla="*/ 466725 h 490538"/>
                  <a:gd name="connsiteX89" fmla="*/ 181112 w 785949"/>
                  <a:gd name="connsiteY89" fmla="*/ 476250 h 490538"/>
                  <a:gd name="connsiteX90" fmla="*/ 173968 w 785949"/>
                  <a:gd name="connsiteY90" fmla="*/ 481013 h 490538"/>
                  <a:gd name="connsiteX91" fmla="*/ 169205 w 785949"/>
                  <a:gd name="connsiteY91" fmla="*/ 488157 h 490538"/>
                  <a:gd name="connsiteX92" fmla="*/ 162062 w 785949"/>
                  <a:gd name="connsiteY92" fmla="*/ 490538 h 490538"/>
                  <a:gd name="connsiteX93" fmla="*/ 154918 w 785949"/>
                  <a:gd name="connsiteY93" fmla="*/ 485775 h 490538"/>
                  <a:gd name="connsiteX94" fmla="*/ 150155 w 785949"/>
                  <a:gd name="connsiteY94" fmla="*/ 478632 h 490538"/>
                  <a:gd name="connsiteX95" fmla="*/ 135868 w 785949"/>
                  <a:gd name="connsiteY95" fmla="*/ 473869 h 490538"/>
                  <a:gd name="connsiteX96" fmla="*/ 126343 w 785949"/>
                  <a:gd name="connsiteY96" fmla="*/ 471488 h 490538"/>
                  <a:gd name="connsiteX97" fmla="*/ 107293 w 785949"/>
                  <a:gd name="connsiteY97" fmla="*/ 466725 h 490538"/>
                  <a:gd name="connsiteX98" fmla="*/ 100149 w 785949"/>
                  <a:gd name="connsiteY98" fmla="*/ 461963 h 490538"/>
                  <a:gd name="connsiteX99" fmla="*/ 85862 w 785949"/>
                  <a:gd name="connsiteY99" fmla="*/ 447675 h 490538"/>
                  <a:gd name="connsiteX100" fmla="*/ 71574 w 785949"/>
                  <a:gd name="connsiteY100" fmla="*/ 438150 h 490538"/>
                  <a:gd name="connsiteX101" fmla="*/ 66812 w 785949"/>
                  <a:gd name="connsiteY101" fmla="*/ 431007 h 490538"/>
                  <a:gd name="connsiteX102" fmla="*/ 59668 w 785949"/>
                  <a:gd name="connsiteY102" fmla="*/ 426244 h 490538"/>
                  <a:gd name="connsiteX103" fmla="*/ 57287 w 785949"/>
                  <a:gd name="connsiteY103" fmla="*/ 409575 h 490538"/>
                  <a:gd name="connsiteX104" fmla="*/ 54905 w 785949"/>
                  <a:gd name="connsiteY104" fmla="*/ 376238 h 490538"/>
                  <a:gd name="connsiteX105" fmla="*/ 47762 w 785949"/>
                  <a:gd name="connsiteY105" fmla="*/ 361950 h 490538"/>
                  <a:gd name="connsiteX106" fmla="*/ 16805 w 785949"/>
                  <a:gd name="connsiteY106" fmla="*/ 359569 h 490538"/>
                  <a:gd name="connsiteX107" fmla="*/ 7280 w 785949"/>
                  <a:gd name="connsiteY107" fmla="*/ 357188 h 490538"/>
                  <a:gd name="connsiteX108" fmla="*/ 137 w 785949"/>
                  <a:gd name="connsiteY108" fmla="*/ 354807 h 490538"/>
                  <a:gd name="connsiteX109" fmla="*/ 4899 w 785949"/>
                  <a:gd name="connsiteY109" fmla="*/ 328613 h 490538"/>
                  <a:gd name="connsiteX110" fmla="*/ 9662 w 785949"/>
                  <a:gd name="connsiteY110" fmla="*/ 321469 h 490538"/>
                  <a:gd name="connsiteX111" fmla="*/ 14424 w 785949"/>
                  <a:gd name="connsiteY111" fmla="*/ 307182 h 490538"/>
                  <a:gd name="connsiteX112" fmla="*/ 16805 w 785949"/>
                  <a:gd name="connsiteY112" fmla="*/ 300038 h 490538"/>
                  <a:gd name="connsiteX113" fmla="*/ 19187 w 785949"/>
                  <a:gd name="connsiteY113" fmla="*/ 290513 h 490538"/>
                  <a:gd name="connsiteX114" fmla="*/ 23949 w 785949"/>
                  <a:gd name="connsiteY114" fmla="*/ 276225 h 490538"/>
                  <a:gd name="connsiteX115" fmla="*/ 23949 w 785949"/>
                  <a:gd name="connsiteY115" fmla="*/ 202407 h 490538"/>
                  <a:gd name="connsiteX116" fmla="*/ 28712 w 785949"/>
                  <a:gd name="connsiteY116" fmla="*/ 188119 h 490538"/>
                  <a:gd name="connsiteX117" fmla="*/ 42999 w 785949"/>
                  <a:gd name="connsiteY117" fmla="*/ 173832 h 490538"/>
                  <a:gd name="connsiteX118" fmla="*/ 57287 w 785949"/>
                  <a:gd name="connsiteY118" fmla="*/ 169069 h 490538"/>
                  <a:gd name="connsiteX119" fmla="*/ 64430 w 785949"/>
                  <a:gd name="connsiteY119" fmla="*/ 166688 h 490538"/>
                  <a:gd name="connsiteX120" fmla="*/ 69193 w 785949"/>
                  <a:gd name="connsiteY120" fmla="*/ 159544 h 490538"/>
                  <a:gd name="connsiteX121" fmla="*/ 83480 w 785949"/>
                  <a:gd name="connsiteY121" fmla="*/ 145257 h 490538"/>
                  <a:gd name="connsiteX122" fmla="*/ 88243 w 785949"/>
                  <a:gd name="connsiteY122" fmla="*/ 130969 h 490538"/>
                  <a:gd name="connsiteX123" fmla="*/ 93005 w 785949"/>
                  <a:gd name="connsiteY123" fmla="*/ 123825 h 490538"/>
                  <a:gd name="connsiteX124" fmla="*/ 95387 w 785949"/>
                  <a:gd name="connsiteY124" fmla="*/ 116682 h 490538"/>
                  <a:gd name="connsiteX125" fmla="*/ 104912 w 785949"/>
                  <a:gd name="connsiteY125" fmla="*/ 102394 h 490538"/>
                  <a:gd name="connsiteX126" fmla="*/ 107293 w 785949"/>
                  <a:gd name="connsiteY126" fmla="*/ 95250 h 490538"/>
                  <a:gd name="connsiteX127" fmla="*/ 119199 w 785949"/>
                  <a:gd name="connsiteY127" fmla="*/ 80963 h 490538"/>
                  <a:gd name="connsiteX128" fmla="*/ 114437 w 785949"/>
                  <a:gd name="connsiteY128" fmla="*/ 47625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785949" h="490538">
                    <a:moveTo>
                      <a:pt x="114437" y="47625"/>
                    </a:moveTo>
                    <a:cubicBezTo>
                      <a:pt x="118009" y="40481"/>
                      <a:pt x="132487" y="40135"/>
                      <a:pt x="140630" y="38100"/>
                    </a:cubicBezTo>
                    <a:cubicBezTo>
                      <a:pt x="143805" y="37306"/>
                      <a:pt x="147020" y="36659"/>
                      <a:pt x="150155" y="35719"/>
                    </a:cubicBezTo>
                    <a:cubicBezTo>
                      <a:pt x="154964" y="34277"/>
                      <a:pt x="164443" y="30957"/>
                      <a:pt x="164443" y="30957"/>
                    </a:cubicBezTo>
                    <a:cubicBezTo>
                      <a:pt x="169205" y="31751"/>
                      <a:pt x="174046" y="32167"/>
                      <a:pt x="178730" y="33338"/>
                    </a:cubicBezTo>
                    <a:cubicBezTo>
                      <a:pt x="183600" y="34555"/>
                      <a:pt x="188013" y="37715"/>
                      <a:pt x="193018" y="38100"/>
                    </a:cubicBezTo>
                    <a:lnTo>
                      <a:pt x="223974" y="40482"/>
                    </a:lnTo>
                    <a:cubicBezTo>
                      <a:pt x="227149" y="41276"/>
                      <a:pt x="230572" y="41399"/>
                      <a:pt x="233499" y="42863"/>
                    </a:cubicBezTo>
                    <a:cubicBezTo>
                      <a:pt x="238619" y="45423"/>
                      <a:pt x="247787" y="52388"/>
                      <a:pt x="247787" y="52388"/>
                    </a:cubicBezTo>
                    <a:cubicBezTo>
                      <a:pt x="255814" y="64430"/>
                      <a:pt x="248191" y="56163"/>
                      <a:pt x="259693" y="61913"/>
                    </a:cubicBezTo>
                    <a:cubicBezTo>
                      <a:pt x="262253" y="63193"/>
                      <a:pt x="264222" y="65513"/>
                      <a:pt x="266837" y="66675"/>
                    </a:cubicBezTo>
                    <a:cubicBezTo>
                      <a:pt x="271424" y="68714"/>
                      <a:pt x="276362" y="69850"/>
                      <a:pt x="281124" y="71438"/>
                    </a:cubicBezTo>
                    <a:lnTo>
                      <a:pt x="288268" y="73819"/>
                    </a:lnTo>
                    <a:cubicBezTo>
                      <a:pt x="304937" y="73025"/>
                      <a:pt x="322372" y="76498"/>
                      <a:pt x="338274" y="71438"/>
                    </a:cubicBezTo>
                    <a:cubicBezTo>
                      <a:pt x="342875" y="69974"/>
                      <a:pt x="338496" y="61469"/>
                      <a:pt x="340655" y="57150"/>
                    </a:cubicBezTo>
                    <a:cubicBezTo>
                      <a:pt x="341935" y="54590"/>
                      <a:pt x="345418" y="53975"/>
                      <a:pt x="347799" y="52388"/>
                    </a:cubicBezTo>
                    <a:cubicBezTo>
                      <a:pt x="349387" y="50007"/>
                      <a:pt x="350538" y="47268"/>
                      <a:pt x="352562" y="45244"/>
                    </a:cubicBezTo>
                    <a:cubicBezTo>
                      <a:pt x="354585" y="43221"/>
                      <a:pt x="358285" y="42967"/>
                      <a:pt x="359705" y="40482"/>
                    </a:cubicBezTo>
                    <a:cubicBezTo>
                      <a:pt x="361713" y="36968"/>
                      <a:pt x="361363" y="32557"/>
                      <a:pt x="362087" y="28575"/>
                    </a:cubicBezTo>
                    <a:cubicBezTo>
                      <a:pt x="362951" y="23825"/>
                      <a:pt x="361699" y="18243"/>
                      <a:pt x="364468" y="14288"/>
                    </a:cubicBezTo>
                    <a:cubicBezTo>
                      <a:pt x="368734" y="8194"/>
                      <a:pt x="378636" y="4457"/>
                      <a:pt x="385899" y="2382"/>
                    </a:cubicBezTo>
                    <a:cubicBezTo>
                      <a:pt x="389046" y="1483"/>
                      <a:pt x="392249" y="794"/>
                      <a:pt x="395424" y="0"/>
                    </a:cubicBezTo>
                    <a:cubicBezTo>
                      <a:pt x="405035" y="1202"/>
                      <a:pt x="421302" y="3123"/>
                      <a:pt x="431143" y="4763"/>
                    </a:cubicBezTo>
                    <a:cubicBezTo>
                      <a:pt x="435135" y="5428"/>
                      <a:pt x="439144" y="6079"/>
                      <a:pt x="443049" y="7144"/>
                    </a:cubicBezTo>
                    <a:cubicBezTo>
                      <a:pt x="447892" y="8465"/>
                      <a:pt x="452467" y="10690"/>
                      <a:pt x="457337" y="11907"/>
                    </a:cubicBezTo>
                    <a:lnTo>
                      <a:pt x="466862" y="14288"/>
                    </a:lnTo>
                    <a:cubicBezTo>
                      <a:pt x="485912" y="13494"/>
                      <a:pt x="505062" y="14013"/>
                      <a:pt x="524012" y="11907"/>
                    </a:cubicBezTo>
                    <a:cubicBezTo>
                      <a:pt x="526856" y="11591"/>
                      <a:pt x="528595" y="8424"/>
                      <a:pt x="531155" y="7144"/>
                    </a:cubicBezTo>
                    <a:cubicBezTo>
                      <a:pt x="534570" y="5437"/>
                      <a:pt x="544774" y="3144"/>
                      <a:pt x="547824" y="2382"/>
                    </a:cubicBezTo>
                    <a:cubicBezTo>
                      <a:pt x="553380" y="3176"/>
                      <a:pt x="559364" y="2483"/>
                      <a:pt x="564493" y="4763"/>
                    </a:cubicBezTo>
                    <a:cubicBezTo>
                      <a:pt x="567108" y="5925"/>
                      <a:pt x="567423" y="9708"/>
                      <a:pt x="569255" y="11907"/>
                    </a:cubicBezTo>
                    <a:cubicBezTo>
                      <a:pt x="571411" y="14494"/>
                      <a:pt x="574018" y="16669"/>
                      <a:pt x="576399" y="19050"/>
                    </a:cubicBezTo>
                    <a:cubicBezTo>
                      <a:pt x="577193" y="21431"/>
                      <a:pt x="577212" y="24234"/>
                      <a:pt x="578780" y="26194"/>
                    </a:cubicBezTo>
                    <a:cubicBezTo>
                      <a:pt x="583855" y="32538"/>
                      <a:pt x="586855" y="29886"/>
                      <a:pt x="593068" y="33338"/>
                    </a:cubicBezTo>
                    <a:cubicBezTo>
                      <a:pt x="598071" y="36118"/>
                      <a:pt x="601925" y="41053"/>
                      <a:pt x="607355" y="42863"/>
                    </a:cubicBezTo>
                    <a:lnTo>
                      <a:pt x="628787" y="50007"/>
                    </a:lnTo>
                    <a:cubicBezTo>
                      <a:pt x="631168" y="50801"/>
                      <a:pt x="633436" y="52111"/>
                      <a:pt x="635930" y="52388"/>
                    </a:cubicBezTo>
                    <a:cubicBezTo>
                      <a:pt x="643074" y="53182"/>
                      <a:pt x="650237" y="53819"/>
                      <a:pt x="657362" y="54769"/>
                    </a:cubicBezTo>
                    <a:cubicBezTo>
                      <a:pt x="662148" y="55407"/>
                      <a:pt x="666870" y="56467"/>
                      <a:pt x="671649" y="57150"/>
                    </a:cubicBezTo>
                    <a:cubicBezTo>
                      <a:pt x="677984" y="58055"/>
                      <a:pt x="684356" y="58686"/>
                      <a:pt x="690699" y="59532"/>
                    </a:cubicBezTo>
                    <a:cubicBezTo>
                      <a:pt x="696262" y="60274"/>
                      <a:pt x="701846" y="60909"/>
                      <a:pt x="707368" y="61913"/>
                    </a:cubicBezTo>
                    <a:cubicBezTo>
                      <a:pt x="715290" y="63353"/>
                      <a:pt x="723718" y="66570"/>
                      <a:pt x="731180" y="69057"/>
                    </a:cubicBezTo>
                    <a:lnTo>
                      <a:pt x="738324" y="71438"/>
                    </a:lnTo>
                    <a:lnTo>
                      <a:pt x="745468" y="73819"/>
                    </a:lnTo>
                    <a:cubicBezTo>
                      <a:pt x="747849" y="75407"/>
                      <a:pt x="750588" y="76558"/>
                      <a:pt x="752612" y="78582"/>
                    </a:cubicBezTo>
                    <a:cubicBezTo>
                      <a:pt x="754635" y="80605"/>
                      <a:pt x="755542" y="83527"/>
                      <a:pt x="757374" y="85725"/>
                    </a:cubicBezTo>
                    <a:cubicBezTo>
                      <a:pt x="759530" y="88312"/>
                      <a:pt x="762137" y="90488"/>
                      <a:pt x="764518" y="92869"/>
                    </a:cubicBezTo>
                    <a:cubicBezTo>
                      <a:pt x="766105" y="97632"/>
                      <a:pt x="768062" y="102287"/>
                      <a:pt x="769280" y="107157"/>
                    </a:cubicBezTo>
                    <a:cubicBezTo>
                      <a:pt x="771248" y="115027"/>
                      <a:pt x="772746" y="120375"/>
                      <a:pt x="774043" y="128588"/>
                    </a:cubicBezTo>
                    <a:cubicBezTo>
                      <a:pt x="775794" y="139676"/>
                      <a:pt x="776082" y="151035"/>
                      <a:pt x="778805" y="161925"/>
                    </a:cubicBezTo>
                    <a:cubicBezTo>
                      <a:pt x="784177" y="183410"/>
                      <a:pt x="781498" y="174765"/>
                      <a:pt x="785949" y="188119"/>
                    </a:cubicBezTo>
                    <a:cubicBezTo>
                      <a:pt x="785155" y="196850"/>
                      <a:pt x="786340" y="205996"/>
                      <a:pt x="783568" y="214313"/>
                    </a:cubicBezTo>
                    <a:cubicBezTo>
                      <a:pt x="782774" y="216694"/>
                      <a:pt x="778846" y="216034"/>
                      <a:pt x="776424" y="216694"/>
                    </a:cubicBezTo>
                    <a:cubicBezTo>
                      <a:pt x="770109" y="218416"/>
                      <a:pt x="763584" y="219387"/>
                      <a:pt x="757374" y="221457"/>
                    </a:cubicBezTo>
                    <a:lnTo>
                      <a:pt x="743087" y="226219"/>
                    </a:lnTo>
                    <a:cubicBezTo>
                      <a:pt x="740706" y="227807"/>
                      <a:pt x="738503" y="229702"/>
                      <a:pt x="735943" y="230982"/>
                    </a:cubicBezTo>
                    <a:cubicBezTo>
                      <a:pt x="733698" y="232105"/>
                      <a:pt x="731213" y="232673"/>
                      <a:pt x="728799" y="233363"/>
                    </a:cubicBezTo>
                    <a:cubicBezTo>
                      <a:pt x="709024" y="239012"/>
                      <a:pt x="706662" y="236445"/>
                      <a:pt x="676412" y="238125"/>
                    </a:cubicBezTo>
                    <a:lnTo>
                      <a:pt x="657362" y="240507"/>
                    </a:lnTo>
                    <a:lnTo>
                      <a:pt x="640693" y="242888"/>
                    </a:lnTo>
                    <a:cubicBezTo>
                      <a:pt x="633561" y="243779"/>
                      <a:pt x="626387" y="244319"/>
                      <a:pt x="619262" y="245269"/>
                    </a:cubicBezTo>
                    <a:cubicBezTo>
                      <a:pt x="614699" y="245877"/>
                      <a:pt x="598210" y="248746"/>
                      <a:pt x="593068" y="250032"/>
                    </a:cubicBezTo>
                    <a:cubicBezTo>
                      <a:pt x="581098" y="253025"/>
                      <a:pt x="590419" y="251355"/>
                      <a:pt x="578780" y="257175"/>
                    </a:cubicBezTo>
                    <a:cubicBezTo>
                      <a:pt x="576535" y="258298"/>
                      <a:pt x="573882" y="258434"/>
                      <a:pt x="571637" y="259557"/>
                    </a:cubicBezTo>
                    <a:cubicBezTo>
                      <a:pt x="569077" y="260837"/>
                      <a:pt x="567108" y="263157"/>
                      <a:pt x="564493" y="264319"/>
                    </a:cubicBezTo>
                    <a:cubicBezTo>
                      <a:pt x="538992" y="275652"/>
                      <a:pt x="559226" y="263068"/>
                      <a:pt x="543062" y="273844"/>
                    </a:cubicBezTo>
                    <a:cubicBezTo>
                      <a:pt x="541474" y="276225"/>
                      <a:pt x="540131" y="278789"/>
                      <a:pt x="538299" y="280988"/>
                    </a:cubicBezTo>
                    <a:cubicBezTo>
                      <a:pt x="536143" y="283575"/>
                      <a:pt x="533023" y="285330"/>
                      <a:pt x="531155" y="288132"/>
                    </a:cubicBezTo>
                    <a:cubicBezTo>
                      <a:pt x="529763" y="290220"/>
                      <a:pt x="529568" y="292894"/>
                      <a:pt x="528774" y="295275"/>
                    </a:cubicBezTo>
                    <a:cubicBezTo>
                      <a:pt x="527980" y="304800"/>
                      <a:pt x="527578" y="314366"/>
                      <a:pt x="526393" y="323850"/>
                    </a:cubicBezTo>
                    <a:cubicBezTo>
                      <a:pt x="525987" y="327097"/>
                      <a:pt x="524418" y="330128"/>
                      <a:pt x="524012" y="333375"/>
                    </a:cubicBezTo>
                    <a:cubicBezTo>
                      <a:pt x="517692" y="383934"/>
                      <a:pt x="534590" y="375885"/>
                      <a:pt x="512105" y="383382"/>
                    </a:cubicBezTo>
                    <a:cubicBezTo>
                      <a:pt x="492261" y="382588"/>
                      <a:pt x="471798" y="385984"/>
                      <a:pt x="452574" y="381000"/>
                    </a:cubicBezTo>
                    <a:cubicBezTo>
                      <a:pt x="447715" y="379740"/>
                      <a:pt x="447812" y="366713"/>
                      <a:pt x="447812" y="366713"/>
                    </a:cubicBezTo>
                    <a:cubicBezTo>
                      <a:pt x="447018" y="361157"/>
                      <a:pt x="448405" y="354804"/>
                      <a:pt x="445430" y="350044"/>
                    </a:cubicBezTo>
                    <a:cubicBezTo>
                      <a:pt x="443695" y="347269"/>
                      <a:pt x="439178" y="347663"/>
                      <a:pt x="435905" y="347663"/>
                    </a:cubicBezTo>
                    <a:cubicBezTo>
                      <a:pt x="420803" y="347663"/>
                      <a:pt x="405743" y="349250"/>
                      <a:pt x="390662" y="350044"/>
                    </a:cubicBezTo>
                    <a:cubicBezTo>
                      <a:pt x="374164" y="352401"/>
                      <a:pt x="375859" y="348757"/>
                      <a:pt x="366849" y="359569"/>
                    </a:cubicBezTo>
                    <a:cubicBezTo>
                      <a:pt x="365017" y="361768"/>
                      <a:pt x="363249" y="364098"/>
                      <a:pt x="362087" y="366713"/>
                    </a:cubicBezTo>
                    <a:cubicBezTo>
                      <a:pt x="360048" y="371300"/>
                      <a:pt x="357324" y="381000"/>
                      <a:pt x="357324" y="381000"/>
                    </a:cubicBezTo>
                    <a:cubicBezTo>
                      <a:pt x="356530" y="389731"/>
                      <a:pt x="356780" y="398621"/>
                      <a:pt x="354943" y="407194"/>
                    </a:cubicBezTo>
                    <a:cubicBezTo>
                      <a:pt x="354343" y="409993"/>
                      <a:pt x="352334" y="412453"/>
                      <a:pt x="350180" y="414338"/>
                    </a:cubicBezTo>
                    <a:cubicBezTo>
                      <a:pt x="343909" y="419825"/>
                      <a:pt x="336892" y="424435"/>
                      <a:pt x="328749" y="426244"/>
                    </a:cubicBezTo>
                    <a:cubicBezTo>
                      <a:pt x="324036" y="427291"/>
                      <a:pt x="319270" y="428188"/>
                      <a:pt x="314462" y="428625"/>
                    </a:cubicBezTo>
                    <a:cubicBezTo>
                      <a:pt x="301789" y="429777"/>
                      <a:pt x="289062" y="430213"/>
                      <a:pt x="276362" y="431007"/>
                    </a:cubicBezTo>
                    <a:lnTo>
                      <a:pt x="226355" y="447675"/>
                    </a:lnTo>
                    <a:lnTo>
                      <a:pt x="212068" y="452438"/>
                    </a:lnTo>
                    <a:lnTo>
                      <a:pt x="204924" y="454819"/>
                    </a:lnTo>
                    <a:cubicBezTo>
                      <a:pt x="192228" y="473866"/>
                      <a:pt x="208890" y="450854"/>
                      <a:pt x="193018" y="466725"/>
                    </a:cubicBezTo>
                    <a:cubicBezTo>
                      <a:pt x="182246" y="477496"/>
                      <a:pt x="195019" y="471614"/>
                      <a:pt x="181112" y="476250"/>
                    </a:cubicBezTo>
                    <a:cubicBezTo>
                      <a:pt x="178731" y="477838"/>
                      <a:pt x="175992" y="478989"/>
                      <a:pt x="173968" y="481013"/>
                    </a:cubicBezTo>
                    <a:cubicBezTo>
                      <a:pt x="171944" y="483037"/>
                      <a:pt x="171440" y="486369"/>
                      <a:pt x="169205" y="488157"/>
                    </a:cubicBezTo>
                    <a:cubicBezTo>
                      <a:pt x="167245" y="489725"/>
                      <a:pt x="164443" y="489744"/>
                      <a:pt x="162062" y="490538"/>
                    </a:cubicBezTo>
                    <a:cubicBezTo>
                      <a:pt x="159681" y="488950"/>
                      <a:pt x="156942" y="487799"/>
                      <a:pt x="154918" y="485775"/>
                    </a:cubicBezTo>
                    <a:cubicBezTo>
                      <a:pt x="152894" y="483751"/>
                      <a:pt x="152582" y="480149"/>
                      <a:pt x="150155" y="478632"/>
                    </a:cubicBezTo>
                    <a:cubicBezTo>
                      <a:pt x="145898" y="475971"/>
                      <a:pt x="140738" y="475086"/>
                      <a:pt x="135868" y="473869"/>
                    </a:cubicBezTo>
                    <a:cubicBezTo>
                      <a:pt x="132693" y="473075"/>
                      <a:pt x="129538" y="472198"/>
                      <a:pt x="126343" y="471488"/>
                    </a:cubicBezTo>
                    <a:cubicBezTo>
                      <a:pt x="121445" y="470400"/>
                      <a:pt x="112403" y="469280"/>
                      <a:pt x="107293" y="466725"/>
                    </a:cubicBezTo>
                    <a:cubicBezTo>
                      <a:pt x="104733" y="465445"/>
                      <a:pt x="102288" y="463864"/>
                      <a:pt x="100149" y="461963"/>
                    </a:cubicBezTo>
                    <a:cubicBezTo>
                      <a:pt x="95115" y="457488"/>
                      <a:pt x="91466" y="451411"/>
                      <a:pt x="85862" y="447675"/>
                    </a:cubicBezTo>
                    <a:lnTo>
                      <a:pt x="71574" y="438150"/>
                    </a:lnTo>
                    <a:cubicBezTo>
                      <a:pt x="69987" y="435769"/>
                      <a:pt x="68835" y="433030"/>
                      <a:pt x="66812" y="431007"/>
                    </a:cubicBezTo>
                    <a:cubicBezTo>
                      <a:pt x="64788" y="428983"/>
                      <a:pt x="60830" y="428859"/>
                      <a:pt x="59668" y="426244"/>
                    </a:cubicBezTo>
                    <a:cubicBezTo>
                      <a:pt x="57389" y="421115"/>
                      <a:pt x="57819" y="415162"/>
                      <a:pt x="57287" y="409575"/>
                    </a:cubicBezTo>
                    <a:cubicBezTo>
                      <a:pt x="56231" y="398485"/>
                      <a:pt x="56207" y="387302"/>
                      <a:pt x="54905" y="376238"/>
                    </a:cubicBezTo>
                    <a:cubicBezTo>
                      <a:pt x="54623" y="373838"/>
                      <a:pt x="50492" y="362678"/>
                      <a:pt x="47762" y="361950"/>
                    </a:cubicBezTo>
                    <a:cubicBezTo>
                      <a:pt x="37762" y="359283"/>
                      <a:pt x="27124" y="360363"/>
                      <a:pt x="16805" y="359569"/>
                    </a:cubicBezTo>
                    <a:cubicBezTo>
                      <a:pt x="13630" y="358775"/>
                      <a:pt x="10427" y="358087"/>
                      <a:pt x="7280" y="357188"/>
                    </a:cubicBezTo>
                    <a:cubicBezTo>
                      <a:pt x="4867" y="356499"/>
                      <a:pt x="681" y="357257"/>
                      <a:pt x="137" y="354807"/>
                    </a:cubicBezTo>
                    <a:cubicBezTo>
                      <a:pt x="-620" y="351399"/>
                      <a:pt x="1848" y="334716"/>
                      <a:pt x="4899" y="328613"/>
                    </a:cubicBezTo>
                    <a:cubicBezTo>
                      <a:pt x="6179" y="326053"/>
                      <a:pt x="8074" y="323850"/>
                      <a:pt x="9662" y="321469"/>
                    </a:cubicBezTo>
                    <a:lnTo>
                      <a:pt x="14424" y="307182"/>
                    </a:lnTo>
                    <a:cubicBezTo>
                      <a:pt x="15218" y="304801"/>
                      <a:pt x="16196" y="302473"/>
                      <a:pt x="16805" y="300038"/>
                    </a:cubicBezTo>
                    <a:cubicBezTo>
                      <a:pt x="17599" y="296863"/>
                      <a:pt x="18247" y="293648"/>
                      <a:pt x="19187" y="290513"/>
                    </a:cubicBezTo>
                    <a:cubicBezTo>
                      <a:pt x="20630" y="285705"/>
                      <a:pt x="23949" y="276225"/>
                      <a:pt x="23949" y="276225"/>
                    </a:cubicBezTo>
                    <a:cubicBezTo>
                      <a:pt x="22021" y="245374"/>
                      <a:pt x="19599" y="232856"/>
                      <a:pt x="23949" y="202407"/>
                    </a:cubicBezTo>
                    <a:cubicBezTo>
                      <a:pt x="24659" y="197437"/>
                      <a:pt x="25162" y="191669"/>
                      <a:pt x="28712" y="188119"/>
                    </a:cubicBezTo>
                    <a:cubicBezTo>
                      <a:pt x="33474" y="183357"/>
                      <a:pt x="36610" y="175962"/>
                      <a:pt x="42999" y="173832"/>
                    </a:cubicBezTo>
                    <a:lnTo>
                      <a:pt x="57287" y="169069"/>
                    </a:lnTo>
                    <a:lnTo>
                      <a:pt x="64430" y="166688"/>
                    </a:lnTo>
                    <a:cubicBezTo>
                      <a:pt x="66018" y="164307"/>
                      <a:pt x="67292" y="161683"/>
                      <a:pt x="69193" y="159544"/>
                    </a:cubicBezTo>
                    <a:cubicBezTo>
                      <a:pt x="73667" y="154510"/>
                      <a:pt x="83480" y="145257"/>
                      <a:pt x="83480" y="145257"/>
                    </a:cubicBezTo>
                    <a:cubicBezTo>
                      <a:pt x="85068" y="140494"/>
                      <a:pt x="85458" y="135146"/>
                      <a:pt x="88243" y="130969"/>
                    </a:cubicBezTo>
                    <a:cubicBezTo>
                      <a:pt x="89830" y="128588"/>
                      <a:pt x="91725" y="126385"/>
                      <a:pt x="93005" y="123825"/>
                    </a:cubicBezTo>
                    <a:cubicBezTo>
                      <a:pt x="94128" y="121580"/>
                      <a:pt x="94168" y="118876"/>
                      <a:pt x="95387" y="116682"/>
                    </a:cubicBezTo>
                    <a:cubicBezTo>
                      <a:pt x="98167" y="111678"/>
                      <a:pt x="104912" y="102394"/>
                      <a:pt x="104912" y="102394"/>
                    </a:cubicBezTo>
                    <a:cubicBezTo>
                      <a:pt x="105706" y="100013"/>
                      <a:pt x="105901" y="97339"/>
                      <a:pt x="107293" y="95250"/>
                    </a:cubicBezTo>
                    <a:cubicBezTo>
                      <a:pt x="110494" y="90448"/>
                      <a:pt x="117640" y="87199"/>
                      <a:pt x="119199" y="80963"/>
                    </a:cubicBezTo>
                    <a:cubicBezTo>
                      <a:pt x="120161" y="77113"/>
                      <a:pt x="110865" y="54769"/>
                      <a:pt x="114437" y="476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6" name="Freeform 185"/>
              <p:cNvSpPr/>
              <p:nvPr/>
            </p:nvSpPr>
            <p:spPr>
              <a:xfrm>
                <a:off x="1767305" y="3691617"/>
                <a:ext cx="703122" cy="711994"/>
              </a:xfrm>
              <a:custGeom>
                <a:avLst/>
                <a:gdLst>
                  <a:gd name="connsiteX0" fmla="*/ 262 w 703122"/>
                  <a:gd name="connsiteY0" fmla="*/ 54769 h 711994"/>
                  <a:gd name="connsiteX1" fmla="*/ 19312 w 703122"/>
                  <a:gd name="connsiteY1" fmla="*/ 50006 h 711994"/>
                  <a:gd name="connsiteX2" fmla="*/ 33600 w 703122"/>
                  <a:gd name="connsiteY2" fmla="*/ 40481 h 711994"/>
                  <a:gd name="connsiteX3" fmla="*/ 40743 w 703122"/>
                  <a:gd name="connsiteY3" fmla="*/ 35719 h 711994"/>
                  <a:gd name="connsiteX4" fmla="*/ 55031 w 703122"/>
                  <a:gd name="connsiteY4" fmla="*/ 21431 h 711994"/>
                  <a:gd name="connsiteX5" fmla="*/ 69318 w 703122"/>
                  <a:gd name="connsiteY5" fmla="*/ 19050 h 711994"/>
                  <a:gd name="connsiteX6" fmla="*/ 76462 w 703122"/>
                  <a:gd name="connsiteY6" fmla="*/ 16669 h 711994"/>
                  <a:gd name="connsiteX7" fmla="*/ 90750 w 703122"/>
                  <a:gd name="connsiteY7" fmla="*/ 14288 h 711994"/>
                  <a:gd name="connsiteX8" fmla="*/ 97893 w 703122"/>
                  <a:gd name="connsiteY8" fmla="*/ 11906 h 711994"/>
                  <a:gd name="connsiteX9" fmla="*/ 102656 w 703122"/>
                  <a:gd name="connsiteY9" fmla="*/ 4763 h 711994"/>
                  <a:gd name="connsiteX10" fmla="*/ 109800 w 703122"/>
                  <a:gd name="connsiteY10" fmla="*/ 0 h 711994"/>
                  <a:gd name="connsiteX11" fmla="*/ 152662 w 703122"/>
                  <a:gd name="connsiteY11" fmla="*/ 2381 h 711994"/>
                  <a:gd name="connsiteX12" fmla="*/ 155043 w 703122"/>
                  <a:gd name="connsiteY12" fmla="*/ 9525 h 711994"/>
                  <a:gd name="connsiteX13" fmla="*/ 157425 w 703122"/>
                  <a:gd name="connsiteY13" fmla="*/ 57150 h 711994"/>
                  <a:gd name="connsiteX14" fmla="*/ 169331 w 703122"/>
                  <a:gd name="connsiteY14" fmla="*/ 78581 h 711994"/>
                  <a:gd name="connsiteX15" fmla="*/ 176475 w 703122"/>
                  <a:gd name="connsiteY15" fmla="*/ 83344 h 711994"/>
                  <a:gd name="connsiteX16" fmla="*/ 183618 w 703122"/>
                  <a:gd name="connsiteY16" fmla="*/ 85725 h 711994"/>
                  <a:gd name="connsiteX17" fmla="*/ 190762 w 703122"/>
                  <a:gd name="connsiteY17" fmla="*/ 90488 h 711994"/>
                  <a:gd name="connsiteX18" fmla="*/ 200287 w 703122"/>
                  <a:gd name="connsiteY18" fmla="*/ 104775 h 711994"/>
                  <a:gd name="connsiteX19" fmla="*/ 207431 w 703122"/>
                  <a:gd name="connsiteY19" fmla="*/ 107156 h 711994"/>
                  <a:gd name="connsiteX20" fmla="*/ 214575 w 703122"/>
                  <a:gd name="connsiteY20" fmla="*/ 111919 h 711994"/>
                  <a:gd name="connsiteX21" fmla="*/ 228862 w 703122"/>
                  <a:gd name="connsiteY21" fmla="*/ 116681 h 711994"/>
                  <a:gd name="connsiteX22" fmla="*/ 245531 w 703122"/>
                  <a:gd name="connsiteY22" fmla="*/ 121444 h 711994"/>
                  <a:gd name="connsiteX23" fmla="*/ 266962 w 703122"/>
                  <a:gd name="connsiteY23" fmla="*/ 133350 h 711994"/>
                  <a:gd name="connsiteX24" fmla="*/ 281250 w 703122"/>
                  <a:gd name="connsiteY24" fmla="*/ 135731 h 711994"/>
                  <a:gd name="connsiteX25" fmla="*/ 288393 w 703122"/>
                  <a:gd name="connsiteY25" fmla="*/ 138113 h 711994"/>
                  <a:gd name="connsiteX26" fmla="*/ 300300 w 703122"/>
                  <a:gd name="connsiteY26" fmla="*/ 152400 h 711994"/>
                  <a:gd name="connsiteX27" fmla="*/ 302681 w 703122"/>
                  <a:gd name="connsiteY27" fmla="*/ 159544 h 711994"/>
                  <a:gd name="connsiteX28" fmla="*/ 307443 w 703122"/>
                  <a:gd name="connsiteY28" fmla="*/ 166688 h 711994"/>
                  <a:gd name="connsiteX29" fmla="*/ 309825 w 703122"/>
                  <a:gd name="connsiteY29" fmla="*/ 178594 h 711994"/>
                  <a:gd name="connsiteX30" fmla="*/ 312206 w 703122"/>
                  <a:gd name="connsiteY30" fmla="*/ 204788 h 711994"/>
                  <a:gd name="connsiteX31" fmla="*/ 319350 w 703122"/>
                  <a:gd name="connsiteY31" fmla="*/ 211931 h 711994"/>
                  <a:gd name="connsiteX32" fmla="*/ 362212 w 703122"/>
                  <a:gd name="connsiteY32" fmla="*/ 214313 h 711994"/>
                  <a:gd name="connsiteX33" fmla="*/ 366975 w 703122"/>
                  <a:gd name="connsiteY33" fmla="*/ 221456 h 711994"/>
                  <a:gd name="connsiteX34" fmla="*/ 374118 w 703122"/>
                  <a:gd name="connsiteY34" fmla="*/ 242888 h 711994"/>
                  <a:gd name="connsiteX35" fmla="*/ 376500 w 703122"/>
                  <a:gd name="connsiteY35" fmla="*/ 250031 h 711994"/>
                  <a:gd name="connsiteX36" fmla="*/ 378881 w 703122"/>
                  <a:gd name="connsiteY36" fmla="*/ 257175 h 711994"/>
                  <a:gd name="connsiteX37" fmla="*/ 383643 w 703122"/>
                  <a:gd name="connsiteY37" fmla="*/ 264319 h 711994"/>
                  <a:gd name="connsiteX38" fmla="*/ 386025 w 703122"/>
                  <a:gd name="connsiteY38" fmla="*/ 271463 h 711994"/>
                  <a:gd name="connsiteX39" fmla="*/ 400312 w 703122"/>
                  <a:gd name="connsiteY39" fmla="*/ 285750 h 711994"/>
                  <a:gd name="connsiteX40" fmla="*/ 407456 w 703122"/>
                  <a:gd name="connsiteY40" fmla="*/ 292894 h 711994"/>
                  <a:gd name="connsiteX41" fmla="*/ 483656 w 703122"/>
                  <a:gd name="connsiteY41" fmla="*/ 295275 h 711994"/>
                  <a:gd name="connsiteX42" fmla="*/ 505087 w 703122"/>
                  <a:gd name="connsiteY42" fmla="*/ 297656 h 711994"/>
                  <a:gd name="connsiteX43" fmla="*/ 509850 w 703122"/>
                  <a:gd name="connsiteY43" fmla="*/ 311944 h 711994"/>
                  <a:gd name="connsiteX44" fmla="*/ 516993 w 703122"/>
                  <a:gd name="connsiteY44" fmla="*/ 326231 h 711994"/>
                  <a:gd name="connsiteX45" fmla="*/ 514612 w 703122"/>
                  <a:gd name="connsiteY45" fmla="*/ 333375 h 711994"/>
                  <a:gd name="connsiteX46" fmla="*/ 507468 w 703122"/>
                  <a:gd name="connsiteY46" fmla="*/ 335756 h 711994"/>
                  <a:gd name="connsiteX47" fmla="*/ 490800 w 703122"/>
                  <a:gd name="connsiteY47" fmla="*/ 338138 h 711994"/>
                  <a:gd name="connsiteX48" fmla="*/ 476512 w 703122"/>
                  <a:gd name="connsiteY48" fmla="*/ 342900 h 711994"/>
                  <a:gd name="connsiteX49" fmla="*/ 469368 w 703122"/>
                  <a:gd name="connsiteY49" fmla="*/ 345281 h 711994"/>
                  <a:gd name="connsiteX50" fmla="*/ 459843 w 703122"/>
                  <a:gd name="connsiteY50" fmla="*/ 357188 h 711994"/>
                  <a:gd name="connsiteX51" fmla="*/ 450318 w 703122"/>
                  <a:gd name="connsiteY51" fmla="*/ 371475 h 711994"/>
                  <a:gd name="connsiteX52" fmla="*/ 440793 w 703122"/>
                  <a:gd name="connsiteY52" fmla="*/ 383381 h 711994"/>
                  <a:gd name="connsiteX53" fmla="*/ 433650 w 703122"/>
                  <a:gd name="connsiteY53" fmla="*/ 397669 h 711994"/>
                  <a:gd name="connsiteX54" fmla="*/ 436031 w 703122"/>
                  <a:gd name="connsiteY54" fmla="*/ 409575 h 711994"/>
                  <a:gd name="connsiteX55" fmla="*/ 457462 w 703122"/>
                  <a:gd name="connsiteY55" fmla="*/ 421481 h 711994"/>
                  <a:gd name="connsiteX56" fmla="*/ 466987 w 703122"/>
                  <a:gd name="connsiteY56" fmla="*/ 442913 h 711994"/>
                  <a:gd name="connsiteX57" fmla="*/ 469368 w 703122"/>
                  <a:gd name="connsiteY57" fmla="*/ 450056 h 711994"/>
                  <a:gd name="connsiteX58" fmla="*/ 483656 w 703122"/>
                  <a:gd name="connsiteY58" fmla="*/ 464344 h 711994"/>
                  <a:gd name="connsiteX59" fmla="*/ 493181 w 703122"/>
                  <a:gd name="connsiteY59" fmla="*/ 478631 h 711994"/>
                  <a:gd name="connsiteX60" fmla="*/ 497943 w 703122"/>
                  <a:gd name="connsiteY60" fmla="*/ 485775 h 711994"/>
                  <a:gd name="connsiteX61" fmla="*/ 505087 w 703122"/>
                  <a:gd name="connsiteY61" fmla="*/ 490538 h 711994"/>
                  <a:gd name="connsiteX62" fmla="*/ 519375 w 703122"/>
                  <a:gd name="connsiteY62" fmla="*/ 495300 h 711994"/>
                  <a:gd name="connsiteX63" fmla="*/ 526518 w 703122"/>
                  <a:gd name="connsiteY63" fmla="*/ 502444 h 711994"/>
                  <a:gd name="connsiteX64" fmla="*/ 531281 w 703122"/>
                  <a:gd name="connsiteY64" fmla="*/ 509588 h 711994"/>
                  <a:gd name="connsiteX65" fmla="*/ 538425 w 703122"/>
                  <a:gd name="connsiteY65" fmla="*/ 514350 h 711994"/>
                  <a:gd name="connsiteX66" fmla="*/ 545568 w 703122"/>
                  <a:gd name="connsiteY66" fmla="*/ 516731 h 711994"/>
                  <a:gd name="connsiteX67" fmla="*/ 605100 w 703122"/>
                  <a:gd name="connsiteY67" fmla="*/ 519113 h 711994"/>
                  <a:gd name="connsiteX68" fmla="*/ 612243 w 703122"/>
                  <a:gd name="connsiteY68" fmla="*/ 526256 h 711994"/>
                  <a:gd name="connsiteX69" fmla="*/ 617006 w 703122"/>
                  <a:gd name="connsiteY69" fmla="*/ 533400 h 711994"/>
                  <a:gd name="connsiteX70" fmla="*/ 638437 w 703122"/>
                  <a:gd name="connsiteY70" fmla="*/ 552450 h 711994"/>
                  <a:gd name="connsiteX71" fmla="*/ 645581 w 703122"/>
                  <a:gd name="connsiteY71" fmla="*/ 554831 h 711994"/>
                  <a:gd name="connsiteX72" fmla="*/ 659868 w 703122"/>
                  <a:gd name="connsiteY72" fmla="*/ 564356 h 711994"/>
                  <a:gd name="connsiteX73" fmla="*/ 667012 w 703122"/>
                  <a:gd name="connsiteY73" fmla="*/ 566738 h 711994"/>
                  <a:gd name="connsiteX74" fmla="*/ 681300 w 703122"/>
                  <a:gd name="connsiteY74" fmla="*/ 576263 h 711994"/>
                  <a:gd name="connsiteX75" fmla="*/ 690825 w 703122"/>
                  <a:gd name="connsiteY75" fmla="*/ 597694 h 711994"/>
                  <a:gd name="connsiteX76" fmla="*/ 697968 w 703122"/>
                  <a:gd name="connsiteY76" fmla="*/ 602456 h 711994"/>
                  <a:gd name="connsiteX77" fmla="*/ 700350 w 703122"/>
                  <a:gd name="connsiteY77" fmla="*/ 609600 h 711994"/>
                  <a:gd name="connsiteX78" fmla="*/ 700350 w 703122"/>
                  <a:gd name="connsiteY78" fmla="*/ 671513 h 711994"/>
                  <a:gd name="connsiteX79" fmla="*/ 697968 w 703122"/>
                  <a:gd name="connsiteY79" fmla="*/ 711994 h 711994"/>
                  <a:gd name="connsiteX80" fmla="*/ 676537 w 703122"/>
                  <a:gd name="connsiteY80" fmla="*/ 707231 h 711994"/>
                  <a:gd name="connsiteX81" fmla="*/ 662250 w 703122"/>
                  <a:gd name="connsiteY81" fmla="*/ 697706 h 711994"/>
                  <a:gd name="connsiteX82" fmla="*/ 652725 w 703122"/>
                  <a:gd name="connsiteY82" fmla="*/ 683419 h 711994"/>
                  <a:gd name="connsiteX83" fmla="*/ 645581 w 703122"/>
                  <a:gd name="connsiteY83" fmla="*/ 669131 h 711994"/>
                  <a:gd name="connsiteX84" fmla="*/ 631293 w 703122"/>
                  <a:gd name="connsiteY84" fmla="*/ 661988 h 711994"/>
                  <a:gd name="connsiteX85" fmla="*/ 609862 w 703122"/>
                  <a:gd name="connsiteY85" fmla="*/ 647700 h 711994"/>
                  <a:gd name="connsiteX86" fmla="*/ 602718 w 703122"/>
                  <a:gd name="connsiteY86" fmla="*/ 642938 h 711994"/>
                  <a:gd name="connsiteX87" fmla="*/ 595575 w 703122"/>
                  <a:gd name="connsiteY87" fmla="*/ 640556 h 711994"/>
                  <a:gd name="connsiteX88" fmla="*/ 581287 w 703122"/>
                  <a:gd name="connsiteY88" fmla="*/ 633413 h 711994"/>
                  <a:gd name="connsiteX89" fmla="*/ 567000 w 703122"/>
                  <a:gd name="connsiteY89" fmla="*/ 623888 h 711994"/>
                  <a:gd name="connsiteX90" fmla="*/ 552712 w 703122"/>
                  <a:gd name="connsiteY90" fmla="*/ 611981 h 711994"/>
                  <a:gd name="connsiteX91" fmla="*/ 547950 w 703122"/>
                  <a:gd name="connsiteY91" fmla="*/ 604838 h 711994"/>
                  <a:gd name="connsiteX92" fmla="*/ 533662 w 703122"/>
                  <a:gd name="connsiteY92" fmla="*/ 590550 h 711994"/>
                  <a:gd name="connsiteX93" fmla="*/ 519375 w 703122"/>
                  <a:gd name="connsiteY93" fmla="*/ 578644 h 711994"/>
                  <a:gd name="connsiteX94" fmla="*/ 512231 w 703122"/>
                  <a:gd name="connsiteY94" fmla="*/ 576263 h 711994"/>
                  <a:gd name="connsiteX95" fmla="*/ 490800 w 703122"/>
                  <a:gd name="connsiteY95" fmla="*/ 564356 h 711994"/>
                  <a:gd name="connsiteX96" fmla="*/ 483656 w 703122"/>
                  <a:gd name="connsiteY96" fmla="*/ 557213 h 711994"/>
                  <a:gd name="connsiteX97" fmla="*/ 476512 w 703122"/>
                  <a:gd name="connsiteY97" fmla="*/ 552450 h 711994"/>
                  <a:gd name="connsiteX98" fmla="*/ 471750 w 703122"/>
                  <a:gd name="connsiteY98" fmla="*/ 545306 h 711994"/>
                  <a:gd name="connsiteX99" fmla="*/ 457462 w 703122"/>
                  <a:gd name="connsiteY99" fmla="*/ 538163 h 711994"/>
                  <a:gd name="connsiteX100" fmla="*/ 443175 w 703122"/>
                  <a:gd name="connsiteY100" fmla="*/ 528638 h 711994"/>
                  <a:gd name="connsiteX101" fmla="*/ 436031 w 703122"/>
                  <a:gd name="connsiteY101" fmla="*/ 523875 h 711994"/>
                  <a:gd name="connsiteX102" fmla="*/ 428887 w 703122"/>
                  <a:gd name="connsiteY102" fmla="*/ 521494 h 711994"/>
                  <a:gd name="connsiteX103" fmla="*/ 400312 w 703122"/>
                  <a:gd name="connsiteY103" fmla="*/ 497681 h 711994"/>
                  <a:gd name="connsiteX104" fmla="*/ 388406 w 703122"/>
                  <a:gd name="connsiteY104" fmla="*/ 483394 h 711994"/>
                  <a:gd name="connsiteX105" fmla="*/ 376500 w 703122"/>
                  <a:gd name="connsiteY105" fmla="*/ 471488 h 711994"/>
                  <a:gd name="connsiteX106" fmla="*/ 364593 w 703122"/>
                  <a:gd name="connsiteY106" fmla="*/ 457200 h 711994"/>
                  <a:gd name="connsiteX107" fmla="*/ 357450 w 703122"/>
                  <a:gd name="connsiteY107" fmla="*/ 452438 h 711994"/>
                  <a:gd name="connsiteX108" fmla="*/ 343162 w 703122"/>
                  <a:gd name="connsiteY108" fmla="*/ 438150 h 711994"/>
                  <a:gd name="connsiteX109" fmla="*/ 340781 w 703122"/>
                  <a:gd name="connsiteY109" fmla="*/ 431006 h 711994"/>
                  <a:gd name="connsiteX110" fmla="*/ 331256 w 703122"/>
                  <a:gd name="connsiteY110" fmla="*/ 416719 h 711994"/>
                  <a:gd name="connsiteX111" fmla="*/ 328875 w 703122"/>
                  <a:gd name="connsiteY111" fmla="*/ 407194 h 711994"/>
                  <a:gd name="connsiteX112" fmla="*/ 324112 w 703122"/>
                  <a:gd name="connsiteY112" fmla="*/ 392906 h 711994"/>
                  <a:gd name="connsiteX113" fmla="*/ 319350 w 703122"/>
                  <a:gd name="connsiteY113" fmla="*/ 371475 h 711994"/>
                  <a:gd name="connsiteX114" fmla="*/ 314587 w 703122"/>
                  <a:gd name="connsiteY114" fmla="*/ 357188 h 711994"/>
                  <a:gd name="connsiteX115" fmla="*/ 305062 w 703122"/>
                  <a:gd name="connsiteY115" fmla="*/ 342900 h 711994"/>
                  <a:gd name="connsiteX116" fmla="*/ 290775 w 703122"/>
                  <a:gd name="connsiteY116" fmla="*/ 330994 h 711994"/>
                  <a:gd name="connsiteX117" fmla="*/ 276487 w 703122"/>
                  <a:gd name="connsiteY117" fmla="*/ 321469 h 711994"/>
                  <a:gd name="connsiteX118" fmla="*/ 269343 w 703122"/>
                  <a:gd name="connsiteY118" fmla="*/ 316706 h 711994"/>
                  <a:gd name="connsiteX119" fmla="*/ 255056 w 703122"/>
                  <a:gd name="connsiteY119" fmla="*/ 311944 h 711994"/>
                  <a:gd name="connsiteX120" fmla="*/ 247912 w 703122"/>
                  <a:gd name="connsiteY120" fmla="*/ 309563 h 711994"/>
                  <a:gd name="connsiteX121" fmla="*/ 240768 w 703122"/>
                  <a:gd name="connsiteY121" fmla="*/ 304800 h 711994"/>
                  <a:gd name="connsiteX122" fmla="*/ 226481 w 703122"/>
                  <a:gd name="connsiteY122" fmla="*/ 297656 h 711994"/>
                  <a:gd name="connsiteX123" fmla="*/ 219337 w 703122"/>
                  <a:gd name="connsiteY123" fmla="*/ 290513 h 711994"/>
                  <a:gd name="connsiteX124" fmla="*/ 197906 w 703122"/>
                  <a:gd name="connsiteY124" fmla="*/ 278606 h 711994"/>
                  <a:gd name="connsiteX125" fmla="*/ 190762 w 703122"/>
                  <a:gd name="connsiteY125" fmla="*/ 271463 h 711994"/>
                  <a:gd name="connsiteX126" fmla="*/ 183618 w 703122"/>
                  <a:gd name="connsiteY126" fmla="*/ 266700 h 711994"/>
                  <a:gd name="connsiteX127" fmla="*/ 178856 w 703122"/>
                  <a:gd name="connsiteY127" fmla="*/ 259556 h 711994"/>
                  <a:gd name="connsiteX128" fmla="*/ 171712 w 703122"/>
                  <a:gd name="connsiteY128" fmla="*/ 250031 h 711994"/>
                  <a:gd name="connsiteX129" fmla="*/ 164568 w 703122"/>
                  <a:gd name="connsiteY129" fmla="*/ 235744 h 711994"/>
                  <a:gd name="connsiteX130" fmla="*/ 157425 w 703122"/>
                  <a:gd name="connsiteY130" fmla="*/ 228600 h 711994"/>
                  <a:gd name="connsiteX131" fmla="*/ 147900 w 703122"/>
                  <a:gd name="connsiteY131" fmla="*/ 214313 h 711994"/>
                  <a:gd name="connsiteX132" fmla="*/ 133612 w 703122"/>
                  <a:gd name="connsiteY132" fmla="*/ 192881 h 711994"/>
                  <a:gd name="connsiteX133" fmla="*/ 128850 w 703122"/>
                  <a:gd name="connsiteY133" fmla="*/ 185738 h 711994"/>
                  <a:gd name="connsiteX134" fmla="*/ 119325 w 703122"/>
                  <a:gd name="connsiteY134" fmla="*/ 171450 h 711994"/>
                  <a:gd name="connsiteX135" fmla="*/ 116943 w 703122"/>
                  <a:gd name="connsiteY135" fmla="*/ 164306 h 711994"/>
                  <a:gd name="connsiteX136" fmla="*/ 107418 w 703122"/>
                  <a:gd name="connsiteY136" fmla="*/ 150019 h 711994"/>
                  <a:gd name="connsiteX137" fmla="*/ 102656 w 703122"/>
                  <a:gd name="connsiteY137" fmla="*/ 142875 h 711994"/>
                  <a:gd name="connsiteX138" fmla="*/ 93131 w 703122"/>
                  <a:gd name="connsiteY138" fmla="*/ 128588 h 711994"/>
                  <a:gd name="connsiteX139" fmla="*/ 88368 w 703122"/>
                  <a:gd name="connsiteY139" fmla="*/ 121444 h 711994"/>
                  <a:gd name="connsiteX140" fmla="*/ 66937 w 703122"/>
                  <a:gd name="connsiteY140" fmla="*/ 109538 h 711994"/>
                  <a:gd name="connsiteX141" fmla="*/ 38362 w 703122"/>
                  <a:gd name="connsiteY141" fmla="*/ 90488 h 711994"/>
                  <a:gd name="connsiteX142" fmla="*/ 24075 w 703122"/>
                  <a:gd name="connsiteY142" fmla="*/ 80963 h 711994"/>
                  <a:gd name="connsiteX143" fmla="*/ 9787 w 703122"/>
                  <a:gd name="connsiteY143" fmla="*/ 73819 h 711994"/>
                  <a:gd name="connsiteX144" fmla="*/ 262 w 703122"/>
                  <a:gd name="connsiteY144" fmla="*/ 54769 h 7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03122" h="711994">
                    <a:moveTo>
                      <a:pt x="262" y="54769"/>
                    </a:moveTo>
                    <a:cubicBezTo>
                      <a:pt x="1850" y="50800"/>
                      <a:pt x="15190" y="52296"/>
                      <a:pt x="19312" y="50006"/>
                    </a:cubicBezTo>
                    <a:cubicBezTo>
                      <a:pt x="24316" y="47226"/>
                      <a:pt x="28837" y="43656"/>
                      <a:pt x="33600" y="40481"/>
                    </a:cubicBezTo>
                    <a:cubicBezTo>
                      <a:pt x="35981" y="38894"/>
                      <a:pt x="38720" y="37742"/>
                      <a:pt x="40743" y="35719"/>
                    </a:cubicBezTo>
                    <a:cubicBezTo>
                      <a:pt x="45506" y="30956"/>
                      <a:pt x="48387" y="22538"/>
                      <a:pt x="55031" y="21431"/>
                    </a:cubicBezTo>
                    <a:cubicBezTo>
                      <a:pt x="59793" y="20637"/>
                      <a:pt x="64605" y="20097"/>
                      <a:pt x="69318" y="19050"/>
                    </a:cubicBezTo>
                    <a:cubicBezTo>
                      <a:pt x="71768" y="18506"/>
                      <a:pt x="74012" y="17213"/>
                      <a:pt x="76462" y="16669"/>
                    </a:cubicBezTo>
                    <a:cubicBezTo>
                      <a:pt x="81175" y="15622"/>
                      <a:pt x="85987" y="15082"/>
                      <a:pt x="90750" y="14288"/>
                    </a:cubicBezTo>
                    <a:cubicBezTo>
                      <a:pt x="93131" y="13494"/>
                      <a:pt x="95933" y="13474"/>
                      <a:pt x="97893" y="11906"/>
                    </a:cubicBezTo>
                    <a:cubicBezTo>
                      <a:pt x="100128" y="10118"/>
                      <a:pt x="100632" y="6787"/>
                      <a:pt x="102656" y="4763"/>
                    </a:cubicBezTo>
                    <a:cubicBezTo>
                      <a:pt x="104680" y="2739"/>
                      <a:pt x="107419" y="1588"/>
                      <a:pt x="109800" y="0"/>
                    </a:cubicBezTo>
                    <a:cubicBezTo>
                      <a:pt x="124087" y="794"/>
                      <a:pt x="138660" y="-567"/>
                      <a:pt x="152662" y="2381"/>
                    </a:cubicBezTo>
                    <a:cubicBezTo>
                      <a:pt x="155118" y="2898"/>
                      <a:pt x="154826" y="7024"/>
                      <a:pt x="155043" y="9525"/>
                    </a:cubicBezTo>
                    <a:cubicBezTo>
                      <a:pt x="156420" y="25360"/>
                      <a:pt x="155603" y="41360"/>
                      <a:pt x="157425" y="57150"/>
                    </a:cubicBezTo>
                    <a:cubicBezTo>
                      <a:pt x="158698" y="68183"/>
                      <a:pt x="161691" y="72215"/>
                      <a:pt x="169331" y="78581"/>
                    </a:cubicBezTo>
                    <a:cubicBezTo>
                      <a:pt x="171530" y="80413"/>
                      <a:pt x="173915" y="82064"/>
                      <a:pt x="176475" y="83344"/>
                    </a:cubicBezTo>
                    <a:cubicBezTo>
                      <a:pt x="178720" y="84466"/>
                      <a:pt x="181237" y="84931"/>
                      <a:pt x="183618" y="85725"/>
                    </a:cubicBezTo>
                    <a:cubicBezTo>
                      <a:pt x="185999" y="87313"/>
                      <a:pt x="188974" y="88253"/>
                      <a:pt x="190762" y="90488"/>
                    </a:cubicBezTo>
                    <a:cubicBezTo>
                      <a:pt x="200748" y="102970"/>
                      <a:pt x="182593" y="92979"/>
                      <a:pt x="200287" y="104775"/>
                    </a:cubicBezTo>
                    <a:cubicBezTo>
                      <a:pt x="202376" y="106167"/>
                      <a:pt x="205050" y="106362"/>
                      <a:pt x="207431" y="107156"/>
                    </a:cubicBezTo>
                    <a:cubicBezTo>
                      <a:pt x="209812" y="108744"/>
                      <a:pt x="211960" y="110757"/>
                      <a:pt x="214575" y="111919"/>
                    </a:cubicBezTo>
                    <a:cubicBezTo>
                      <a:pt x="219162" y="113958"/>
                      <a:pt x="224100" y="115094"/>
                      <a:pt x="228862" y="116681"/>
                    </a:cubicBezTo>
                    <a:cubicBezTo>
                      <a:pt x="239120" y="120101"/>
                      <a:pt x="233558" y="118451"/>
                      <a:pt x="245531" y="121444"/>
                    </a:cubicBezTo>
                    <a:cubicBezTo>
                      <a:pt x="254740" y="127584"/>
                      <a:pt x="257531" y="131254"/>
                      <a:pt x="266962" y="133350"/>
                    </a:cubicBezTo>
                    <a:cubicBezTo>
                      <a:pt x="271675" y="134397"/>
                      <a:pt x="276487" y="134937"/>
                      <a:pt x="281250" y="135731"/>
                    </a:cubicBezTo>
                    <a:cubicBezTo>
                      <a:pt x="283631" y="136525"/>
                      <a:pt x="286305" y="136721"/>
                      <a:pt x="288393" y="138113"/>
                    </a:cubicBezTo>
                    <a:cubicBezTo>
                      <a:pt x="293895" y="141781"/>
                      <a:pt x="296785" y="147127"/>
                      <a:pt x="300300" y="152400"/>
                    </a:cubicBezTo>
                    <a:cubicBezTo>
                      <a:pt x="301094" y="154781"/>
                      <a:pt x="301559" y="157299"/>
                      <a:pt x="302681" y="159544"/>
                    </a:cubicBezTo>
                    <a:cubicBezTo>
                      <a:pt x="303961" y="162104"/>
                      <a:pt x="306438" y="164008"/>
                      <a:pt x="307443" y="166688"/>
                    </a:cubicBezTo>
                    <a:cubicBezTo>
                      <a:pt x="308864" y="170478"/>
                      <a:pt x="309031" y="174625"/>
                      <a:pt x="309825" y="178594"/>
                    </a:cubicBezTo>
                    <a:cubicBezTo>
                      <a:pt x="310619" y="187325"/>
                      <a:pt x="309797" y="196358"/>
                      <a:pt x="312206" y="204788"/>
                    </a:cubicBezTo>
                    <a:cubicBezTo>
                      <a:pt x="313131" y="208026"/>
                      <a:pt x="316042" y="211301"/>
                      <a:pt x="319350" y="211931"/>
                    </a:cubicBezTo>
                    <a:cubicBezTo>
                      <a:pt x="333407" y="214608"/>
                      <a:pt x="347925" y="213519"/>
                      <a:pt x="362212" y="214313"/>
                    </a:cubicBezTo>
                    <a:cubicBezTo>
                      <a:pt x="363800" y="216694"/>
                      <a:pt x="365813" y="218841"/>
                      <a:pt x="366975" y="221456"/>
                    </a:cubicBezTo>
                    <a:cubicBezTo>
                      <a:pt x="366978" y="221462"/>
                      <a:pt x="372926" y="239313"/>
                      <a:pt x="374118" y="242888"/>
                    </a:cubicBezTo>
                    <a:lnTo>
                      <a:pt x="376500" y="250031"/>
                    </a:lnTo>
                    <a:cubicBezTo>
                      <a:pt x="377294" y="252412"/>
                      <a:pt x="377489" y="255086"/>
                      <a:pt x="378881" y="257175"/>
                    </a:cubicBezTo>
                    <a:cubicBezTo>
                      <a:pt x="380468" y="259556"/>
                      <a:pt x="382363" y="261759"/>
                      <a:pt x="383643" y="264319"/>
                    </a:cubicBezTo>
                    <a:cubicBezTo>
                      <a:pt x="384766" y="266564"/>
                      <a:pt x="384484" y="269482"/>
                      <a:pt x="386025" y="271463"/>
                    </a:cubicBezTo>
                    <a:cubicBezTo>
                      <a:pt x="390160" y="276779"/>
                      <a:pt x="395550" y="280988"/>
                      <a:pt x="400312" y="285750"/>
                    </a:cubicBezTo>
                    <a:cubicBezTo>
                      <a:pt x="402693" y="288131"/>
                      <a:pt x="404090" y="292789"/>
                      <a:pt x="407456" y="292894"/>
                    </a:cubicBezTo>
                    <a:lnTo>
                      <a:pt x="483656" y="295275"/>
                    </a:lnTo>
                    <a:cubicBezTo>
                      <a:pt x="490800" y="296069"/>
                      <a:pt x="499023" y="293797"/>
                      <a:pt x="505087" y="297656"/>
                    </a:cubicBezTo>
                    <a:cubicBezTo>
                      <a:pt x="509322" y="300351"/>
                      <a:pt x="508262" y="307181"/>
                      <a:pt x="509850" y="311944"/>
                    </a:cubicBezTo>
                    <a:cubicBezTo>
                      <a:pt x="513137" y="321804"/>
                      <a:pt x="510838" y="316998"/>
                      <a:pt x="516993" y="326231"/>
                    </a:cubicBezTo>
                    <a:cubicBezTo>
                      <a:pt x="516199" y="328612"/>
                      <a:pt x="516387" y="331600"/>
                      <a:pt x="514612" y="333375"/>
                    </a:cubicBezTo>
                    <a:cubicBezTo>
                      <a:pt x="512837" y="335150"/>
                      <a:pt x="509929" y="335264"/>
                      <a:pt x="507468" y="335756"/>
                    </a:cubicBezTo>
                    <a:cubicBezTo>
                      <a:pt x="501965" y="336857"/>
                      <a:pt x="496356" y="337344"/>
                      <a:pt x="490800" y="338138"/>
                    </a:cubicBezTo>
                    <a:lnTo>
                      <a:pt x="476512" y="342900"/>
                    </a:lnTo>
                    <a:lnTo>
                      <a:pt x="469368" y="345281"/>
                    </a:lnTo>
                    <a:cubicBezTo>
                      <a:pt x="456170" y="354082"/>
                      <a:pt x="466610" y="345009"/>
                      <a:pt x="459843" y="357188"/>
                    </a:cubicBezTo>
                    <a:cubicBezTo>
                      <a:pt x="457063" y="362191"/>
                      <a:pt x="450318" y="371475"/>
                      <a:pt x="450318" y="371475"/>
                    </a:cubicBezTo>
                    <a:cubicBezTo>
                      <a:pt x="445682" y="385384"/>
                      <a:pt x="451565" y="372609"/>
                      <a:pt x="440793" y="383381"/>
                    </a:cubicBezTo>
                    <a:cubicBezTo>
                      <a:pt x="436178" y="387996"/>
                      <a:pt x="435586" y="391860"/>
                      <a:pt x="433650" y="397669"/>
                    </a:cubicBezTo>
                    <a:cubicBezTo>
                      <a:pt x="434444" y="401638"/>
                      <a:pt x="433546" y="406380"/>
                      <a:pt x="436031" y="409575"/>
                    </a:cubicBezTo>
                    <a:cubicBezTo>
                      <a:pt x="441763" y="416945"/>
                      <a:pt x="449556" y="418846"/>
                      <a:pt x="457462" y="421481"/>
                    </a:cubicBezTo>
                    <a:cubicBezTo>
                      <a:pt x="469751" y="458344"/>
                      <a:pt x="455666" y="420270"/>
                      <a:pt x="466987" y="442913"/>
                    </a:cubicBezTo>
                    <a:cubicBezTo>
                      <a:pt x="468109" y="445158"/>
                      <a:pt x="467827" y="448075"/>
                      <a:pt x="469368" y="450056"/>
                    </a:cubicBezTo>
                    <a:cubicBezTo>
                      <a:pt x="473503" y="455373"/>
                      <a:pt x="479920" y="458740"/>
                      <a:pt x="483656" y="464344"/>
                    </a:cubicBezTo>
                    <a:lnTo>
                      <a:pt x="493181" y="478631"/>
                    </a:lnTo>
                    <a:cubicBezTo>
                      <a:pt x="494768" y="481012"/>
                      <a:pt x="495562" y="484187"/>
                      <a:pt x="497943" y="485775"/>
                    </a:cubicBezTo>
                    <a:cubicBezTo>
                      <a:pt x="500324" y="487363"/>
                      <a:pt x="502472" y="489376"/>
                      <a:pt x="505087" y="490538"/>
                    </a:cubicBezTo>
                    <a:cubicBezTo>
                      <a:pt x="509675" y="492577"/>
                      <a:pt x="519375" y="495300"/>
                      <a:pt x="519375" y="495300"/>
                    </a:cubicBezTo>
                    <a:cubicBezTo>
                      <a:pt x="521756" y="497681"/>
                      <a:pt x="524362" y="499857"/>
                      <a:pt x="526518" y="502444"/>
                    </a:cubicBezTo>
                    <a:cubicBezTo>
                      <a:pt x="528350" y="504643"/>
                      <a:pt x="529257" y="507564"/>
                      <a:pt x="531281" y="509588"/>
                    </a:cubicBezTo>
                    <a:cubicBezTo>
                      <a:pt x="533305" y="511612"/>
                      <a:pt x="535865" y="513070"/>
                      <a:pt x="538425" y="514350"/>
                    </a:cubicBezTo>
                    <a:cubicBezTo>
                      <a:pt x="540670" y="515472"/>
                      <a:pt x="543065" y="516552"/>
                      <a:pt x="545568" y="516731"/>
                    </a:cubicBezTo>
                    <a:cubicBezTo>
                      <a:pt x="565377" y="518146"/>
                      <a:pt x="585256" y="518319"/>
                      <a:pt x="605100" y="519113"/>
                    </a:cubicBezTo>
                    <a:cubicBezTo>
                      <a:pt x="607481" y="521494"/>
                      <a:pt x="610087" y="523669"/>
                      <a:pt x="612243" y="526256"/>
                    </a:cubicBezTo>
                    <a:cubicBezTo>
                      <a:pt x="614075" y="528455"/>
                      <a:pt x="615105" y="531261"/>
                      <a:pt x="617006" y="533400"/>
                    </a:cubicBezTo>
                    <a:cubicBezTo>
                      <a:pt x="622058" y="539084"/>
                      <a:pt x="630473" y="548468"/>
                      <a:pt x="638437" y="552450"/>
                    </a:cubicBezTo>
                    <a:cubicBezTo>
                      <a:pt x="640682" y="553572"/>
                      <a:pt x="643200" y="554037"/>
                      <a:pt x="645581" y="554831"/>
                    </a:cubicBezTo>
                    <a:cubicBezTo>
                      <a:pt x="650343" y="558006"/>
                      <a:pt x="654438" y="562546"/>
                      <a:pt x="659868" y="564356"/>
                    </a:cubicBezTo>
                    <a:cubicBezTo>
                      <a:pt x="662249" y="565150"/>
                      <a:pt x="664818" y="565519"/>
                      <a:pt x="667012" y="566738"/>
                    </a:cubicBezTo>
                    <a:cubicBezTo>
                      <a:pt x="672016" y="569518"/>
                      <a:pt x="681300" y="576263"/>
                      <a:pt x="681300" y="576263"/>
                    </a:cubicBezTo>
                    <a:cubicBezTo>
                      <a:pt x="683659" y="583339"/>
                      <a:pt x="685164" y="592033"/>
                      <a:pt x="690825" y="597694"/>
                    </a:cubicBezTo>
                    <a:cubicBezTo>
                      <a:pt x="692848" y="599717"/>
                      <a:pt x="695587" y="600869"/>
                      <a:pt x="697968" y="602456"/>
                    </a:cubicBezTo>
                    <a:cubicBezTo>
                      <a:pt x="698762" y="604837"/>
                      <a:pt x="699805" y="607150"/>
                      <a:pt x="700350" y="609600"/>
                    </a:cubicBezTo>
                    <a:cubicBezTo>
                      <a:pt x="705618" y="633303"/>
                      <a:pt x="702071" y="639687"/>
                      <a:pt x="700350" y="671513"/>
                    </a:cubicBezTo>
                    <a:cubicBezTo>
                      <a:pt x="699620" y="685010"/>
                      <a:pt x="698762" y="698500"/>
                      <a:pt x="697968" y="711994"/>
                    </a:cubicBezTo>
                    <a:cubicBezTo>
                      <a:pt x="694086" y="711347"/>
                      <a:pt x="681564" y="710024"/>
                      <a:pt x="676537" y="707231"/>
                    </a:cubicBezTo>
                    <a:cubicBezTo>
                      <a:pt x="671534" y="704451"/>
                      <a:pt x="662250" y="697706"/>
                      <a:pt x="662250" y="697706"/>
                    </a:cubicBezTo>
                    <a:cubicBezTo>
                      <a:pt x="659075" y="692944"/>
                      <a:pt x="654535" y="688849"/>
                      <a:pt x="652725" y="683419"/>
                    </a:cubicBezTo>
                    <a:cubicBezTo>
                      <a:pt x="650788" y="677611"/>
                      <a:pt x="650195" y="673745"/>
                      <a:pt x="645581" y="669131"/>
                    </a:cubicBezTo>
                    <a:cubicBezTo>
                      <a:pt x="640966" y="664516"/>
                      <a:pt x="637102" y="663924"/>
                      <a:pt x="631293" y="661988"/>
                    </a:cubicBezTo>
                    <a:lnTo>
                      <a:pt x="609862" y="647700"/>
                    </a:lnTo>
                    <a:cubicBezTo>
                      <a:pt x="607481" y="646113"/>
                      <a:pt x="605433" y="643843"/>
                      <a:pt x="602718" y="642938"/>
                    </a:cubicBezTo>
                    <a:cubicBezTo>
                      <a:pt x="600337" y="642144"/>
                      <a:pt x="597820" y="641679"/>
                      <a:pt x="595575" y="640556"/>
                    </a:cubicBezTo>
                    <a:cubicBezTo>
                      <a:pt x="577121" y="631329"/>
                      <a:pt x="599234" y="639394"/>
                      <a:pt x="581287" y="633413"/>
                    </a:cubicBezTo>
                    <a:lnTo>
                      <a:pt x="567000" y="623888"/>
                    </a:lnTo>
                    <a:cubicBezTo>
                      <a:pt x="559976" y="619205"/>
                      <a:pt x="558442" y="618856"/>
                      <a:pt x="552712" y="611981"/>
                    </a:cubicBezTo>
                    <a:cubicBezTo>
                      <a:pt x="550880" y="609783"/>
                      <a:pt x="549851" y="606977"/>
                      <a:pt x="547950" y="604838"/>
                    </a:cubicBezTo>
                    <a:cubicBezTo>
                      <a:pt x="543475" y="599804"/>
                      <a:pt x="538425" y="595313"/>
                      <a:pt x="533662" y="590550"/>
                    </a:cubicBezTo>
                    <a:cubicBezTo>
                      <a:pt x="528396" y="585284"/>
                      <a:pt x="526005" y="581959"/>
                      <a:pt x="519375" y="578644"/>
                    </a:cubicBezTo>
                    <a:cubicBezTo>
                      <a:pt x="517130" y="577522"/>
                      <a:pt x="514612" y="577057"/>
                      <a:pt x="512231" y="576263"/>
                    </a:cubicBezTo>
                    <a:cubicBezTo>
                      <a:pt x="495855" y="565346"/>
                      <a:pt x="503373" y="568549"/>
                      <a:pt x="490800" y="564356"/>
                    </a:cubicBezTo>
                    <a:cubicBezTo>
                      <a:pt x="488419" y="561975"/>
                      <a:pt x="486243" y="559369"/>
                      <a:pt x="483656" y="557213"/>
                    </a:cubicBezTo>
                    <a:cubicBezTo>
                      <a:pt x="481457" y="555381"/>
                      <a:pt x="478536" y="554474"/>
                      <a:pt x="476512" y="552450"/>
                    </a:cubicBezTo>
                    <a:cubicBezTo>
                      <a:pt x="474488" y="550426"/>
                      <a:pt x="473774" y="547330"/>
                      <a:pt x="471750" y="545306"/>
                    </a:cubicBezTo>
                    <a:cubicBezTo>
                      <a:pt x="467135" y="540691"/>
                      <a:pt x="463271" y="540099"/>
                      <a:pt x="457462" y="538163"/>
                    </a:cubicBezTo>
                    <a:lnTo>
                      <a:pt x="443175" y="528638"/>
                    </a:lnTo>
                    <a:cubicBezTo>
                      <a:pt x="440794" y="527050"/>
                      <a:pt x="438746" y="524780"/>
                      <a:pt x="436031" y="523875"/>
                    </a:cubicBezTo>
                    <a:lnTo>
                      <a:pt x="428887" y="521494"/>
                    </a:lnTo>
                    <a:cubicBezTo>
                      <a:pt x="418345" y="514466"/>
                      <a:pt x="407646" y="508682"/>
                      <a:pt x="400312" y="497681"/>
                    </a:cubicBezTo>
                    <a:cubicBezTo>
                      <a:pt x="388490" y="479948"/>
                      <a:pt x="403683" y="501726"/>
                      <a:pt x="388406" y="483394"/>
                    </a:cubicBezTo>
                    <a:cubicBezTo>
                      <a:pt x="378484" y="471488"/>
                      <a:pt x="389595" y="480218"/>
                      <a:pt x="376500" y="471488"/>
                    </a:cubicBezTo>
                    <a:cubicBezTo>
                      <a:pt x="371817" y="464464"/>
                      <a:pt x="371469" y="462930"/>
                      <a:pt x="364593" y="457200"/>
                    </a:cubicBezTo>
                    <a:cubicBezTo>
                      <a:pt x="362395" y="455368"/>
                      <a:pt x="359589" y="454339"/>
                      <a:pt x="357450" y="452438"/>
                    </a:cubicBezTo>
                    <a:cubicBezTo>
                      <a:pt x="352416" y="447963"/>
                      <a:pt x="343162" y="438150"/>
                      <a:pt x="343162" y="438150"/>
                    </a:cubicBezTo>
                    <a:cubicBezTo>
                      <a:pt x="342368" y="435769"/>
                      <a:pt x="342000" y="433200"/>
                      <a:pt x="340781" y="431006"/>
                    </a:cubicBezTo>
                    <a:cubicBezTo>
                      <a:pt x="338001" y="426003"/>
                      <a:pt x="331256" y="416719"/>
                      <a:pt x="331256" y="416719"/>
                    </a:cubicBezTo>
                    <a:cubicBezTo>
                      <a:pt x="330462" y="413544"/>
                      <a:pt x="329815" y="410329"/>
                      <a:pt x="328875" y="407194"/>
                    </a:cubicBezTo>
                    <a:cubicBezTo>
                      <a:pt x="327432" y="402385"/>
                      <a:pt x="325096" y="397829"/>
                      <a:pt x="324112" y="392906"/>
                    </a:cubicBezTo>
                    <a:cubicBezTo>
                      <a:pt x="322753" y="386113"/>
                      <a:pt x="321367" y="378197"/>
                      <a:pt x="319350" y="371475"/>
                    </a:cubicBezTo>
                    <a:cubicBezTo>
                      <a:pt x="317907" y="366667"/>
                      <a:pt x="317372" y="361365"/>
                      <a:pt x="314587" y="357188"/>
                    </a:cubicBezTo>
                    <a:cubicBezTo>
                      <a:pt x="311412" y="352425"/>
                      <a:pt x="309825" y="346075"/>
                      <a:pt x="305062" y="342900"/>
                    </a:cubicBezTo>
                    <a:cubicBezTo>
                      <a:pt x="279543" y="325890"/>
                      <a:pt x="318266" y="352376"/>
                      <a:pt x="290775" y="330994"/>
                    </a:cubicBezTo>
                    <a:cubicBezTo>
                      <a:pt x="286257" y="327480"/>
                      <a:pt x="281250" y="324644"/>
                      <a:pt x="276487" y="321469"/>
                    </a:cubicBezTo>
                    <a:cubicBezTo>
                      <a:pt x="274106" y="319881"/>
                      <a:pt x="272058" y="317611"/>
                      <a:pt x="269343" y="316706"/>
                    </a:cubicBezTo>
                    <a:lnTo>
                      <a:pt x="255056" y="311944"/>
                    </a:lnTo>
                    <a:lnTo>
                      <a:pt x="247912" y="309563"/>
                    </a:lnTo>
                    <a:cubicBezTo>
                      <a:pt x="245531" y="307975"/>
                      <a:pt x="243328" y="306080"/>
                      <a:pt x="240768" y="304800"/>
                    </a:cubicBezTo>
                    <a:cubicBezTo>
                      <a:pt x="230025" y="299428"/>
                      <a:pt x="236722" y="306190"/>
                      <a:pt x="226481" y="297656"/>
                    </a:cubicBezTo>
                    <a:cubicBezTo>
                      <a:pt x="223894" y="295500"/>
                      <a:pt x="221995" y="292580"/>
                      <a:pt x="219337" y="290513"/>
                    </a:cubicBezTo>
                    <a:cubicBezTo>
                      <a:pt x="207055" y="280960"/>
                      <a:pt x="208685" y="282200"/>
                      <a:pt x="197906" y="278606"/>
                    </a:cubicBezTo>
                    <a:cubicBezTo>
                      <a:pt x="195525" y="276225"/>
                      <a:pt x="193349" y="273619"/>
                      <a:pt x="190762" y="271463"/>
                    </a:cubicBezTo>
                    <a:cubicBezTo>
                      <a:pt x="188563" y="269631"/>
                      <a:pt x="185642" y="268724"/>
                      <a:pt x="183618" y="266700"/>
                    </a:cubicBezTo>
                    <a:cubicBezTo>
                      <a:pt x="181594" y="264676"/>
                      <a:pt x="180519" y="261885"/>
                      <a:pt x="178856" y="259556"/>
                    </a:cubicBezTo>
                    <a:cubicBezTo>
                      <a:pt x="176549" y="256326"/>
                      <a:pt x="174093" y="253206"/>
                      <a:pt x="171712" y="250031"/>
                    </a:cubicBezTo>
                    <a:cubicBezTo>
                      <a:pt x="169325" y="242870"/>
                      <a:pt x="169698" y="241900"/>
                      <a:pt x="164568" y="235744"/>
                    </a:cubicBezTo>
                    <a:cubicBezTo>
                      <a:pt x="162412" y="233157"/>
                      <a:pt x="159492" y="231258"/>
                      <a:pt x="157425" y="228600"/>
                    </a:cubicBezTo>
                    <a:cubicBezTo>
                      <a:pt x="153911" y="224082"/>
                      <a:pt x="151075" y="219075"/>
                      <a:pt x="147900" y="214313"/>
                    </a:cubicBezTo>
                    <a:lnTo>
                      <a:pt x="133612" y="192881"/>
                    </a:lnTo>
                    <a:cubicBezTo>
                      <a:pt x="132025" y="190500"/>
                      <a:pt x="129755" y="188453"/>
                      <a:pt x="128850" y="185738"/>
                    </a:cubicBezTo>
                    <a:cubicBezTo>
                      <a:pt x="125403" y="175399"/>
                      <a:pt x="128243" y="180369"/>
                      <a:pt x="119325" y="171450"/>
                    </a:cubicBezTo>
                    <a:cubicBezTo>
                      <a:pt x="118531" y="169069"/>
                      <a:pt x="118162" y="166500"/>
                      <a:pt x="116943" y="164306"/>
                    </a:cubicBezTo>
                    <a:cubicBezTo>
                      <a:pt x="114163" y="159303"/>
                      <a:pt x="110593" y="154781"/>
                      <a:pt x="107418" y="150019"/>
                    </a:cubicBezTo>
                    <a:lnTo>
                      <a:pt x="102656" y="142875"/>
                    </a:lnTo>
                    <a:lnTo>
                      <a:pt x="93131" y="128588"/>
                    </a:lnTo>
                    <a:cubicBezTo>
                      <a:pt x="91543" y="126207"/>
                      <a:pt x="90749" y="123032"/>
                      <a:pt x="88368" y="121444"/>
                    </a:cubicBezTo>
                    <a:cubicBezTo>
                      <a:pt x="71992" y="110527"/>
                      <a:pt x="79511" y="113729"/>
                      <a:pt x="66937" y="109538"/>
                    </a:cubicBezTo>
                    <a:lnTo>
                      <a:pt x="38362" y="90488"/>
                    </a:lnTo>
                    <a:lnTo>
                      <a:pt x="24075" y="80963"/>
                    </a:lnTo>
                    <a:cubicBezTo>
                      <a:pt x="14216" y="77676"/>
                      <a:pt x="19020" y="79973"/>
                      <a:pt x="9787" y="73819"/>
                    </a:cubicBezTo>
                    <a:cubicBezTo>
                      <a:pt x="4585" y="66015"/>
                      <a:pt x="-1326" y="58738"/>
                      <a:pt x="262" y="547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7" name="Freeform 186"/>
              <p:cNvSpPr/>
              <p:nvPr/>
            </p:nvSpPr>
            <p:spPr>
              <a:xfrm>
                <a:off x="2036633" y="3553505"/>
                <a:ext cx="1031097" cy="823912"/>
              </a:xfrm>
              <a:custGeom>
                <a:avLst/>
                <a:gdLst>
                  <a:gd name="connsiteX0" fmla="*/ 15 w 1031097"/>
                  <a:gd name="connsiteY0" fmla="*/ 269081 h 823912"/>
                  <a:gd name="connsiteX1" fmla="*/ 11922 w 1031097"/>
                  <a:gd name="connsiteY1" fmla="*/ 266700 h 823912"/>
                  <a:gd name="connsiteX2" fmla="*/ 23828 w 1031097"/>
                  <a:gd name="connsiteY2" fmla="*/ 280987 h 823912"/>
                  <a:gd name="connsiteX3" fmla="*/ 30972 w 1031097"/>
                  <a:gd name="connsiteY3" fmla="*/ 283368 h 823912"/>
                  <a:gd name="connsiteX4" fmla="*/ 38115 w 1031097"/>
                  <a:gd name="connsiteY4" fmla="*/ 297656 h 823912"/>
                  <a:gd name="connsiteX5" fmla="*/ 42878 w 1031097"/>
                  <a:gd name="connsiteY5" fmla="*/ 304800 h 823912"/>
                  <a:gd name="connsiteX6" fmla="*/ 45259 w 1031097"/>
                  <a:gd name="connsiteY6" fmla="*/ 316706 h 823912"/>
                  <a:gd name="connsiteX7" fmla="*/ 47640 w 1031097"/>
                  <a:gd name="connsiteY7" fmla="*/ 323850 h 823912"/>
                  <a:gd name="connsiteX8" fmla="*/ 54784 w 1031097"/>
                  <a:gd name="connsiteY8" fmla="*/ 350043 h 823912"/>
                  <a:gd name="connsiteX9" fmla="*/ 61928 w 1031097"/>
                  <a:gd name="connsiteY9" fmla="*/ 352425 h 823912"/>
                  <a:gd name="connsiteX10" fmla="*/ 88122 w 1031097"/>
                  <a:gd name="connsiteY10" fmla="*/ 350043 h 823912"/>
                  <a:gd name="connsiteX11" fmla="*/ 97647 w 1031097"/>
                  <a:gd name="connsiteY11" fmla="*/ 352425 h 823912"/>
                  <a:gd name="connsiteX12" fmla="*/ 100028 w 1031097"/>
                  <a:gd name="connsiteY12" fmla="*/ 359568 h 823912"/>
                  <a:gd name="connsiteX13" fmla="*/ 104790 w 1031097"/>
                  <a:gd name="connsiteY13" fmla="*/ 366712 h 823912"/>
                  <a:gd name="connsiteX14" fmla="*/ 107172 w 1031097"/>
                  <a:gd name="connsiteY14" fmla="*/ 376237 h 823912"/>
                  <a:gd name="connsiteX15" fmla="*/ 109553 w 1031097"/>
                  <a:gd name="connsiteY15" fmla="*/ 383381 h 823912"/>
                  <a:gd name="connsiteX16" fmla="*/ 111934 w 1031097"/>
                  <a:gd name="connsiteY16" fmla="*/ 395287 h 823912"/>
                  <a:gd name="connsiteX17" fmla="*/ 114315 w 1031097"/>
                  <a:gd name="connsiteY17" fmla="*/ 404812 h 823912"/>
                  <a:gd name="connsiteX18" fmla="*/ 128603 w 1031097"/>
                  <a:gd name="connsiteY18" fmla="*/ 414337 h 823912"/>
                  <a:gd name="connsiteX19" fmla="*/ 135747 w 1031097"/>
                  <a:gd name="connsiteY19" fmla="*/ 419100 h 823912"/>
                  <a:gd name="connsiteX20" fmla="*/ 150034 w 1031097"/>
                  <a:gd name="connsiteY20" fmla="*/ 426243 h 823912"/>
                  <a:gd name="connsiteX21" fmla="*/ 192897 w 1031097"/>
                  <a:gd name="connsiteY21" fmla="*/ 428625 h 823912"/>
                  <a:gd name="connsiteX22" fmla="*/ 230997 w 1031097"/>
                  <a:gd name="connsiteY22" fmla="*/ 433387 h 823912"/>
                  <a:gd name="connsiteX23" fmla="*/ 242903 w 1031097"/>
                  <a:gd name="connsiteY23" fmla="*/ 435768 h 823912"/>
                  <a:gd name="connsiteX24" fmla="*/ 250047 w 1031097"/>
                  <a:gd name="connsiteY24" fmla="*/ 452437 h 823912"/>
                  <a:gd name="connsiteX25" fmla="*/ 240522 w 1031097"/>
                  <a:gd name="connsiteY25" fmla="*/ 473868 h 823912"/>
                  <a:gd name="connsiteX26" fmla="*/ 219090 w 1031097"/>
                  <a:gd name="connsiteY26" fmla="*/ 483393 h 823912"/>
                  <a:gd name="connsiteX27" fmla="*/ 200040 w 1031097"/>
                  <a:gd name="connsiteY27" fmla="*/ 488156 h 823912"/>
                  <a:gd name="connsiteX28" fmla="*/ 195278 w 1031097"/>
                  <a:gd name="connsiteY28" fmla="*/ 495300 h 823912"/>
                  <a:gd name="connsiteX29" fmla="*/ 188134 w 1031097"/>
                  <a:gd name="connsiteY29" fmla="*/ 509587 h 823912"/>
                  <a:gd name="connsiteX30" fmla="*/ 180990 w 1031097"/>
                  <a:gd name="connsiteY30" fmla="*/ 514350 h 823912"/>
                  <a:gd name="connsiteX31" fmla="*/ 169084 w 1031097"/>
                  <a:gd name="connsiteY31" fmla="*/ 523875 h 823912"/>
                  <a:gd name="connsiteX32" fmla="*/ 164322 w 1031097"/>
                  <a:gd name="connsiteY32" fmla="*/ 531018 h 823912"/>
                  <a:gd name="connsiteX33" fmla="*/ 171465 w 1031097"/>
                  <a:gd name="connsiteY33" fmla="*/ 547687 h 823912"/>
                  <a:gd name="connsiteX34" fmla="*/ 178609 w 1031097"/>
                  <a:gd name="connsiteY34" fmla="*/ 552450 h 823912"/>
                  <a:gd name="connsiteX35" fmla="*/ 190515 w 1031097"/>
                  <a:gd name="connsiteY35" fmla="*/ 564356 h 823912"/>
                  <a:gd name="connsiteX36" fmla="*/ 195278 w 1031097"/>
                  <a:gd name="connsiteY36" fmla="*/ 571500 h 823912"/>
                  <a:gd name="connsiteX37" fmla="*/ 209565 w 1031097"/>
                  <a:gd name="connsiteY37" fmla="*/ 581025 h 823912"/>
                  <a:gd name="connsiteX38" fmla="*/ 214328 w 1031097"/>
                  <a:gd name="connsiteY38" fmla="*/ 595312 h 823912"/>
                  <a:gd name="connsiteX39" fmla="*/ 228615 w 1031097"/>
                  <a:gd name="connsiteY39" fmla="*/ 607218 h 823912"/>
                  <a:gd name="connsiteX40" fmla="*/ 245284 w 1031097"/>
                  <a:gd name="connsiteY40" fmla="*/ 628650 h 823912"/>
                  <a:gd name="connsiteX41" fmla="*/ 252428 w 1031097"/>
                  <a:gd name="connsiteY41" fmla="*/ 631031 h 823912"/>
                  <a:gd name="connsiteX42" fmla="*/ 273859 w 1031097"/>
                  <a:gd name="connsiteY42" fmla="*/ 647700 h 823912"/>
                  <a:gd name="connsiteX43" fmla="*/ 304815 w 1031097"/>
                  <a:gd name="connsiteY43" fmla="*/ 652462 h 823912"/>
                  <a:gd name="connsiteX44" fmla="*/ 321484 w 1031097"/>
                  <a:gd name="connsiteY44" fmla="*/ 654843 h 823912"/>
                  <a:gd name="connsiteX45" fmla="*/ 335772 w 1031097"/>
                  <a:gd name="connsiteY45" fmla="*/ 659606 h 823912"/>
                  <a:gd name="connsiteX46" fmla="*/ 342915 w 1031097"/>
                  <a:gd name="connsiteY46" fmla="*/ 661987 h 823912"/>
                  <a:gd name="connsiteX47" fmla="*/ 357203 w 1031097"/>
                  <a:gd name="connsiteY47" fmla="*/ 671512 h 823912"/>
                  <a:gd name="connsiteX48" fmla="*/ 364347 w 1031097"/>
                  <a:gd name="connsiteY48" fmla="*/ 676275 h 823912"/>
                  <a:gd name="connsiteX49" fmla="*/ 371490 w 1031097"/>
                  <a:gd name="connsiteY49" fmla="*/ 678656 h 823912"/>
                  <a:gd name="connsiteX50" fmla="*/ 378634 w 1031097"/>
                  <a:gd name="connsiteY50" fmla="*/ 685800 h 823912"/>
                  <a:gd name="connsiteX51" fmla="*/ 392922 w 1031097"/>
                  <a:gd name="connsiteY51" fmla="*/ 695325 h 823912"/>
                  <a:gd name="connsiteX52" fmla="*/ 400065 w 1031097"/>
                  <a:gd name="connsiteY52" fmla="*/ 700087 h 823912"/>
                  <a:gd name="connsiteX53" fmla="*/ 407209 w 1031097"/>
                  <a:gd name="connsiteY53" fmla="*/ 704850 h 823912"/>
                  <a:gd name="connsiteX54" fmla="*/ 414353 w 1031097"/>
                  <a:gd name="connsiteY54" fmla="*/ 709612 h 823912"/>
                  <a:gd name="connsiteX55" fmla="*/ 419115 w 1031097"/>
                  <a:gd name="connsiteY55" fmla="*/ 716756 h 823912"/>
                  <a:gd name="connsiteX56" fmla="*/ 421497 w 1031097"/>
                  <a:gd name="connsiteY56" fmla="*/ 723900 h 823912"/>
                  <a:gd name="connsiteX57" fmla="*/ 428640 w 1031097"/>
                  <a:gd name="connsiteY57" fmla="*/ 731043 h 823912"/>
                  <a:gd name="connsiteX58" fmla="*/ 442928 w 1031097"/>
                  <a:gd name="connsiteY58" fmla="*/ 759618 h 823912"/>
                  <a:gd name="connsiteX59" fmla="*/ 447690 w 1031097"/>
                  <a:gd name="connsiteY59" fmla="*/ 773906 h 823912"/>
                  <a:gd name="connsiteX60" fmla="*/ 450072 w 1031097"/>
                  <a:gd name="connsiteY60" fmla="*/ 781050 h 823912"/>
                  <a:gd name="connsiteX61" fmla="*/ 452453 w 1031097"/>
                  <a:gd name="connsiteY61" fmla="*/ 795337 h 823912"/>
                  <a:gd name="connsiteX62" fmla="*/ 466740 w 1031097"/>
                  <a:gd name="connsiteY62" fmla="*/ 800100 h 823912"/>
                  <a:gd name="connsiteX63" fmla="*/ 473884 w 1031097"/>
                  <a:gd name="connsiteY63" fmla="*/ 804862 h 823912"/>
                  <a:gd name="connsiteX64" fmla="*/ 490553 w 1031097"/>
                  <a:gd name="connsiteY64" fmla="*/ 821531 h 823912"/>
                  <a:gd name="connsiteX65" fmla="*/ 500078 w 1031097"/>
                  <a:gd name="connsiteY65" fmla="*/ 823912 h 823912"/>
                  <a:gd name="connsiteX66" fmla="*/ 531034 w 1031097"/>
                  <a:gd name="connsiteY66" fmla="*/ 821531 h 823912"/>
                  <a:gd name="connsiteX67" fmla="*/ 545322 w 1031097"/>
                  <a:gd name="connsiteY67" fmla="*/ 816768 h 823912"/>
                  <a:gd name="connsiteX68" fmla="*/ 550084 w 1031097"/>
                  <a:gd name="connsiteY68" fmla="*/ 802481 h 823912"/>
                  <a:gd name="connsiteX69" fmla="*/ 557228 w 1031097"/>
                  <a:gd name="connsiteY69" fmla="*/ 762000 h 823912"/>
                  <a:gd name="connsiteX70" fmla="*/ 561990 w 1031097"/>
                  <a:gd name="connsiteY70" fmla="*/ 754856 h 823912"/>
                  <a:gd name="connsiteX71" fmla="*/ 566753 w 1031097"/>
                  <a:gd name="connsiteY71" fmla="*/ 726281 h 823912"/>
                  <a:gd name="connsiteX72" fmla="*/ 571515 w 1031097"/>
                  <a:gd name="connsiteY72" fmla="*/ 711993 h 823912"/>
                  <a:gd name="connsiteX73" fmla="*/ 583422 w 1031097"/>
                  <a:gd name="connsiteY73" fmla="*/ 690562 h 823912"/>
                  <a:gd name="connsiteX74" fmla="*/ 592947 w 1031097"/>
                  <a:gd name="connsiteY74" fmla="*/ 664368 h 823912"/>
                  <a:gd name="connsiteX75" fmla="*/ 600090 w 1031097"/>
                  <a:gd name="connsiteY75" fmla="*/ 650081 h 823912"/>
                  <a:gd name="connsiteX76" fmla="*/ 638190 w 1031097"/>
                  <a:gd name="connsiteY76" fmla="*/ 642937 h 823912"/>
                  <a:gd name="connsiteX77" fmla="*/ 647715 w 1031097"/>
                  <a:gd name="connsiteY77" fmla="*/ 640556 h 823912"/>
                  <a:gd name="connsiteX78" fmla="*/ 666765 w 1031097"/>
                  <a:gd name="connsiteY78" fmla="*/ 635793 h 823912"/>
                  <a:gd name="connsiteX79" fmla="*/ 709628 w 1031097"/>
                  <a:gd name="connsiteY79" fmla="*/ 633412 h 823912"/>
                  <a:gd name="connsiteX80" fmla="*/ 723915 w 1031097"/>
                  <a:gd name="connsiteY80" fmla="*/ 628650 h 823912"/>
                  <a:gd name="connsiteX81" fmla="*/ 742965 w 1031097"/>
                  <a:gd name="connsiteY81" fmla="*/ 623887 h 823912"/>
                  <a:gd name="connsiteX82" fmla="*/ 764397 w 1031097"/>
                  <a:gd name="connsiteY82" fmla="*/ 607218 h 823912"/>
                  <a:gd name="connsiteX83" fmla="*/ 771540 w 1031097"/>
                  <a:gd name="connsiteY83" fmla="*/ 604837 h 823912"/>
                  <a:gd name="connsiteX84" fmla="*/ 783447 w 1031097"/>
                  <a:gd name="connsiteY84" fmla="*/ 583406 h 823912"/>
                  <a:gd name="connsiteX85" fmla="*/ 785828 w 1031097"/>
                  <a:gd name="connsiteY85" fmla="*/ 569118 h 823912"/>
                  <a:gd name="connsiteX86" fmla="*/ 790590 w 1031097"/>
                  <a:gd name="connsiteY86" fmla="*/ 561975 h 823912"/>
                  <a:gd name="connsiteX87" fmla="*/ 809640 w 1031097"/>
                  <a:gd name="connsiteY87" fmla="*/ 557212 h 823912"/>
                  <a:gd name="connsiteX88" fmla="*/ 816784 w 1031097"/>
                  <a:gd name="connsiteY88" fmla="*/ 554831 h 823912"/>
                  <a:gd name="connsiteX89" fmla="*/ 833453 w 1031097"/>
                  <a:gd name="connsiteY89" fmla="*/ 533400 h 823912"/>
                  <a:gd name="connsiteX90" fmla="*/ 864409 w 1031097"/>
                  <a:gd name="connsiteY90" fmla="*/ 535781 h 823912"/>
                  <a:gd name="connsiteX91" fmla="*/ 883459 w 1031097"/>
                  <a:gd name="connsiteY91" fmla="*/ 547687 h 823912"/>
                  <a:gd name="connsiteX92" fmla="*/ 892984 w 1031097"/>
                  <a:gd name="connsiteY92" fmla="*/ 552450 h 823912"/>
                  <a:gd name="connsiteX93" fmla="*/ 900128 w 1031097"/>
                  <a:gd name="connsiteY93" fmla="*/ 557212 h 823912"/>
                  <a:gd name="connsiteX94" fmla="*/ 914415 w 1031097"/>
                  <a:gd name="connsiteY94" fmla="*/ 578643 h 823912"/>
                  <a:gd name="connsiteX95" fmla="*/ 919178 w 1031097"/>
                  <a:gd name="connsiteY95" fmla="*/ 585787 h 823912"/>
                  <a:gd name="connsiteX96" fmla="*/ 923940 w 1031097"/>
                  <a:gd name="connsiteY96" fmla="*/ 592931 h 823912"/>
                  <a:gd name="connsiteX97" fmla="*/ 931084 w 1031097"/>
                  <a:gd name="connsiteY97" fmla="*/ 600075 h 823912"/>
                  <a:gd name="connsiteX98" fmla="*/ 942990 w 1031097"/>
                  <a:gd name="connsiteY98" fmla="*/ 614362 h 823912"/>
                  <a:gd name="connsiteX99" fmla="*/ 945372 w 1031097"/>
                  <a:gd name="connsiteY99" fmla="*/ 621506 h 823912"/>
                  <a:gd name="connsiteX100" fmla="*/ 959659 w 1031097"/>
                  <a:gd name="connsiteY100" fmla="*/ 626268 h 823912"/>
                  <a:gd name="connsiteX101" fmla="*/ 976328 w 1031097"/>
                  <a:gd name="connsiteY101" fmla="*/ 623887 h 823912"/>
                  <a:gd name="connsiteX102" fmla="*/ 985853 w 1031097"/>
                  <a:gd name="connsiteY102" fmla="*/ 609600 h 823912"/>
                  <a:gd name="connsiteX103" fmla="*/ 988234 w 1031097"/>
                  <a:gd name="connsiteY103" fmla="*/ 600075 h 823912"/>
                  <a:gd name="connsiteX104" fmla="*/ 995378 w 1031097"/>
                  <a:gd name="connsiteY104" fmla="*/ 592931 h 823912"/>
                  <a:gd name="connsiteX105" fmla="*/ 1002522 w 1031097"/>
                  <a:gd name="connsiteY105" fmla="*/ 576262 h 823912"/>
                  <a:gd name="connsiteX106" fmla="*/ 990615 w 1031097"/>
                  <a:gd name="connsiteY106" fmla="*/ 531018 h 823912"/>
                  <a:gd name="connsiteX107" fmla="*/ 988234 w 1031097"/>
                  <a:gd name="connsiteY107" fmla="*/ 523875 h 823912"/>
                  <a:gd name="connsiteX108" fmla="*/ 983472 w 1031097"/>
                  <a:gd name="connsiteY108" fmla="*/ 504825 h 823912"/>
                  <a:gd name="connsiteX109" fmla="*/ 985853 w 1031097"/>
                  <a:gd name="connsiteY109" fmla="*/ 452437 h 823912"/>
                  <a:gd name="connsiteX110" fmla="*/ 1002522 w 1031097"/>
                  <a:gd name="connsiteY110" fmla="*/ 433387 h 823912"/>
                  <a:gd name="connsiteX111" fmla="*/ 1021572 w 1031097"/>
                  <a:gd name="connsiteY111" fmla="*/ 409575 h 823912"/>
                  <a:gd name="connsiteX112" fmla="*/ 1023953 w 1031097"/>
                  <a:gd name="connsiteY112" fmla="*/ 397668 h 823912"/>
                  <a:gd name="connsiteX113" fmla="*/ 1026334 w 1031097"/>
                  <a:gd name="connsiteY113" fmla="*/ 376237 h 823912"/>
                  <a:gd name="connsiteX114" fmla="*/ 1031097 w 1031097"/>
                  <a:gd name="connsiteY114" fmla="*/ 357187 h 823912"/>
                  <a:gd name="connsiteX115" fmla="*/ 1026334 w 1031097"/>
                  <a:gd name="connsiteY115" fmla="*/ 330993 h 823912"/>
                  <a:gd name="connsiteX116" fmla="*/ 1021572 w 1031097"/>
                  <a:gd name="connsiteY116" fmla="*/ 323850 h 823912"/>
                  <a:gd name="connsiteX117" fmla="*/ 1019190 w 1031097"/>
                  <a:gd name="connsiteY117" fmla="*/ 309562 h 823912"/>
                  <a:gd name="connsiteX118" fmla="*/ 997759 w 1031097"/>
                  <a:gd name="connsiteY118" fmla="*/ 302418 h 823912"/>
                  <a:gd name="connsiteX119" fmla="*/ 952515 w 1031097"/>
                  <a:gd name="connsiteY119" fmla="*/ 297656 h 823912"/>
                  <a:gd name="connsiteX120" fmla="*/ 942990 w 1031097"/>
                  <a:gd name="connsiteY120" fmla="*/ 252412 h 823912"/>
                  <a:gd name="connsiteX121" fmla="*/ 940609 w 1031097"/>
                  <a:gd name="connsiteY121" fmla="*/ 245268 h 823912"/>
                  <a:gd name="connsiteX122" fmla="*/ 935847 w 1031097"/>
                  <a:gd name="connsiteY122" fmla="*/ 238125 h 823912"/>
                  <a:gd name="connsiteX123" fmla="*/ 928703 w 1031097"/>
                  <a:gd name="connsiteY123" fmla="*/ 235743 h 823912"/>
                  <a:gd name="connsiteX124" fmla="*/ 907272 w 1031097"/>
                  <a:gd name="connsiteY124" fmla="*/ 233362 h 823912"/>
                  <a:gd name="connsiteX125" fmla="*/ 900128 w 1031097"/>
                  <a:gd name="connsiteY125" fmla="*/ 226218 h 823912"/>
                  <a:gd name="connsiteX126" fmla="*/ 897747 w 1031097"/>
                  <a:gd name="connsiteY126" fmla="*/ 216693 h 823912"/>
                  <a:gd name="connsiteX127" fmla="*/ 892984 w 1031097"/>
                  <a:gd name="connsiteY127" fmla="*/ 200025 h 823912"/>
                  <a:gd name="connsiteX128" fmla="*/ 890603 w 1031097"/>
                  <a:gd name="connsiteY128" fmla="*/ 183356 h 823912"/>
                  <a:gd name="connsiteX129" fmla="*/ 883459 w 1031097"/>
                  <a:gd name="connsiteY129" fmla="*/ 178593 h 823912"/>
                  <a:gd name="connsiteX130" fmla="*/ 862028 w 1031097"/>
                  <a:gd name="connsiteY130" fmla="*/ 173831 h 823912"/>
                  <a:gd name="connsiteX131" fmla="*/ 852503 w 1031097"/>
                  <a:gd name="connsiteY131" fmla="*/ 171450 h 823912"/>
                  <a:gd name="connsiteX132" fmla="*/ 838215 w 1031097"/>
                  <a:gd name="connsiteY132" fmla="*/ 166687 h 823912"/>
                  <a:gd name="connsiteX133" fmla="*/ 712009 w 1031097"/>
                  <a:gd name="connsiteY133" fmla="*/ 169068 h 823912"/>
                  <a:gd name="connsiteX134" fmla="*/ 704865 w 1031097"/>
                  <a:gd name="connsiteY134" fmla="*/ 171450 h 823912"/>
                  <a:gd name="connsiteX135" fmla="*/ 697722 w 1031097"/>
                  <a:gd name="connsiteY135" fmla="*/ 176212 h 823912"/>
                  <a:gd name="connsiteX136" fmla="*/ 692959 w 1031097"/>
                  <a:gd name="connsiteY136" fmla="*/ 183356 h 823912"/>
                  <a:gd name="connsiteX137" fmla="*/ 681053 w 1031097"/>
                  <a:gd name="connsiteY137" fmla="*/ 197643 h 823912"/>
                  <a:gd name="connsiteX138" fmla="*/ 678672 w 1031097"/>
                  <a:gd name="connsiteY138" fmla="*/ 204787 h 823912"/>
                  <a:gd name="connsiteX139" fmla="*/ 673909 w 1031097"/>
                  <a:gd name="connsiteY139" fmla="*/ 211931 h 823912"/>
                  <a:gd name="connsiteX140" fmla="*/ 669147 w 1031097"/>
                  <a:gd name="connsiteY140" fmla="*/ 226218 h 823912"/>
                  <a:gd name="connsiteX141" fmla="*/ 664384 w 1031097"/>
                  <a:gd name="connsiteY141" fmla="*/ 178593 h 823912"/>
                  <a:gd name="connsiteX142" fmla="*/ 659622 w 1031097"/>
                  <a:gd name="connsiteY142" fmla="*/ 164306 h 823912"/>
                  <a:gd name="connsiteX143" fmla="*/ 664384 w 1031097"/>
                  <a:gd name="connsiteY143" fmla="*/ 157162 h 823912"/>
                  <a:gd name="connsiteX144" fmla="*/ 678672 w 1031097"/>
                  <a:gd name="connsiteY144" fmla="*/ 152400 h 823912"/>
                  <a:gd name="connsiteX145" fmla="*/ 685815 w 1031097"/>
                  <a:gd name="connsiteY145" fmla="*/ 150018 h 823912"/>
                  <a:gd name="connsiteX146" fmla="*/ 692959 w 1031097"/>
                  <a:gd name="connsiteY146" fmla="*/ 147637 h 823912"/>
                  <a:gd name="connsiteX147" fmla="*/ 700103 w 1031097"/>
                  <a:gd name="connsiteY147" fmla="*/ 142875 h 823912"/>
                  <a:gd name="connsiteX148" fmla="*/ 721534 w 1031097"/>
                  <a:gd name="connsiteY148" fmla="*/ 135731 h 823912"/>
                  <a:gd name="connsiteX149" fmla="*/ 728678 w 1031097"/>
                  <a:gd name="connsiteY149" fmla="*/ 133350 h 823912"/>
                  <a:gd name="connsiteX150" fmla="*/ 728678 w 1031097"/>
                  <a:gd name="connsiteY150" fmla="*/ 111918 h 823912"/>
                  <a:gd name="connsiteX151" fmla="*/ 719153 w 1031097"/>
                  <a:gd name="connsiteY151" fmla="*/ 90487 h 823912"/>
                  <a:gd name="connsiteX152" fmla="*/ 712009 w 1031097"/>
                  <a:gd name="connsiteY152" fmla="*/ 85725 h 823912"/>
                  <a:gd name="connsiteX153" fmla="*/ 688197 w 1031097"/>
                  <a:gd name="connsiteY153" fmla="*/ 78581 h 823912"/>
                  <a:gd name="connsiteX154" fmla="*/ 673909 w 1031097"/>
                  <a:gd name="connsiteY154" fmla="*/ 73818 h 823912"/>
                  <a:gd name="connsiteX155" fmla="*/ 666765 w 1031097"/>
                  <a:gd name="connsiteY155" fmla="*/ 71437 h 823912"/>
                  <a:gd name="connsiteX156" fmla="*/ 657240 w 1031097"/>
                  <a:gd name="connsiteY156" fmla="*/ 69056 h 823912"/>
                  <a:gd name="connsiteX157" fmla="*/ 645334 w 1031097"/>
                  <a:gd name="connsiteY157" fmla="*/ 57150 h 823912"/>
                  <a:gd name="connsiteX158" fmla="*/ 638190 w 1031097"/>
                  <a:gd name="connsiteY158" fmla="*/ 40481 h 823912"/>
                  <a:gd name="connsiteX159" fmla="*/ 628665 w 1031097"/>
                  <a:gd name="connsiteY159" fmla="*/ 38100 h 823912"/>
                  <a:gd name="connsiteX160" fmla="*/ 621522 w 1031097"/>
                  <a:gd name="connsiteY160" fmla="*/ 33337 h 823912"/>
                  <a:gd name="connsiteX161" fmla="*/ 614378 w 1031097"/>
                  <a:gd name="connsiteY161" fmla="*/ 30956 h 823912"/>
                  <a:gd name="connsiteX162" fmla="*/ 611997 w 1031097"/>
                  <a:gd name="connsiteY162" fmla="*/ 21431 h 823912"/>
                  <a:gd name="connsiteX163" fmla="*/ 609615 w 1031097"/>
                  <a:gd name="connsiteY163" fmla="*/ 7143 h 823912"/>
                  <a:gd name="connsiteX164" fmla="*/ 595328 w 1031097"/>
                  <a:gd name="connsiteY164" fmla="*/ 0 h 823912"/>
                  <a:gd name="connsiteX165" fmla="*/ 583422 w 1031097"/>
                  <a:gd name="connsiteY165" fmla="*/ 2381 h 823912"/>
                  <a:gd name="connsiteX166" fmla="*/ 569134 w 1031097"/>
                  <a:gd name="connsiteY166" fmla="*/ 7143 h 823912"/>
                  <a:gd name="connsiteX167" fmla="*/ 554847 w 1031097"/>
                  <a:gd name="connsiteY167" fmla="*/ 16668 h 823912"/>
                  <a:gd name="connsiteX168" fmla="*/ 516747 w 1031097"/>
                  <a:gd name="connsiteY168" fmla="*/ 11906 h 823912"/>
                  <a:gd name="connsiteX169" fmla="*/ 488172 w 1031097"/>
                  <a:gd name="connsiteY169" fmla="*/ 14287 h 823912"/>
                  <a:gd name="connsiteX170" fmla="*/ 473884 w 1031097"/>
                  <a:gd name="connsiteY170" fmla="*/ 16668 h 823912"/>
                  <a:gd name="connsiteX171" fmla="*/ 450072 w 1031097"/>
                  <a:gd name="connsiteY171" fmla="*/ 19050 h 823912"/>
                  <a:gd name="connsiteX172" fmla="*/ 433403 w 1031097"/>
                  <a:gd name="connsiteY172" fmla="*/ 23812 h 823912"/>
                  <a:gd name="connsiteX173" fmla="*/ 411972 w 1031097"/>
                  <a:gd name="connsiteY173" fmla="*/ 30956 h 823912"/>
                  <a:gd name="connsiteX174" fmla="*/ 404828 w 1031097"/>
                  <a:gd name="connsiteY174" fmla="*/ 33337 h 823912"/>
                  <a:gd name="connsiteX175" fmla="*/ 397684 w 1031097"/>
                  <a:gd name="connsiteY175" fmla="*/ 35718 h 823912"/>
                  <a:gd name="connsiteX176" fmla="*/ 390540 w 1031097"/>
                  <a:gd name="connsiteY176" fmla="*/ 40481 h 823912"/>
                  <a:gd name="connsiteX177" fmla="*/ 376253 w 1031097"/>
                  <a:gd name="connsiteY177" fmla="*/ 45243 h 823912"/>
                  <a:gd name="connsiteX178" fmla="*/ 361965 w 1031097"/>
                  <a:gd name="connsiteY178" fmla="*/ 54768 h 823912"/>
                  <a:gd name="connsiteX179" fmla="*/ 354822 w 1031097"/>
                  <a:gd name="connsiteY179" fmla="*/ 59531 h 823912"/>
                  <a:gd name="connsiteX180" fmla="*/ 350059 w 1031097"/>
                  <a:gd name="connsiteY180" fmla="*/ 121443 h 823912"/>
                  <a:gd name="connsiteX181" fmla="*/ 345297 w 1031097"/>
                  <a:gd name="connsiteY181" fmla="*/ 135731 h 823912"/>
                  <a:gd name="connsiteX182" fmla="*/ 340534 w 1031097"/>
                  <a:gd name="connsiteY182" fmla="*/ 150018 h 823912"/>
                  <a:gd name="connsiteX183" fmla="*/ 338153 w 1031097"/>
                  <a:gd name="connsiteY183" fmla="*/ 157162 h 823912"/>
                  <a:gd name="connsiteX184" fmla="*/ 323865 w 1031097"/>
                  <a:gd name="connsiteY184" fmla="*/ 161925 h 823912"/>
                  <a:gd name="connsiteX185" fmla="*/ 307197 w 1031097"/>
                  <a:gd name="connsiteY185" fmla="*/ 159543 h 823912"/>
                  <a:gd name="connsiteX186" fmla="*/ 292909 w 1031097"/>
                  <a:gd name="connsiteY186" fmla="*/ 154781 h 823912"/>
                  <a:gd name="connsiteX187" fmla="*/ 278622 w 1031097"/>
                  <a:gd name="connsiteY187" fmla="*/ 142875 h 823912"/>
                  <a:gd name="connsiteX188" fmla="*/ 266715 w 1031097"/>
                  <a:gd name="connsiteY188" fmla="*/ 130968 h 823912"/>
                  <a:gd name="connsiteX189" fmla="*/ 207184 w 1031097"/>
                  <a:gd name="connsiteY189" fmla="*/ 133350 h 823912"/>
                  <a:gd name="connsiteX190" fmla="*/ 200040 w 1031097"/>
                  <a:gd name="connsiteY190" fmla="*/ 135731 h 823912"/>
                  <a:gd name="connsiteX191" fmla="*/ 195278 w 1031097"/>
                  <a:gd name="connsiteY191" fmla="*/ 145256 h 823912"/>
                  <a:gd name="connsiteX192" fmla="*/ 190515 w 1031097"/>
                  <a:gd name="connsiteY192" fmla="*/ 152400 h 823912"/>
                  <a:gd name="connsiteX193" fmla="*/ 183372 w 1031097"/>
                  <a:gd name="connsiteY193" fmla="*/ 180975 h 823912"/>
                  <a:gd name="connsiteX194" fmla="*/ 178609 w 1031097"/>
                  <a:gd name="connsiteY194" fmla="*/ 200025 h 823912"/>
                  <a:gd name="connsiteX195" fmla="*/ 161940 w 1031097"/>
                  <a:gd name="connsiteY195" fmla="*/ 207168 h 823912"/>
                  <a:gd name="connsiteX196" fmla="*/ 123840 w 1031097"/>
                  <a:gd name="connsiteY196" fmla="*/ 209550 h 823912"/>
                  <a:gd name="connsiteX197" fmla="*/ 111934 w 1031097"/>
                  <a:gd name="connsiteY197" fmla="*/ 211931 h 823912"/>
                  <a:gd name="connsiteX198" fmla="*/ 97647 w 1031097"/>
                  <a:gd name="connsiteY198" fmla="*/ 216693 h 823912"/>
                  <a:gd name="connsiteX199" fmla="*/ 83359 w 1031097"/>
                  <a:gd name="connsiteY199" fmla="*/ 221456 h 823912"/>
                  <a:gd name="connsiteX200" fmla="*/ 76215 w 1031097"/>
                  <a:gd name="connsiteY200" fmla="*/ 223837 h 823912"/>
                  <a:gd name="connsiteX201" fmla="*/ 50022 w 1031097"/>
                  <a:gd name="connsiteY201" fmla="*/ 228600 h 823912"/>
                  <a:gd name="connsiteX202" fmla="*/ 40497 w 1031097"/>
                  <a:gd name="connsiteY202" fmla="*/ 230981 h 823912"/>
                  <a:gd name="connsiteX203" fmla="*/ 23828 w 1031097"/>
                  <a:gd name="connsiteY203" fmla="*/ 240506 h 823912"/>
                  <a:gd name="connsiteX204" fmla="*/ 16684 w 1031097"/>
                  <a:gd name="connsiteY204" fmla="*/ 242887 h 823912"/>
                  <a:gd name="connsiteX205" fmla="*/ 9540 w 1031097"/>
                  <a:gd name="connsiteY205" fmla="*/ 247650 h 823912"/>
                  <a:gd name="connsiteX206" fmla="*/ 15 w 1031097"/>
                  <a:gd name="connsiteY206" fmla="*/ 269081 h 82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031097" h="823912">
                    <a:moveTo>
                      <a:pt x="15" y="269081"/>
                    </a:moveTo>
                    <a:cubicBezTo>
                      <a:pt x="412" y="272256"/>
                      <a:pt x="7995" y="265718"/>
                      <a:pt x="11922" y="266700"/>
                    </a:cubicBezTo>
                    <a:cubicBezTo>
                      <a:pt x="18516" y="268348"/>
                      <a:pt x="19384" y="277432"/>
                      <a:pt x="23828" y="280987"/>
                    </a:cubicBezTo>
                    <a:cubicBezTo>
                      <a:pt x="25788" y="282555"/>
                      <a:pt x="28591" y="282574"/>
                      <a:pt x="30972" y="283368"/>
                    </a:cubicBezTo>
                    <a:cubicBezTo>
                      <a:pt x="44625" y="303851"/>
                      <a:pt x="28252" y="277930"/>
                      <a:pt x="38115" y="297656"/>
                    </a:cubicBezTo>
                    <a:cubicBezTo>
                      <a:pt x="39395" y="300216"/>
                      <a:pt x="41290" y="302419"/>
                      <a:pt x="42878" y="304800"/>
                    </a:cubicBezTo>
                    <a:cubicBezTo>
                      <a:pt x="43672" y="308769"/>
                      <a:pt x="44277" y="312780"/>
                      <a:pt x="45259" y="316706"/>
                    </a:cubicBezTo>
                    <a:cubicBezTo>
                      <a:pt x="45868" y="319141"/>
                      <a:pt x="47191" y="321380"/>
                      <a:pt x="47640" y="323850"/>
                    </a:cubicBezTo>
                    <a:cubicBezTo>
                      <a:pt x="49063" y="331677"/>
                      <a:pt x="47060" y="343863"/>
                      <a:pt x="54784" y="350043"/>
                    </a:cubicBezTo>
                    <a:cubicBezTo>
                      <a:pt x="56744" y="351611"/>
                      <a:pt x="59547" y="351631"/>
                      <a:pt x="61928" y="352425"/>
                    </a:cubicBezTo>
                    <a:cubicBezTo>
                      <a:pt x="70659" y="351631"/>
                      <a:pt x="79355" y="350043"/>
                      <a:pt x="88122" y="350043"/>
                    </a:cubicBezTo>
                    <a:cubicBezTo>
                      <a:pt x="91395" y="350043"/>
                      <a:pt x="95091" y="350380"/>
                      <a:pt x="97647" y="352425"/>
                    </a:cubicBezTo>
                    <a:cubicBezTo>
                      <a:pt x="99607" y="353993"/>
                      <a:pt x="98906" y="357323"/>
                      <a:pt x="100028" y="359568"/>
                    </a:cubicBezTo>
                    <a:cubicBezTo>
                      <a:pt x="101308" y="362128"/>
                      <a:pt x="103203" y="364331"/>
                      <a:pt x="104790" y="366712"/>
                    </a:cubicBezTo>
                    <a:cubicBezTo>
                      <a:pt x="105584" y="369887"/>
                      <a:pt x="106273" y="373090"/>
                      <a:pt x="107172" y="376237"/>
                    </a:cubicBezTo>
                    <a:cubicBezTo>
                      <a:pt x="107862" y="378651"/>
                      <a:pt x="108944" y="380946"/>
                      <a:pt x="109553" y="383381"/>
                    </a:cubicBezTo>
                    <a:cubicBezTo>
                      <a:pt x="110535" y="387307"/>
                      <a:pt x="111056" y="391336"/>
                      <a:pt x="111934" y="395287"/>
                    </a:cubicBezTo>
                    <a:cubicBezTo>
                      <a:pt x="112644" y="398482"/>
                      <a:pt x="112160" y="402349"/>
                      <a:pt x="114315" y="404812"/>
                    </a:cubicBezTo>
                    <a:cubicBezTo>
                      <a:pt x="118084" y="409120"/>
                      <a:pt x="123840" y="411162"/>
                      <a:pt x="128603" y="414337"/>
                    </a:cubicBezTo>
                    <a:lnTo>
                      <a:pt x="135747" y="419100"/>
                    </a:lnTo>
                    <a:cubicBezTo>
                      <a:pt x="140296" y="422133"/>
                      <a:pt x="144282" y="425695"/>
                      <a:pt x="150034" y="426243"/>
                    </a:cubicBezTo>
                    <a:cubicBezTo>
                      <a:pt x="164279" y="427600"/>
                      <a:pt x="178609" y="427831"/>
                      <a:pt x="192897" y="428625"/>
                    </a:cubicBezTo>
                    <a:cubicBezTo>
                      <a:pt x="219742" y="433994"/>
                      <a:pt x="187034" y="427892"/>
                      <a:pt x="230997" y="433387"/>
                    </a:cubicBezTo>
                    <a:cubicBezTo>
                      <a:pt x="235013" y="433889"/>
                      <a:pt x="238934" y="434974"/>
                      <a:pt x="242903" y="435768"/>
                    </a:cubicBezTo>
                    <a:cubicBezTo>
                      <a:pt x="246206" y="440723"/>
                      <a:pt x="250715" y="445753"/>
                      <a:pt x="250047" y="452437"/>
                    </a:cubicBezTo>
                    <a:cubicBezTo>
                      <a:pt x="249523" y="457676"/>
                      <a:pt x="245137" y="469253"/>
                      <a:pt x="240522" y="473868"/>
                    </a:cubicBezTo>
                    <a:cubicBezTo>
                      <a:pt x="234860" y="479530"/>
                      <a:pt x="226167" y="481034"/>
                      <a:pt x="219090" y="483393"/>
                    </a:cubicBezTo>
                    <a:cubicBezTo>
                      <a:pt x="208097" y="487057"/>
                      <a:pt x="214425" y="485280"/>
                      <a:pt x="200040" y="488156"/>
                    </a:cubicBezTo>
                    <a:cubicBezTo>
                      <a:pt x="198453" y="490537"/>
                      <a:pt x="196558" y="492740"/>
                      <a:pt x="195278" y="495300"/>
                    </a:cubicBezTo>
                    <a:cubicBezTo>
                      <a:pt x="191405" y="503047"/>
                      <a:pt x="194959" y="502762"/>
                      <a:pt x="188134" y="509587"/>
                    </a:cubicBezTo>
                    <a:cubicBezTo>
                      <a:pt x="186110" y="511611"/>
                      <a:pt x="183371" y="512762"/>
                      <a:pt x="180990" y="514350"/>
                    </a:cubicBezTo>
                    <a:cubicBezTo>
                      <a:pt x="167344" y="534819"/>
                      <a:pt x="185514" y="510731"/>
                      <a:pt x="169084" y="523875"/>
                    </a:cubicBezTo>
                    <a:cubicBezTo>
                      <a:pt x="166849" y="525663"/>
                      <a:pt x="165909" y="528637"/>
                      <a:pt x="164322" y="531018"/>
                    </a:cubicBezTo>
                    <a:cubicBezTo>
                      <a:pt x="166143" y="538304"/>
                      <a:pt x="165984" y="542206"/>
                      <a:pt x="171465" y="547687"/>
                    </a:cubicBezTo>
                    <a:cubicBezTo>
                      <a:pt x="173489" y="549711"/>
                      <a:pt x="176228" y="550862"/>
                      <a:pt x="178609" y="552450"/>
                    </a:cubicBezTo>
                    <a:cubicBezTo>
                      <a:pt x="191313" y="571502"/>
                      <a:pt x="174638" y="548477"/>
                      <a:pt x="190515" y="564356"/>
                    </a:cubicBezTo>
                    <a:cubicBezTo>
                      <a:pt x="192539" y="566380"/>
                      <a:pt x="193124" y="569615"/>
                      <a:pt x="195278" y="571500"/>
                    </a:cubicBezTo>
                    <a:cubicBezTo>
                      <a:pt x="199585" y="575269"/>
                      <a:pt x="209565" y="581025"/>
                      <a:pt x="209565" y="581025"/>
                    </a:cubicBezTo>
                    <a:cubicBezTo>
                      <a:pt x="211153" y="585787"/>
                      <a:pt x="210151" y="592527"/>
                      <a:pt x="214328" y="595312"/>
                    </a:cubicBezTo>
                    <a:cubicBezTo>
                      <a:pt x="220677" y="599545"/>
                      <a:pt x="223680" y="600872"/>
                      <a:pt x="228615" y="607218"/>
                    </a:cubicBezTo>
                    <a:cubicBezTo>
                      <a:pt x="233710" y="613768"/>
                      <a:pt x="237798" y="623660"/>
                      <a:pt x="245284" y="628650"/>
                    </a:cubicBezTo>
                    <a:cubicBezTo>
                      <a:pt x="247373" y="630042"/>
                      <a:pt x="250047" y="630237"/>
                      <a:pt x="252428" y="631031"/>
                    </a:cubicBezTo>
                    <a:cubicBezTo>
                      <a:pt x="258591" y="637194"/>
                      <a:pt x="265316" y="644853"/>
                      <a:pt x="273859" y="647700"/>
                    </a:cubicBezTo>
                    <a:cubicBezTo>
                      <a:pt x="289248" y="652829"/>
                      <a:pt x="276353" y="649114"/>
                      <a:pt x="304815" y="652462"/>
                    </a:cubicBezTo>
                    <a:cubicBezTo>
                      <a:pt x="310389" y="653118"/>
                      <a:pt x="315928" y="654049"/>
                      <a:pt x="321484" y="654843"/>
                    </a:cubicBezTo>
                    <a:lnTo>
                      <a:pt x="335772" y="659606"/>
                    </a:lnTo>
                    <a:lnTo>
                      <a:pt x="342915" y="661987"/>
                    </a:lnTo>
                    <a:lnTo>
                      <a:pt x="357203" y="671512"/>
                    </a:lnTo>
                    <a:cubicBezTo>
                      <a:pt x="359584" y="673100"/>
                      <a:pt x="361632" y="675370"/>
                      <a:pt x="364347" y="676275"/>
                    </a:cubicBezTo>
                    <a:lnTo>
                      <a:pt x="371490" y="678656"/>
                    </a:lnTo>
                    <a:cubicBezTo>
                      <a:pt x="373871" y="681037"/>
                      <a:pt x="375976" y="683732"/>
                      <a:pt x="378634" y="685800"/>
                    </a:cubicBezTo>
                    <a:cubicBezTo>
                      <a:pt x="383152" y="689314"/>
                      <a:pt x="388159" y="692150"/>
                      <a:pt x="392922" y="695325"/>
                    </a:cubicBezTo>
                    <a:lnTo>
                      <a:pt x="400065" y="700087"/>
                    </a:lnTo>
                    <a:lnTo>
                      <a:pt x="407209" y="704850"/>
                    </a:lnTo>
                    <a:lnTo>
                      <a:pt x="414353" y="709612"/>
                    </a:lnTo>
                    <a:cubicBezTo>
                      <a:pt x="415940" y="711993"/>
                      <a:pt x="417835" y="714196"/>
                      <a:pt x="419115" y="716756"/>
                    </a:cubicBezTo>
                    <a:cubicBezTo>
                      <a:pt x="420238" y="719001"/>
                      <a:pt x="420105" y="721811"/>
                      <a:pt x="421497" y="723900"/>
                    </a:cubicBezTo>
                    <a:cubicBezTo>
                      <a:pt x="423365" y="726702"/>
                      <a:pt x="426573" y="728385"/>
                      <a:pt x="428640" y="731043"/>
                    </a:cubicBezTo>
                    <a:cubicBezTo>
                      <a:pt x="439409" y="744890"/>
                      <a:pt x="437705" y="743951"/>
                      <a:pt x="442928" y="759618"/>
                    </a:cubicBezTo>
                    <a:lnTo>
                      <a:pt x="447690" y="773906"/>
                    </a:lnTo>
                    <a:lnTo>
                      <a:pt x="450072" y="781050"/>
                    </a:lnTo>
                    <a:cubicBezTo>
                      <a:pt x="450866" y="785812"/>
                      <a:pt x="449274" y="791703"/>
                      <a:pt x="452453" y="795337"/>
                    </a:cubicBezTo>
                    <a:cubicBezTo>
                      <a:pt x="455759" y="799115"/>
                      <a:pt x="462563" y="797316"/>
                      <a:pt x="466740" y="800100"/>
                    </a:cubicBezTo>
                    <a:lnTo>
                      <a:pt x="473884" y="804862"/>
                    </a:lnTo>
                    <a:cubicBezTo>
                      <a:pt x="483677" y="819552"/>
                      <a:pt x="478472" y="818080"/>
                      <a:pt x="490553" y="821531"/>
                    </a:cubicBezTo>
                    <a:cubicBezTo>
                      <a:pt x="493700" y="822430"/>
                      <a:pt x="496903" y="823118"/>
                      <a:pt x="500078" y="823912"/>
                    </a:cubicBezTo>
                    <a:cubicBezTo>
                      <a:pt x="510397" y="823118"/>
                      <a:pt x="520812" y="823145"/>
                      <a:pt x="531034" y="821531"/>
                    </a:cubicBezTo>
                    <a:cubicBezTo>
                      <a:pt x="535993" y="820748"/>
                      <a:pt x="545322" y="816768"/>
                      <a:pt x="545322" y="816768"/>
                    </a:cubicBezTo>
                    <a:cubicBezTo>
                      <a:pt x="546909" y="812006"/>
                      <a:pt x="549630" y="807480"/>
                      <a:pt x="550084" y="802481"/>
                    </a:cubicBezTo>
                    <a:cubicBezTo>
                      <a:pt x="550842" y="794137"/>
                      <a:pt x="550881" y="771521"/>
                      <a:pt x="557228" y="762000"/>
                    </a:cubicBezTo>
                    <a:lnTo>
                      <a:pt x="561990" y="754856"/>
                    </a:lnTo>
                    <a:cubicBezTo>
                      <a:pt x="563679" y="741351"/>
                      <a:pt x="563382" y="737518"/>
                      <a:pt x="566753" y="726281"/>
                    </a:cubicBezTo>
                    <a:cubicBezTo>
                      <a:pt x="568195" y="721472"/>
                      <a:pt x="568730" y="716170"/>
                      <a:pt x="571515" y="711993"/>
                    </a:cubicBezTo>
                    <a:cubicBezTo>
                      <a:pt x="582432" y="695617"/>
                      <a:pt x="579230" y="703136"/>
                      <a:pt x="583422" y="690562"/>
                    </a:cubicBezTo>
                    <a:cubicBezTo>
                      <a:pt x="587926" y="654527"/>
                      <a:pt x="580381" y="683217"/>
                      <a:pt x="592947" y="664368"/>
                    </a:cubicBezTo>
                    <a:cubicBezTo>
                      <a:pt x="596468" y="659086"/>
                      <a:pt x="593668" y="654095"/>
                      <a:pt x="600090" y="650081"/>
                    </a:cubicBezTo>
                    <a:cubicBezTo>
                      <a:pt x="609804" y="644009"/>
                      <a:pt x="628675" y="643888"/>
                      <a:pt x="638190" y="642937"/>
                    </a:cubicBezTo>
                    <a:cubicBezTo>
                      <a:pt x="641365" y="642143"/>
                      <a:pt x="644568" y="641455"/>
                      <a:pt x="647715" y="640556"/>
                    </a:cubicBezTo>
                    <a:cubicBezTo>
                      <a:pt x="656258" y="638115"/>
                      <a:pt x="656332" y="636700"/>
                      <a:pt x="666765" y="635793"/>
                    </a:cubicBezTo>
                    <a:cubicBezTo>
                      <a:pt x="681021" y="634553"/>
                      <a:pt x="695340" y="634206"/>
                      <a:pt x="709628" y="633412"/>
                    </a:cubicBezTo>
                    <a:cubicBezTo>
                      <a:pt x="714390" y="631825"/>
                      <a:pt x="718993" y="629635"/>
                      <a:pt x="723915" y="628650"/>
                    </a:cubicBezTo>
                    <a:cubicBezTo>
                      <a:pt x="738283" y="625776"/>
                      <a:pt x="731982" y="627548"/>
                      <a:pt x="742965" y="623887"/>
                    </a:cubicBezTo>
                    <a:cubicBezTo>
                      <a:pt x="749129" y="617723"/>
                      <a:pt x="755851" y="610067"/>
                      <a:pt x="764397" y="607218"/>
                    </a:cubicBezTo>
                    <a:lnTo>
                      <a:pt x="771540" y="604837"/>
                    </a:lnTo>
                    <a:cubicBezTo>
                      <a:pt x="782457" y="588461"/>
                      <a:pt x="779255" y="595980"/>
                      <a:pt x="783447" y="583406"/>
                    </a:cubicBezTo>
                    <a:cubicBezTo>
                      <a:pt x="784241" y="578643"/>
                      <a:pt x="784301" y="573699"/>
                      <a:pt x="785828" y="569118"/>
                    </a:cubicBezTo>
                    <a:cubicBezTo>
                      <a:pt x="786733" y="566403"/>
                      <a:pt x="788355" y="563763"/>
                      <a:pt x="790590" y="561975"/>
                    </a:cubicBezTo>
                    <a:cubicBezTo>
                      <a:pt x="793066" y="559994"/>
                      <a:pt x="808989" y="557375"/>
                      <a:pt x="809640" y="557212"/>
                    </a:cubicBezTo>
                    <a:cubicBezTo>
                      <a:pt x="812075" y="556603"/>
                      <a:pt x="814403" y="555625"/>
                      <a:pt x="816784" y="554831"/>
                    </a:cubicBezTo>
                    <a:cubicBezTo>
                      <a:pt x="828177" y="537741"/>
                      <a:pt x="822261" y="544590"/>
                      <a:pt x="833453" y="533400"/>
                    </a:cubicBezTo>
                    <a:cubicBezTo>
                      <a:pt x="843772" y="534194"/>
                      <a:pt x="854217" y="533983"/>
                      <a:pt x="864409" y="535781"/>
                    </a:cubicBezTo>
                    <a:cubicBezTo>
                      <a:pt x="871136" y="536968"/>
                      <a:pt x="878191" y="544394"/>
                      <a:pt x="883459" y="547687"/>
                    </a:cubicBezTo>
                    <a:cubicBezTo>
                      <a:pt x="886469" y="549568"/>
                      <a:pt x="889902" y="550689"/>
                      <a:pt x="892984" y="552450"/>
                    </a:cubicBezTo>
                    <a:cubicBezTo>
                      <a:pt x="895469" y="553870"/>
                      <a:pt x="897747" y="555625"/>
                      <a:pt x="900128" y="557212"/>
                    </a:cubicBezTo>
                    <a:lnTo>
                      <a:pt x="914415" y="578643"/>
                    </a:lnTo>
                    <a:lnTo>
                      <a:pt x="919178" y="585787"/>
                    </a:lnTo>
                    <a:cubicBezTo>
                      <a:pt x="920765" y="588168"/>
                      <a:pt x="921916" y="590907"/>
                      <a:pt x="923940" y="592931"/>
                    </a:cubicBezTo>
                    <a:cubicBezTo>
                      <a:pt x="926321" y="595312"/>
                      <a:pt x="929126" y="597335"/>
                      <a:pt x="931084" y="600075"/>
                    </a:cubicBezTo>
                    <a:cubicBezTo>
                      <a:pt x="942070" y="615455"/>
                      <a:pt x="928908" y="604974"/>
                      <a:pt x="942990" y="614362"/>
                    </a:cubicBezTo>
                    <a:cubicBezTo>
                      <a:pt x="943784" y="616743"/>
                      <a:pt x="943329" y="620047"/>
                      <a:pt x="945372" y="621506"/>
                    </a:cubicBezTo>
                    <a:cubicBezTo>
                      <a:pt x="949457" y="624424"/>
                      <a:pt x="959659" y="626268"/>
                      <a:pt x="959659" y="626268"/>
                    </a:cubicBezTo>
                    <a:cubicBezTo>
                      <a:pt x="965215" y="625474"/>
                      <a:pt x="971117" y="625971"/>
                      <a:pt x="976328" y="623887"/>
                    </a:cubicBezTo>
                    <a:cubicBezTo>
                      <a:pt x="982775" y="621308"/>
                      <a:pt x="984249" y="615213"/>
                      <a:pt x="985853" y="609600"/>
                    </a:cubicBezTo>
                    <a:cubicBezTo>
                      <a:pt x="986752" y="606453"/>
                      <a:pt x="986610" y="602917"/>
                      <a:pt x="988234" y="600075"/>
                    </a:cubicBezTo>
                    <a:cubicBezTo>
                      <a:pt x="989905" y="597151"/>
                      <a:pt x="992997" y="595312"/>
                      <a:pt x="995378" y="592931"/>
                    </a:cubicBezTo>
                    <a:cubicBezTo>
                      <a:pt x="995976" y="591734"/>
                      <a:pt x="1002755" y="579296"/>
                      <a:pt x="1002522" y="576262"/>
                    </a:cubicBezTo>
                    <a:cubicBezTo>
                      <a:pt x="1001300" y="560369"/>
                      <a:pt x="995575" y="545897"/>
                      <a:pt x="990615" y="531018"/>
                    </a:cubicBezTo>
                    <a:cubicBezTo>
                      <a:pt x="989821" y="528637"/>
                      <a:pt x="988843" y="526310"/>
                      <a:pt x="988234" y="523875"/>
                    </a:cubicBezTo>
                    <a:lnTo>
                      <a:pt x="983472" y="504825"/>
                    </a:lnTo>
                    <a:cubicBezTo>
                      <a:pt x="984266" y="487362"/>
                      <a:pt x="982780" y="469645"/>
                      <a:pt x="985853" y="452437"/>
                    </a:cubicBezTo>
                    <a:cubicBezTo>
                      <a:pt x="988240" y="439072"/>
                      <a:pt x="994979" y="439673"/>
                      <a:pt x="1002522" y="433387"/>
                    </a:cubicBezTo>
                    <a:cubicBezTo>
                      <a:pt x="1010434" y="426793"/>
                      <a:pt x="1015929" y="418037"/>
                      <a:pt x="1021572" y="409575"/>
                    </a:cubicBezTo>
                    <a:cubicBezTo>
                      <a:pt x="1022366" y="405606"/>
                      <a:pt x="1023381" y="401675"/>
                      <a:pt x="1023953" y="397668"/>
                    </a:cubicBezTo>
                    <a:cubicBezTo>
                      <a:pt x="1024969" y="390553"/>
                      <a:pt x="1025318" y="383352"/>
                      <a:pt x="1026334" y="376237"/>
                    </a:cubicBezTo>
                    <a:cubicBezTo>
                      <a:pt x="1027771" y="366177"/>
                      <a:pt x="1028326" y="365499"/>
                      <a:pt x="1031097" y="357187"/>
                    </a:cubicBezTo>
                    <a:cubicBezTo>
                      <a:pt x="1030276" y="350624"/>
                      <a:pt x="1030004" y="338333"/>
                      <a:pt x="1026334" y="330993"/>
                    </a:cubicBezTo>
                    <a:cubicBezTo>
                      <a:pt x="1025054" y="328433"/>
                      <a:pt x="1023159" y="326231"/>
                      <a:pt x="1021572" y="323850"/>
                    </a:cubicBezTo>
                    <a:cubicBezTo>
                      <a:pt x="1020778" y="319087"/>
                      <a:pt x="1021349" y="313881"/>
                      <a:pt x="1019190" y="309562"/>
                    </a:cubicBezTo>
                    <a:cubicBezTo>
                      <a:pt x="1016206" y="303594"/>
                      <a:pt x="1001073" y="302786"/>
                      <a:pt x="997759" y="302418"/>
                    </a:cubicBezTo>
                    <a:cubicBezTo>
                      <a:pt x="933647" y="295294"/>
                      <a:pt x="996230" y="303900"/>
                      <a:pt x="952515" y="297656"/>
                    </a:cubicBezTo>
                    <a:cubicBezTo>
                      <a:pt x="931471" y="290641"/>
                      <a:pt x="947370" y="298401"/>
                      <a:pt x="942990" y="252412"/>
                    </a:cubicBezTo>
                    <a:cubicBezTo>
                      <a:pt x="942752" y="249913"/>
                      <a:pt x="941731" y="247513"/>
                      <a:pt x="940609" y="245268"/>
                    </a:cubicBezTo>
                    <a:cubicBezTo>
                      <a:pt x="939329" y="242708"/>
                      <a:pt x="938082" y="239913"/>
                      <a:pt x="935847" y="238125"/>
                    </a:cubicBezTo>
                    <a:cubicBezTo>
                      <a:pt x="933887" y="236557"/>
                      <a:pt x="931179" y="236156"/>
                      <a:pt x="928703" y="235743"/>
                    </a:cubicBezTo>
                    <a:cubicBezTo>
                      <a:pt x="921613" y="234561"/>
                      <a:pt x="914416" y="234156"/>
                      <a:pt x="907272" y="233362"/>
                    </a:cubicBezTo>
                    <a:cubicBezTo>
                      <a:pt x="904891" y="230981"/>
                      <a:pt x="901799" y="229142"/>
                      <a:pt x="900128" y="226218"/>
                    </a:cubicBezTo>
                    <a:cubicBezTo>
                      <a:pt x="898504" y="223376"/>
                      <a:pt x="898646" y="219840"/>
                      <a:pt x="897747" y="216693"/>
                    </a:cubicBezTo>
                    <a:cubicBezTo>
                      <a:pt x="895193" y="207757"/>
                      <a:pt x="894847" y="210275"/>
                      <a:pt x="892984" y="200025"/>
                    </a:cubicBezTo>
                    <a:cubicBezTo>
                      <a:pt x="891980" y="194503"/>
                      <a:pt x="892882" y="188485"/>
                      <a:pt x="890603" y="183356"/>
                    </a:cubicBezTo>
                    <a:cubicBezTo>
                      <a:pt x="889441" y="180741"/>
                      <a:pt x="886019" y="179873"/>
                      <a:pt x="883459" y="178593"/>
                    </a:cubicBezTo>
                    <a:cubicBezTo>
                      <a:pt x="877282" y="175504"/>
                      <a:pt x="868122" y="175050"/>
                      <a:pt x="862028" y="173831"/>
                    </a:cubicBezTo>
                    <a:cubicBezTo>
                      <a:pt x="858819" y="173189"/>
                      <a:pt x="855638" y="172390"/>
                      <a:pt x="852503" y="171450"/>
                    </a:cubicBezTo>
                    <a:cubicBezTo>
                      <a:pt x="847694" y="170007"/>
                      <a:pt x="838215" y="166687"/>
                      <a:pt x="838215" y="166687"/>
                    </a:cubicBezTo>
                    <a:lnTo>
                      <a:pt x="712009" y="169068"/>
                    </a:lnTo>
                    <a:cubicBezTo>
                      <a:pt x="709500" y="169158"/>
                      <a:pt x="707110" y="170327"/>
                      <a:pt x="704865" y="171450"/>
                    </a:cubicBezTo>
                    <a:cubicBezTo>
                      <a:pt x="702306" y="172730"/>
                      <a:pt x="700103" y="174625"/>
                      <a:pt x="697722" y="176212"/>
                    </a:cubicBezTo>
                    <a:cubicBezTo>
                      <a:pt x="696134" y="178593"/>
                      <a:pt x="694791" y="181157"/>
                      <a:pt x="692959" y="183356"/>
                    </a:cubicBezTo>
                    <a:cubicBezTo>
                      <a:pt x="677682" y="201688"/>
                      <a:pt x="692875" y="179910"/>
                      <a:pt x="681053" y="197643"/>
                    </a:cubicBezTo>
                    <a:cubicBezTo>
                      <a:pt x="680259" y="200024"/>
                      <a:pt x="679795" y="202542"/>
                      <a:pt x="678672" y="204787"/>
                    </a:cubicBezTo>
                    <a:cubicBezTo>
                      <a:pt x="677392" y="207347"/>
                      <a:pt x="675071" y="209316"/>
                      <a:pt x="673909" y="211931"/>
                    </a:cubicBezTo>
                    <a:cubicBezTo>
                      <a:pt x="671870" y="216518"/>
                      <a:pt x="669147" y="226218"/>
                      <a:pt x="669147" y="226218"/>
                    </a:cubicBezTo>
                    <a:cubicBezTo>
                      <a:pt x="661550" y="203437"/>
                      <a:pt x="671968" y="236740"/>
                      <a:pt x="664384" y="178593"/>
                    </a:cubicBezTo>
                    <a:cubicBezTo>
                      <a:pt x="663735" y="173615"/>
                      <a:pt x="659622" y="164306"/>
                      <a:pt x="659622" y="164306"/>
                    </a:cubicBezTo>
                    <a:cubicBezTo>
                      <a:pt x="661209" y="161925"/>
                      <a:pt x="661957" y="158679"/>
                      <a:pt x="664384" y="157162"/>
                    </a:cubicBezTo>
                    <a:cubicBezTo>
                      <a:pt x="668641" y="154501"/>
                      <a:pt x="673909" y="153988"/>
                      <a:pt x="678672" y="152400"/>
                    </a:cubicBezTo>
                    <a:lnTo>
                      <a:pt x="685815" y="150018"/>
                    </a:lnTo>
                    <a:cubicBezTo>
                      <a:pt x="688196" y="149224"/>
                      <a:pt x="690870" y="149029"/>
                      <a:pt x="692959" y="147637"/>
                    </a:cubicBezTo>
                    <a:cubicBezTo>
                      <a:pt x="695340" y="146050"/>
                      <a:pt x="697488" y="144037"/>
                      <a:pt x="700103" y="142875"/>
                    </a:cubicBezTo>
                    <a:cubicBezTo>
                      <a:pt x="700117" y="142869"/>
                      <a:pt x="717955" y="136924"/>
                      <a:pt x="721534" y="135731"/>
                    </a:cubicBezTo>
                    <a:lnTo>
                      <a:pt x="728678" y="133350"/>
                    </a:lnTo>
                    <a:cubicBezTo>
                      <a:pt x="732171" y="122871"/>
                      <a:pt x="732270" y="126286"/>
                      <a:pt x="728678" y="111918"/>
                    </a:cubicBezTo>
                    <a:cubicBezTo>
                      <a:pt x="727107" y="105634"/>
                      <a:pt x="724364" y="95698"/>
                      <a:pt x="719153" y="90487"/>
                    </a:cubicBezTo>
                    <a:cubicBezTo>
                      <a:pt x="717129" y="88463"/>
                      <a:pt x="714624" y="86887"/>
                      <a:pt x="712009" y="85725"/>
                    </a:cubicBezTo>
                    <a:cubicBezTo>
                      <a:pt x="700342" y="80540"/>
                      <a:pt x="698860" y="81780"/>
                      <a:pt x="688197" y="78581"/>
                    </a:cubicBezTo>
                    <a:cubicBezTo>
                      <a:pt x="683388" y="77138"/>
                      <a:pt x="678672" y="75406"/>
                      <a:pt x="673909" y="73818"/>
                    </a:cubicBezTo>
                    <a:cubicBezTo>
                      <a:pt x="671528" y="73024"/>
                      <a:pt x="669200" y="72046"/>
                      <a:pt x="666765" y="71437"/>
                    </a:cubicBezTo>
                    <a:lnTo>
                      <a:pt x="657240" y="69056"/>
                    </a:lnTo>
                    <a:cubicBezTo>
                      <a:pt x="650892" y="64823"/>
                      <a:pt x="648508" y="64556"/>
                      <a:pt x="645334" y="57150"/>
                    </a:cubicBezTo>
                    <a:cubicBezTo>
                      <a:pt x="642944" y="51573"/>
                      <a:pt x="644170" y="44467"/>
                      <a:pt x="638190" y="40481"/>
                    </a:cubicBezTo>
                    <a:cubicBezTo>
                      <a:pt x="635467" y="38666"/>
                      <a:pt x="631840" y="38894"/>
                      <a:pt x="628665" y="38100"/>
                    </a:cubicBezTo>
                    <a:cubicBezTo>
                      <a:pt x="626284" y="36512"/>
                      <a:pt x="624082" y="34617"/>
                      <a:pt x="621522" y="33337"/>
                    </a:cubicBezTo>
                    <a:cubicBezTo>
                      <a:pt x="619277" y="32214"/>
                      <a:pt x="615946" y="32916"/>
                      <a:pt x="614378" y="30956"/>
                    </a:cubicBezTo>
                    <a:cubicBezTo>
                      <a:pt x="612334" y="28400"/>
                      <a:pt x="612639" y="24640"/>
                      <a:pt x="611997" y="21431"/>
                    </a:cubicBezTo>
                    <a:cubicBezTo>
                      <a:pt x="611050" y="16696"/>
                      <a:pt x="611774" y="11462"/>
                      <a:pt x="609615" y="7143"/>
                    </a:cubicBezTo>
                    <a:cubicBezTo>
                      <a:pt x="607768" y="3450"/>
                      <a:pt x="598709" y="1127"/>
                      <a:pt x="595328" y="0"/>
                    </a:cubicBezTo>
                    <a:cubicBezTo>
                      <a:pt x="591359" y="794"/>
                      <a:pt x="587327" y="1316"/>
                      <a:pt x="583422" y="2381"/>
                    </a:cubicBezTo>
                    <a:cubicBezTo>
                      <a:pt x="578579" y="3702"/>
                      <a:pt x="569134" y="7143"/>
                      <a:pt x="569134" y="7143"/>
                    </a:cubicBezTo>
                    <a:cubicBezTo>
                      <a:pt x="564372" y="10318"/>
                      <a:pt x="560536" y="17300"/>
                      <a:pt x="554847" y="16668"/>
                    </a:cubicBezTo>
                    <a:cubicBezTo>
                      <a:pt x="527837" y="13667"/>
                      <a:pt x="540531" y="15303"/>
                      <a:pt x="516747" y="11906"/>
                    </a:cubicBezTo>
                    <a:cubicBezTo>
                      <a:pt x="507222" y="12700"/>
                      <a:pt x="497672" y="13232"/>
                      <a:pt x="488172" y="14287"/>
                    </a:cubicBezTo>
                    <a:cubicBezTo>
                      <a:pt x="483373" y="14820"/>
                      <a:pt x="478675" y="16069"/>
                      <a:pt x="473884" y="16668"/>
                    </a:cubicBezTo>
                    <a:cubicBezTo>
                      <a:pt x="465969" y="17658"/>
                      <a:pt x="458009" y="18256"/>
                      <a:pt x="450072" y="19050"/>
                    </a:cubicBezTo>
                    <a:cubicBezTo>
                      <a:pt x="426034" y="27062"/>
                      <a:pt x="463342" y="14830"/>
                      <a:pt x="433403" y="23812"/>
                    </a:cubicBezTo>
                    <a:cubicBezTo>
                      <a:pt x="426190" y="25976"/>
                      <a:pt x="419116" y="28575"/>
                      <a:pt x="411972" y="30956"/>
                    </a:cubicBezTo>
                    <a:lnTo>
                      <a:pt x="404828" y="33337"/>
                    </a:lnTo>
                    <a:lnTo>
                      <a:pt x="397684" y="35718"/>
                    </a:lnTo>
                    <a:cubicBezTo>
                      <a:pt x="395303" y="37306"/>
                      <a:pt x="393155" y="39319"/>
                      <a:pt x="390540" y="40481"/>
                    </a:cubicBezTo>
                    <a:cubicBezTo>
                      <a:pt x="385953" y="42520"/>
                      <a:pt x="376253" y="45243"/>
                      <a:pt x="376253" y="45243"/>
                    </a:cubicBezTo>
                    <a:lnTo>
                      <a:pt x="361965" y="54768"/>
                    </a:lnTo>
                    <a:lnTo>
                      <a:pt x="354822" y="59531"/>
                    </a:lnTo>
                    <a:cubicBezTo>
                      <a:pt x="345976" y="86061"/>
                      <a:pt x="357528" y="49234"/>
                      <a:pt x="350059" y="121443"/>
                    </a:cubicBezTo>
                    <a:cubicBezTo>
                      <a:pt x="349542" y="126437"/>
                      <a:pt x="346885" y="130968"/>
                      <a:pt x="345297" y="135731"/>
                    </a:cubicBezTo>
                    <a:lnTo>
                      <a:pt x="340534" y="150018"/>
                    </a:lnTo>
                    <a:cubicBezTo>
                      <a:pt x="339740" y="152399"/>
                      <a:pt x="340534" y="156368"/>
                      <a:pt x="338153" y="157162"/>
                    </a:cubicBezTo>
                    <a:lnTo>
                      <a:pt x="323865" y="161925"/>
                    </a:lnTo>
                    <a:cubicBezTo>
                      <a:pt x="318309" y="161131"/>
                      <a:pt x="312666" y="160805"/>
                      <a:pt x="307197" y="159543"/>
                    </a:cubicBezTo>
                    <a:cubicBezTo>
                      <a:pt x="302305" y="158414"/>
                      <a:pt x="292909" y="154781"/>
                      <a:pt x="292909" y="154781"/>
                    </a:cubicBezTo>
                    <a:cubicBezTo>
                      <a:pt x="285885" y="150098"/>
                      <a:pt x="284351" y="149750"/>
                      <a:pt x="278622" y="142875"/>
                    </a:cubicBezTo>
                    <a:cubicBezTo>
                      <a:pt x="268700" y="130968"/>
                      <a:pt x="279812" y="139700"/>
                      <a:pt x="266715" y="130968"/>
                    </a:cubicBezTo>
                    <a:cubicBezTo>
                      <a:pt x="246871" y="131762"/>
                      <a:pt x="226993" y="131935"/>
                      <a:pt x="207184" y="133350"/>
                    </a:cubicBezTo>
                    <a:cubicBezTo>
                      <a:pt x="204680" y="133529"/>
                      <a:pt x="201815" y="133956"/>
                      <a:pt x="200040" y="135731"/>
                    </a:cubicBezTo>
                    <a:cubicBezTo>
                      <a:pt x="197530" y="138241"/>
                      <a:pt x="197039" y="142174"/>
                      <a:pt x="195278" y="145256"/>
                    </a:cubicBezTo>
                    <a:cubicBezTo>
                      <a:pt x="193858" y="147741"/>
                      <a:pt x="192103" y="150019"/>
                      <a:pt x="190515" y="152400"/>
                    </a:cubicBezTo>
                    <a:cubicBezTo>
                      <a:pt x="183558" y="173274"/>
                      <a:pt x="187221" y="159806"/>
                      <a:pt x="183372" y="180975"/>
                    </a:cubicBezTo>
                    <a:cubicBezTo>
                      <a:pt x="183268" y="181547"/>
                      <a:pt x="180552" y="197597"/>
                      <a:pt x="178609" y="200025"/>
                    </a:cubicBezTo>
                    <a:cubicBezTo>
                      <a:pt x="175150" y="204348"/>
                      <a:pt x="166913" y="206671"/>
                      <a:pt x="161940" y="207168"/>
                    </a:cubicBezTo>
                    <a:cubicBezTo>
                      <a:pt x="149278" y="208434"/>
                      <a:pt x="136540" y="208756"/>
                      <a:pt x="123840" y="209550"/>
                    </a:cubicBezTo>
                    <a:cubicBezTo>
                      <a:pt x="119871" y="210344"/>
                      <a:pt x="115839" y="210866"/>
                      <a:pt x="111934" y="211931"/>
                    </a:cubicBezTo>
                    <a:cubicBezTo>
                      <a:pt x="107091" y="213252"/>
                      <a:pt x="102409" y="215106"/>
                      <a:pt x="97647" y="216693"/>
                    </a:cubicBezTo>
                    <a:lnTo>
                      <a:pt x="83359" y="221456"/>
                    </a:lnTo>
                    <a:cubicBezTo>
                      <a:pt x="80978" y="222250"/>
                      <a:pt x="78650" y="223228"/>
                      <a:pt x="76215" y="223837"/>
                    </a:cubicBezTo>
                    <a:cubicBezTo>
                      <a:pt x="54611" y="229237"/>
                      <a:pt x="81306" y="222911"/>
                      <a:pt x="50022" y="228600"/>
                    </a:cubicBezTo>
                    <a:cubicBezTo>
                      <a:pt x="46802" y="229186"/>
                      <a:pt x="43672" y="230187"/>
                      <a:pt x="40497" y="230981"/>
                    </a:cubicBezTo>
                    <a:cubicBezTo>
                      <a:pt x="33325" y="235762"/>
                      <a:pt x="32284" y="236882"/>
                      <a:pt x="23828" y="240506"/>
                    </a:cubicBezTo>
                    <a:cubicBezTo>
                      <a:pt x="21521" y="241495"/>
                      <a:pt x="19065" y="242093"/>
                      <a:pt x="16684" y="242887"/>
                    </a:cubicBezTo>
                    <a:cubicBezTo>
                      <a:pt x="14303" y="244475"/>
                      <a:pt x="11057" y="245223"/>
                      <a:pt x="9540" y="247650"/>
                    </a:cubicBezTo>
                    <a:cubicBezTo>
                      <a:pt x="6879" y="251907"/>
                      <a:pt x="-382" y="265906"/>
                      <a:pt x="15" y="26908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8" name="Freeform 187"/>
              <p:cNvSpPr/>
              <p:nvPr/>
            </p:nvSpPr>
            <p:spPr>
              <a:xfrm>
                <a:off x="2465233" y="4082142"/>
                <a:ext cx="571540" cy="535781"/>
              </a:xfrm>
              <a:custGeom>
                <a:avLst/>
                <a:gdLst>
                  <a:gd name="connsiteX0" fmla="*/ 40 w 571540"/>
                  <a:gd name="connsiteY0" fmla="*/ 319088 h 535781"/>
                  <a:gd name="connsiteX1" fmla="*/ 9565 w 571540"/>
                  <a:gd name="connsiteY1" fmla="*/ 330994 h 535781"/>
                  <a:gd name="connsiteX2" fmla="*/ 16709 w 571540"/>
                  <a:gd name="connsiteY2" fmla="*/ 333375 h 535781"/>
                  <a:gd name="connsiteX3" fmla="*/ 30997 w 571540"/>
                  <a:gd name="connsiteY3" fmla="*/ 342900 h 535781"/>
                  <a:gd name="connsiteX4" fmla="*/ 38140 w 571540"/>
                  <a:gd name="connsiteY4" fmla="*/ 347663 h 535781"/>
                  <a:gd name="connsiteX5" fmla="*/ 47665 w 571540"/>
                  <a:gd name="connsiteY5" fmla="*/ 361950 h 535781"/>
                  <a:gd name="connsiteX6" fmla="*/ 52428 w 571540"/>
                  <a:gd name="connsiteY6" fmla="*/ 369094 h 535781"/>
                  <a:gd name="connsiteX7" fmla="*/ 59572 w 571540"/>
                  <a:gd name="connsiteY7" fmla="*/ 373856 h 535781"/>
                  <a:gd name="connsiteX8" fmla="*/ 78622 w 571540"/>
                  <a:gd name="connsiteY8" fmla="*/ 390525 h 535781"/>
                  <a:gd name="connsiteX9" fmla="*/ 85765 w 571540"/>
                  <a:gd name="connsiteY9" fmla="*/ 397669 h 535781"/>
                  <a:gd name="connsiteX10" fmla="*/ 100053 w 571540"/>
                  <a:gd name="connsiteY10" fmla="*/ 409575 h 535781"/>
                  <a:gd name="connsiteX11" fmla="*/ 104815 w 571540"/>
                  <a:gd name="connsiteY11" fmla="*/ 416719 h 535781"/>
                  <a:gd name="connsiteX12" fmla="*/ 107197 w 571540"/>
                  <a:gd name="connsiteY12" fmla="*/ 423863 h 535781"/>
                  <a:gd name="connsiteX13" fmla="*/ 114340 w 571540"/>
                  <a:gd name="connsiteY13" fmla="*/ 428625 h 535781"/>
                  <a:gd name="connsiteX14" fmla="*/ 119103 w 571540"/>
                  <a:gd name="connsiteY14" fmla="*/ 435769 h 535781"/>
                  <a:gd name="connsiteX15" fmla="*/ 121484 w 571540"/>
                  <a:gd name="connsiteY15" fmla="*/ 442913 h 535781"/>
                  <a:gd name="connsiteX16" fmla="*/ 128628 w 571540"/>
                  <a:gd name="connsiteY16" fmla="*/ 450056 h 535781"/>
                  <a:gd name="connsiteX17" fmla="*/ 145297 w 571540"/>
                  <a:gd name="connsiteY17" fmla="*/ 471488 h 535781"/>
                  <a:gd name="connsiteX18" fmla="*/ 159584 w 571540"/>
                  <a:gd name="connsiteY18" fmla="*/ 481013 h 535781"/>
                  <a:gd name="connsiteX19" fmla="*/ 166728 w 571540"/>
                  <a:gd name="connsiteY19" fmla="*/ 485775 h 535781"/>
                  <a:gd name="connsiteX20" fmla="*/ 178634 w 571540"/>
                  <a:gd name="connsiteY20" fmla="*/ 500063 h 535781"/>
                  <a:gd name="connsiteX21" fmla="*/ 188159 w 571540"/>
                  <a:gd name="connsiteY21" fmla="*/ 514350 h 535781"/>
                  <a:gd name="connsiteX22" fmla="*/ 202447 w 571540"/>
                  <a:gd name="connsiteY22" fmla="*/ 523875 h 535781"/>
                  <a:gd name="connsiteX23" fmla="*/ 209590 w 571540"/>
                  <a:gd name="connsiteY23" fmla="*/ 531019 h 535781"/>
                  <a:gd name="connsiteX24" fmla="*/ 235784 w 571540"/>
                  <a:gd name="connsiteY24" fmla="*/ 535781 h 535781"/>
                  <a:gd name="connsiteX25" fmla="*/ 247690 w 571540"/>
                  <a:gd name="connsiteY25" fmla="*/ 533400 h 535781"/>
                  <a:gd name="connsiteX26" fmla="*/ 247690 w 571540"/>
                  <a:gd name="connsiteY26" fmla="*/ 511969 h 535781"/>
                  <a:gd name="connsiteX27" fmla="*/ 242928 w 571540"/>
                  <a:gd name="connsiteY27" fmla="*/ 497681 h 535781"/>
                  <a:gd name="connsiteX28" fmla="*/ 238165 w 571540"/>
                  <a:gd name="connsiteY28" fmla="*/ 483394 h 535781"/>
                  <a:gd name="connsiteX29" fmla="*/ 235784 w 571540"/>
                  <a:gd name="connsiteY29" fmla="*/ 476250 h 535781"/>
                  <a:gd name="connsiteX30" fmla="*/ 226259 w 571540"/>
                  <a:gd name="connsiteY30" fmla="*/ 461963 h 535781"/>
                  <a:gd name="connsiteX31" fmla="*/ 221497 w 571540"/>
                  <a:gd name="connsiteY31" fmla="*/ 440531 h 535781"/>
                  <a:gd name="connsiteX32" fmla="*/ 228640 w 571540"/>
                  <a:gd name="connsiteY32" fmla="*/ 435769 h 535781"/>
                  <a:gd name="connsiteX33" fmla="*/ 252453 w 571540"/>
                  <a:gd name="connsiteY33" fmla="*/ 442913 h 535781"/>
                  <a:gd name="connsiteX34" fmla="*/ 257215 w 571540"/>
                  <a:gd name="connsiteY34" fmla="*/ 450056 h 535781"/>
                  <a:gd name="connsiteX35" fmla="*/ 264359 w 571540"/>
                  <a:gd name="connsiteY35" fmla="*/ 452438 h 535781"/>
                  <a:gd name="connsiteX36" fmla="*/ 278647 w 571540"/>
                  <a:gd name="connsiteY36" fmla="*/ 464344 h 535781"/>
                  <a:gd name="connsiteX37" fmla="*/ 300078 w 571540"/>
                  <a:gd name="connsiteY37" fmla="*/ 473869 h 535781"/>
                  <a:gd name="connsiteX38" fmla="*/ 307222 w 571540"/>
                  <a:gd name="connsiteY38" fmla="*/ 476250 h 535781"/>
                  <a:gd name="connsiteX39" fmla="*/ 326272 w 571540"/>
                  <a:gd name="connsiteY39" fmla="*/ 473869 h 535781"/>
                  <a:gd name="connsiteX40" fmla="*/ 350084 w 571540"/>
                  <a:gd name="connsiteY40" fmla="*/ 466725 h 535781"/>
                  <a:gd name="connsiteX41" fmla="*/ 357228 w 571540"/>
                  <a:gd name="connsiteY41" fmla="*/ 464344 h 535781"/>
                  <a:gd name="connsiteX42" fmla="*/ 364372 w 571540"/>
                  <a:gd name="connsiteY42" fmla="*/ 461963 h 535781"/>
                  <a:gd name="connsiteX43" fmla="*/ 378659 w 571540"/>
                  <a:gd name="connsiteY43" fmla="*/ 452438 h 535781"/>
                  <a:gd name="connsiteX44" fmla="*/ 392947 w 571540"/>
                  <a:gd name="connsiteY44" fmla="*/ 447675 h 535781"/>
                  <a:gd name="connsiteX45" fmla="*/ 411997 w 571540"/>
                  <a:gd name="connsiteY45" fmla="*/ 450056 h 535781"/>
                  <a:gd name="connsiteX46" fmla="*/ 426284 w 571540"/>
                  <a:gd name="connsiteY46" fmla="*/ 457200 h 535781"/>
                  <a:gd name="connsiteX47" fmla="*/ 435809 w 571540"/>
                  <a:gd name="connsiteY47" fmla="*/ 461963 h 535781"/>
                  <a:gd name="connsiteX48" fmla="*/ 447715 w 571540"/>
                  <a:gd name="connsiteY48" fmla="*/ 473869 h 535781"/>
                  <a:gd name="connsiteX49" fmla="*/ 459622 w 571540"/>
                  <a:gd name="connsiteY49" fmla="*/ 488156 h 535781"/>
                  <a:gd name="connsiteX50" fmla="*/ 466765 w 571540"/>
                  <a:gd name="connsiteY50" fmla="*/ 492919 h 535781"/>
                  <a:gd name="connsiteX51" fmla="*/ 476290 w 571540"/>
                  <a:gd name="connsiteY51" fmla="*/ 507206 h 535781"/>
                  <a:gd name="connsiteX52" fmla="*/ 481053 w 571540"/>
                  <a:gd name="connsiteY52" fmla="*/ 514350 h 535781"/>
                  <a:gd name="connsiteX53" fmla="*/ 488197 w 571540"/>
                  <a:gd name="connsiteY53" fmla="*/ 516731 h 535781"/>
                  <a:gd name="connsiteX54" fmla="*/ 507247 w 571540"/>
                  <a:gd name="connsiteY54" fmla="*/ 514350 h 535781"/>
                  <a:gd name="connsiteX55" fmla="*/ 521534 w 571540"/>
                  <a:gd name="connsiteY55" fmla="*/ 509588 h 535781"/>
                  <a:gd name="connsiteX56" fmla="*/ 528678 w 571540"/>
                  <a:gd name="connsiteY56" fmla="*/ 504825 h 535781"/>
                  <a:gd name="connsiteX57" fmla="*/ 535822 w 571540"/>
                  <a:gd name="connsiteY57" fmla="*/ 497681 h 535781"/>
                  <a:gd name="connsiteX58" fmla="*/ 542965 w 571540"/>
                  <a:gd name="connsiteY58" fmla="*/ 495300 h 535781"/>
                  <a:gd name="connsiteX59" fmla="*/ 554872 w 571540"/>
                  <a:gd name="connsiteY59" fmla="*/ 473869 h 535781"/>
                  <a:gd name="connsiteX60" fmla="*/ 559634 w 571540"/>
                  <a:gd name="connsiteY60" fmla="*/ 450056 h 535781"/>
                  <a:gd name="connsiteX61" fmla="*/ 571540 w 571540"/>
                  <a:gd name="connsiteY61" fmla="*/ 428625 h 535781"/>
                  <a:gd name="connsiteX62" fmla="*/ 569159 w 571540"/>
                  <a:gd name="connsiteY62" fmla="*/ 392906 h 535781"/>
                  <a:gd name="connsiteX63" fmla="*/ 564397 w 571540"/>
                  <a:gd name="connsiteY63" fmla="*/ 378619 h 535781"/>
                  <a:gd name="connsiteX64" fmla="*/ 562015 w 571540"/>
                  <a:gd name="connsiteY64" fmla="*/ 371475 h 535781"/>
                  <a:gd name="connsiteX65" fmla="*/ 559634 w 571540"/>
                  <a:gd name="connsiteY65" fmla="*/ 264319 h 535781"/>
                  <a:gd name="connsiteX66" fmla="*/ 554872 w 571540"/>
                  <a:gd name="connsiteY66" fmla="*/ 242888 h 535781"/>
                  <a:gd name="connsiteX67" fmla="*/ 550109 w 571540"/>
                  <a:gd name="connsiteY67" fmla="*/ 207169 h 535781"/>
                  <a:gd name="connsiteX68" fmla="*/ 545347 w 571540"/>
                  <a:gd name="connsiteY68" fmla="*/ 176213 h 535781"/>
                  <a:gd name="connsiteX69" fmla="*/ 547728 w 571540"/>
                  <a:gd name="connsiteY69" fmla="*/ 128588 h 535781"/>
                  <a:gd name="connsiteX70" fmla="*/ 550109 w 571540"/>
                  <a:gd name="connsiteY70" fmla="*/ 121444 h 535781"/>
                  <a:gd name="connsiteX71" fmla="*/ 552490 w 571540"/>
                  <a:gd name="connsiteY71" fmla="*/ 111919 h 535781"/>
                  <a:gd name="connsiteX72" fmla="*/ 550109 w 571540"/>
                  <a:gd name="connsiteY72" fmla="*/ 97631 h 535781"/>
                  <a:gd name="connsiteX73" fmla="*/ 542965 w 571540"/>
                  <a:gd name="connsiteY73" fmla="*/ 100013 h 535781"/>
                  <a:gd name="connsiteX74" fmla="*/ 528678 w 571540"/>
                  <a:gd name="connsiteY74" fmla="*/ 107156 h 535781"/>
                  <a:gd name="connsiteX75" fmla="*/ 519153 w 571540"/>
                  <a:gd name="connsiteY75" fmla="*/ 104775 h 535781"/>
                  <a:gd name="connsiteX76" fmla="*/ 509628 w 571540"/>
                  <a:gd name="connsiteY76" fmla="*/ 90488 h 535781"/>
                  <a:gd name="connsiteX77" fmla="*/ 504865 w 571540"/>
                  <a:gd name="connsiteY77" fmla="*/ 73819 h 535781"/>
                  <a:gd name="connsiteX78" fmla="*/ 497722 w 571540"/>
                  <a:gd name="connsiteY78" fmla="*/ 69056 h 535781"/>
                  <a:gd name="connsiteX79" fmla="*/ 492959 w 571540"/>
                  <a:gd name="connsiteY79" fmla="*/ 61913 h 535781"/>
                  <a:gd name="connsiteX80" fmla="*/ 481053 w 571540"/>
                  <a:gd name="connsiteY80" fmla="*/ 47625 h 535781"/>
                  <a:gd name="connsiteX81" fmla="*/ 471528 w 571540"/>
                  <a:gd name="connsiteY81" fmla="*/ 33338 h 535781"/>
                  <a:gd name="connsiteX82" fmla="*/ 466765 w 571540"/>
                  <a:gd name="connsiteY82" fmla="*/ 26194 h 535781"/>
                  <a:gd name="connsiteX83" fmla="*/ 452478 w 571540"/>
                  <a:gd name="connsiteY83" fmla="*/ 21431 h 535781"/>
                  <a:gd name="connsiteX84" fmla="*/ 431047 w 571540"/>
                  <a:gd name="connsiteY84" fmla="*/ 7144 h 535781"/>
                  <a:gd name="connsiteX85" fmla="*/ 423903 w 571540"/>
                  <a:gd name="connsiteY85" fmla="*/ 2381 h 535781"/>
                  <a:gd name="connsiteX86" fmla="*/ 416759 w 571540"/>
                  <a:gd name="connsiteY86" fmla="*/ 0 h 535781"/>
                  <a:gd name="connsiteX87" fmla="*/ 400090 w 571540"/>
                  <a:gd name="connsiteY87" fmla="*/ 4763 h 535781"/>
                  <a:gd name="connsiteX88" fmla="*/ 392947 w 571540"/>
                  <a:gd name="connsiteY88" fmla="*/ 9525 h 535781"/>
                  <a:gd name="connsiteX89" fmla="*/ 385803 w 571540"/>
                  <a:gd name="connsiteY89" fmla="*/ 16669 h 535781"/>
                  <a:gd name="connsiteX90" fmla="*/ 381040 w 571540"/>
                  <a:gd name="connsiteY90" fmla="*/ 23813 h 535781"/>
                  <a:gd name="connsiteX91" fmla="*/ 366753 w 571540"/>
                  <a:gd name="connsiteY91" fmla="*/ 33338 h 535781"/>
                  <a:gd name="connsiteX92" fmla="*/ 359609 w 571540"/>
                  <a:gd name="connsiteY92" fmla="*/ 38100 h 535781"/>
                  <a:gd name="connsiteX93" fmla="*/ 354847 w 571540"/>
                  <a:gd name="connsiteY93" fmla="*/ 59531 h 535781"/>
                  <a:gd name="connsiteX94" fmla="*/ 338178 w 571540"/>
                  <a:gd name="connsiteY94" fmla="*/ 80963 h 535781"/>
                  <a:gd name="connsiteX95" fmla="*/ 323890 w 571540"/>
                  <a:gd name="connsiteY95" fmla="*/ 90488 h 535781"/>
                  <a:gd name="connsiteX96" fmla="*/ 316747 w 571540"/>
                  <a:gd name="connsiteY96" fmla="*/ 95250 h 535781"/>
                  <a:gd name="connsiteX97" fmla="*/ 309603 w 571540"/>
                  <a:gd name="connsiteY97" fmla="*/ 100013 h 535781"/>
                  <a:gd name="connsiteX98" fmla="*/ 281028 w 571540"/>
                  <a:gd name="connsiteY98" fmla="*/ 104775 h 535781"/>
                  <a:gd name="connsiteX99" fmla="*/ 242928 w 571540"/>
                  <a:gd name="connsiteY99" fmla="*/ 107156 h 535781"/>
                  <a:gd name="connsiteX100" fmla="*/ 233403 w 571540"/>
                  <a:gd name="connsiteY100" fmla="*/ 109538 h 535781"/>
                  <a:gd name="connsiteX101" fmla="*/ 219115 w 571540"/>
                  <a:gd name="connsiteY101" fmla="*/ 114300 h 535781"/>
                  <a:gd name="connsiteX102" fmla="*/ 190540 w 571540"/>
                  <a:gd name="connsiteY102" fmla="*/ 119063 h 535781"/>
                  <a:gd name="connsiteX103" fmla="*/ 178634 w 571540"/>
                  <a:gd name="connsiteY103" fmla="*/ 121444 h 535781"/>
                  <a:gd name="connsiteX104" fmla="*/ 164347 w 571540"/>
                  <a:gd name="connsiteY104" fmla="*/ 126206 h 535781"/>
                  <a:gd name="connsiteX105" fmla="*/ 159584 w 571540"/>
                  <a:gd name="connsiteY105" fmla="*/ 133350 h 535781"/>
                  <a:gd name="connsiteX106" fmla="*/ 159584 w 571540"/>
                  <a:gd name="connsiteY106" fmla="*/ 152400 h 535781"/>
                  <a:gd name="connsiteX107" fmla="*/ 150059 w 571540"/>
                  <a:gd name="connsiteY107" fmla="*/ 166688 h 535781"/>
                  <a:gd name="connsiteX108" fmla="*/ 145297 w 571540"/>
                  <a:gd name="connsiteY108" fmla="*/ 173831 h 535781"/>
                  <a:gd name="connsiteX109" fmla="*/ 140534 w 571540"/>
                  <a:gd name="connsiteY109" fmla="*/ 188119 h 535781"/>
                  <a:gd name="connsiteX110" fmla="*/ 135772 w 571540"/>
                  <a:gd name="connsiteY110" fmla="*/ 195263 h 535781"/>
                  <a:gd name="connsiteX111" fmla="*/ 131009 w 571540"/>
                  <a:gd name="connsiteY111" fmla="*/ 209550 h 535781"/>
                  <a:gd name="connsiteX112" fmla="*/ 128628 w 571540"/>
                  <a:gd name="connsiteY112" fmla="*/ 216694 h 535781"/>
                  <a:gd name="connsiteX113" fmla="*/ 126247 w 571540"/>
                  <a:gd name="connsiteY113" fmla="*/ 223838 h 535781"/>
                  <a:gd name="connsiteX114" fmla="*/ 123865 w 571540"/>
                  <a:gd name="connsiteY114" fmla="*/ 233363 h 535781"/>
                  <a:gd name="connsiteX115" fmla="*/ 119103 w 571540"/>
                  <a:gd name="connsiteY115" fmla="*/ 271463 h 535781"/>
                  <a:gd name="connsiteX116" fmla="*/ 114340 w 571540"/>
                  <a:gd name="connsiteY116" fmla="*/ 278606 h 535781"/>
                  <a:gd name="connsiteX117" fmla="*/ 111959 w 571540"/>
                  <a:gd name="connsiteY117" fmla="*/ 288131 h 535781"/>
                  <a:gd name="connsiteX118" fmla="*/ 97672 w 571540"/>
                  <a:gd name="connsiteY118" fmla="*/ 295275 h 535781"/>
                  <a:gd name="connsiteX119" fmla="*/ 52428 w 571540"/>
                  <a:gd name="connsiteY119" fmla="*/ 292894 h 535781"/>
                  <a:gd name="connsiteX120" fmla="*/ 45284 w 571540"/>
                  <a:gd name="connsiteY120" fmla="*/ 288131 h 535781"/>
                  <a:gd name="connsiteX121" fmla="*/ 35759 w 571540"/>
                  <a:gd name="connsiteY121" fmla="*/ 273844 h 535781"/>
                  <a:gd name="connsiteX122" fmla="*/ 21472 w 571540"/>
                  <a:gd name="connsiteY122" fmla="*/ 264319 h 535781"/>
                  <a:gd name="connsiteX123" fmla="*/ 14328 w 571540"/>
                  <a:gd name="connsiteY123" fmla="*/ 250031 h 535781"/>
                  <a:gd name="connsiteX124" fmla="*/ 11947 w 571540"/>
                  <a:gd name="connsiteY124" fmla="*/ 242888 h 535781"/>
                  <a:gd name="connsiteX125" fmla="*/ 4803 w 571540"/>
                  <a:gd name="connsiteY125" fmla="*/ 238125 h 535781"/>
                  <a:gd name="connsiteX126" fmla="*/ 2422 w 571540"/>
                  <a:gd name="connsiteY126" fmla="*/ 245269 h 535781"/>
                  <a:gd name="connsiteX127" fmla="*/ 4803 w 571540"/>
                  <a:gd name="connsiteY127" fmla="*/ 254794 h 535781"/>
                  <a:gd name="connsiteX128" fmla="*/ 9565 w 571540"/>
                  <a:gd name="connsiteY128" fmla="*/ 271463 h 535781"/>
                  <a:gd name="connsiteX129" fmla="*/ 7184 w 571540"/>
                  <a:gd name="connsiteY129" fmla="*/ 300038 h 535781"/>
                  <a:gd name="connsiteX130" fmla="*/ 40 w 571540"/>
                  <a:gd name="connsiteY130" fmla="*/ 319088 h 53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571540" h="535781">
                    <a:moveTo>
                      <a:pt x="40" y="319088"/>
                    </a:moveTo>
                    <a:cubicBezTo>
                      <a:pt x="437" y="324247"/>
                      <a:pt x="5706" y="327687"/>
                      <a:pt x="9565" y="330994"/>
                    </a:cubicBezTo>
                    <a:cubicBezTo>
                      <a:pt x="11471" y="332628"/>
                      <a:pt x="14515" y="332156"/>
                      <a:pt x="16709" y="333375"/>
                    </a:cubicBezTo>
                    <a:cubicBezTo>
                      <a:pt x="21713" y="336155"/>
                      <a:pt x="26234" y="339725"/>
                      <a:pt x="30997" y="342900"/>
                    </a:cubicBezTo>
                    <a:lnTo>
                      <a:pt x="38140" y="347663"/>
                    </a:lnTo>
                    <a:lnTo>
                      <a:pt x="47665" y="361950"/>
                    </a:lnTo>
                    <a:cubicBezTo>
                      <a:pt x="49253" y="364331"/>
                      <a:pt x="50047" y="367507"/>
                      <a:pt x="52428" y="369094"/>
                    </a:cubicBezTo>
                    <a:lnTo>
                      <a:pt x="59572" y="373856"/>
                    </a:lnTo>
                    <a:cubicBezTo>
                      <a:pt x="73067" y="394101"/>
                      <a:pt x="50836" y="362735"/>
                      <a:pt x="78622" y="390525"/>
                    </a:cubicBezTo>
                    <a:cubicBezTo>
                      <a:pt x="81003" y="392906"/>
                      <a:pt x="83178" y="395513"/>
                      <a:pt x="85765" y="397669"/>
                    </a:cubicBezTo>
                    <a:cubicBezTo>
                      <a:pt x="95984" y="406185"/>
                      <a:pt x="90564" y="398188"/>
                      <a:pt x="100053" y="409575"/>
                    </a:cubicBezTo>
                    <a:cubicBezTo>
                      <a:pt x="101885" y="411774"/>
                      <a:pt x="103535" y="414159"/>
                      <a:pt x="104815" y="416719"/>
                    </a:cubicBezTo>
                    <a:cubicBezTo>
                      <a:pt x="105938" y="418964"/>
                      <a:pt x="105629" y="421903"/>
                      <a:pt x="107197" y="423863"/>
                    </a:cubicBezTo>
                    <a:cubicBezTo>
                      <a:pt x="108985" y="426098"/>
                      <a:pt x="111959" y="427038"/>
                      <a:pt x="114340" y="428625"/>
                    </a:cubicBezTo>
                    <a:cubicBezTo>
                      <a:pt x="115928" y="431006"/>
                      <a:pt x="117823" y="433209"/>
                      <a:pt x="119103" y="435769"/>
                    </a:cubicBezTo>
                    <a:cubicBezTo>
                      <a:pt x="120226" y="438014"/>
                      <a:pt x="120092" y="440824"/>
                      <a:pt x="121484" y="442913"/>
                    </a:cubicBezTo>
                    <a:cubicBezTo>
                      <a:pt x="123352" y="445715"/>
                      <a:pt x="126561" y="447398"/>
                      <a:pt x="128628" y="450056"/>
                    </a:cubicBezTo>
                    <a:cubicBezTo>
                      <a:pt x="136508" y="460187"/>
                      <a:pt x="136173" y="464391"/>
                      <a:pt x="145297" y="471488"/>
                    </a:cubicBezTo>
                    <a:cubicBezTo>
                      <a:pt x="149815" y="475002"/>
                      <a:pt x="154822" y="477838"/>
                      <a:pt x="159584" y="481013"/>
                    </a:cubicBezTo>
                    <a:lnTo>
                      <a:pt x="166728" y="485775"/>
                    </a:lnTo>
                    <a:cubicBezTo>
                      <a:pt x="183732" y="511285"/>
                      <a:pt x="157258" y="472581"/>
                      <a:pt x="178634" y="500063"/>
                    </a:cubicBezTo>
                    <a:cubicBezTo>
                      <a:pt x="182148" y="504581"/>
                      <a:pt x="183397" y="511175"/>
                      <a:pt x="188159" y="514350"/>
                    </a:cubicBezTo>
                    <a:cubicBezTo>
                      <a:pt x="192922" y="517525"/>
                      <a:pt x="198400" y="519827"/>
                      <a:pt x="202447" y="523875"/>
                    </a:cubicBezTo>
                    <a:cubicBezTo>
                      <a:pt x="204828" y="526256"/>
                      <a:pt x="206788" y="529151"/>
                      <a:pt x="209590" y="531019"/>
                    </a:cubicBezTo>
                    <a:cubicBezTo>
                      <a:pt x="214672" y="534407"/>
                      <a:pt x="234979" y="535680"/>
                      <a:pt x="235784" y="535781"/>
                    </a:cubicBezTo>
                    <a:cubicBezTo>
                      <a:pt x="239753" y="534987"/>
                      <a:pt x="244322" y="535645"/>
                      <a:pt x="247690" y="533400"/>
                    </a:cubicBezTo>
                    <a:cubicBezTo>
                      <a:pt x="252931" y="529906"/>
                      <a:pt x="247923" y="512902"/>
                      <a:pt x="247690" y="511969"/>
                    </a:cubicBezTo>
                    <a:cubicBezTo>
                      <a:pt x="246472" y="507099"/>
                      <a:pt x="244515" y="502444"/>
                      <a:pt x="242928" y="497681"/>
                    </a:cubicBezTo>
                    <a:lnTo>
                      <a:pt x="238165" y="483394"/>
                    </a:lnTo>
                    <a:cubicBezTo>
                      <a:pt x="237371" y="481013"/>
                      <a:pt x="237176" y="478339"/>
                      <a:pt x="235784" y="476250"/>
                    </a:cubicBezTo>
                    <a:lnTo>
                      <a:pt x="226259" y="461963"/>
                    </a:lnTo>
                    <a:cubicBezTo>
                      <a:pt x="224426" y="456463"/>
                      <a:pt x="220300" y="445321"/>
                      <a:pt x="221497" y="440531"/>
                    </a:cubicBezTo>
                    <a:cubicBezTo>
                      <a:pt x="222191" y="437755"/>
                      <a:pt x="226259" y="437356"/>
                      <a:pt x="228640" y="435769"/>
                    </a:cubicBezTo>
                    <a:cubicBezTo>
                      <a:pt x="239134" y="437268"/>
                      <a:pt x="245233" y="435693"/>
                      <a:pt x="252453" y="442913"/>
                    </a:cubicBezTo>
                    <a:cubicBezTo>
                      <a:pt x="254476" y="444936"/>
                      <a:pt x="254980" y="448268"/>
                      <a:pt x="257215" y="450056"/>
                    </a:cubicBezTo>
                    <a:cubicBezTo>
                      <a:pt x="259175" y="451624"/>
                      <a:pt x="262114" y="451315"/>
                      <a:pt x="264359" y="452438"/>
                    </a:cubicBezTo>
                    <a:cubicBezTo>
                      <a:pt x="273230" y="456874"/>
                      <a:pt x="270745" y="457759"/>
                      <a:pt x="278647" y="464344"/>
                    </a:cubicBezTo>
                    <a:cubicBezTo>
                      <a:pt x="286193" y="470633"/>
                      <a:pt x="289696" y="470408"/>
                      <a:pt x="300078" y="473869"/>
                    </a:cubicBezTo>
                    <a:lnTo>
                      <a:pt x="307222" y="476250"/>
                    </a:lnTo>
                    <a:cubicBezTo>
                      <a:pt x="313572" y="475456"/>
                      <a:pt x="319960" y="474921"/>
                      <a:pt x="326272" y="473869"/>
                    </a:cubicBezTo>
                    <a:cubicBezTo>
                      <a:pt x="333474" y="472669"/>
                      <a:pt x="343726" y="468844"/>
                      <a:pt x="350084" y="466725"/>
                    </a:cubicBezTo>
                    <a:lnTo>
                      <a:pt x="357228" y="464344"/>
                    </a:lnTo>
                    <a:lnTo>
                      <a:pt x="364372" y="461963"/>
                    </a:lnTo>
                    <a:cubicBezTo>
                      <a:pt x="369134" y="458788"/>
                      <a:pt x="373229" y="454248"/>
                      <a:pt x="378659" y="452438"/>
                    </a:cubicBezTo>
                    <a:lnTo>
                      <a:pt x="392947" y="447675"/>
                    </a:lnTo>
                    <a:cubicBezTo>
                      <a:pt x="399297" y="448469"/>
                      <a:pt x="405701" y="448911"/>
                      <a:pt x="411997" y="450056"/>
                    </a:cubicBezTo>
                    <a:cubicBezTo>
                      <a:pt x="419996" y="451511"/>
                      <a:pt x="419172" y="453136"/>
                      <a:pt x="426284" y="457200"/>
                    </a:cubicBezTo>
                    <a:cubicBezTo>
                      <a:pt x="429366" y="458961"/>
                      <a:pt x="432634" y="460375"/>
                      <a:pt x="435809" y="461963"/>
                    </a:cubicBezTo>
                    <a:cubicBezTo>
                      <a:pt x="444541" y="475059"/>
                      <a:pt x="435809" y="463947"/>
                      <a:pt x="447715" y="473869"/>
                    </a:cubicBezTo>
                    <a:cubicBezTo>
                      <a:pt x="471123" y="493377"/>
                      <a:pt x="440890" y="469424"/>
                      <a:pt x="459622" y="488156"/>
                    </a:cubicBezTo>
                    <a:cubicBezTo>
                      <a:pt x="461646" y="490180"/>
                      <a:pt x="464384" y="491331"/>
                      <a:pt x="466765" y="492919"/>
                    </a:cubicBezTo>
                    <a:cubicBezTo>
                      <a:pt x="470951" y="505474"/>
                      <a:pt x="466381" y="495315"/>
                      <a:pt x="476290" y="507206"/>
                    </a:cubicBezTo>
                    <a:cubicBezTo>
                      <a:pt x="478122" y="509405"/>
                      <a:pt x="478818" y="512562"/>
                      <a:pt x="481053" y="514350"/>
                    </a:cubicBezTo>
                    <a:cubicBezTo>
                      <a:pt x="483013" y="515918"/>
                      <a:pt x="485816" y="515937"/>
                      <a:pt x="488197" y="516731"/>
                    </a:cubicBezTo>
                    <a:cubicBezTo>
                      <a:pt x="494547" y="515937"/>
                      <a:pt x="500990" y="515691"/>
                      <a:pt x="507247" y="514350"/>
                    </a:cubicBezTo>
                    <a:cubicBezTo>
                      <a:pt x="512155" y="513298"/>
                      <a:pt x="521534" y="509588"/>
                      <a:pt x="521534" y="509588"/>
                    </a:cubicBezTo>
                    <a:cubicBezTo>
                      <a:pt x="523915" y="508000"/>
                      <a:pt x="526479" y="506657"/>
                      <a:pt x="528678" y="504825"/>
                    </a:cubicBezTo>
                    <a:cubicBezTo>
                      <a:pt x="531265" y="502669"/>
                      <a:pt x="533020" y="499549"/>
                      <a:pt x="535822" y="497681"/>
                    </a:cubicBezTo>
                    <a:cubicBezTo>
                      <a:pt x="537910" y="496289"/>
                      <a:pt x="540584" y="496094"/>
                      <a:pt x="542965" y="495300"/>
                    </a:cubicBezTo>
                    <a:cubicBezTo>
                      <a:pt x="553882" y="478924"/>
                      <a:pt x="550680" y="486443"/>
                      <a:pt x="554872" y="473869"/>
                    </a:cubicBezTo>
                    <a:cubicBezTo>
                      <a:pt x="555171" y="472076"/>
                      <a:pt x="557858" y="453608"/>
                      <a:pt x="559634" y="450056"/>
                    </a:cubicBezTo>
                    <a:cubicBezTo>
                      <a:pt x="576008" y="417307"/>
                      <a:pt x="564956" y="448379"/>
                      <a:pt x="571540" y="428625"/>
                    </a:cubicBezTo>
                    <a:cubicBezTo>
                      <a:pt x="570746" y="416719"/>
                      <a:pt x="570846" y="404719"/>
                      <a:pt x="569159" y="392906"/>
                    </a:cubicBezTo>
                    <a:cubicBezTo>
                      <a:pt x="568449" y="387937"/>
                      <a:pt x="565984" y="383381"/>
                      <a:pt x="564397" y="378619"/>
                    </a:cubicBezTo>
                    <a:lnTo>
                      <a:pt x="562015" y="371475"/>
                    </a:lnTo>
                    <a:cubicBezTo>
                      <a:pt x="561221" y="335756"/>
                      <a:pt x="561062" y="300018"/>
                      <a:pt x="559634" y="264319"/>
                    </a:cubicBezTo>
                    <a:cubicBezTo>
                      <a:pt x="559392" y="258262"/>
                      <a:pt x="555986" y="249015"/>
                      <a:pt x="554872" y="242888"/>
                    </a:cubicBezTo>
                    <a:cubicBezTo>
                      <a:pt x="552461" y="229627"/>
                      <a:pt x="552187" y="220680"/>
                      <a:pt x="550109" y="207169"/>
                    </a:cubicBezTo>
                    <a:cubicBezTo>
                      <a:pt x="542837" y="159897"/>
                      <a:pt x="553979" y="245276"/>
                      <a:pt x="545347" y="176213"/>
                    </a:cubicBezTo>
                    <a:cubicBezTo>
                      <a:pt x="546141" y="160338"/>
                      <a:pt x="546351" y="144423"/>
                      <a:pt x="547728" y="128588"/>
                    </a:cubicBezTo>
                    <a:cubicBezTo>
                      <a:pt x="547945" y="126087"/>
                      <a:pt x="549419" y="123858"/>
                      <a:pt x="550109" y="121444"/>
                    </a:cubicBezTo>
                    <a:cubicBezTo>
                      <a:pt x="551008" y="118297"/>
                      <a:pt x="551696" y="115094"/>
                      <a:pt x="552490" y="111919"/>
                    </a:cubicBezTo>
                    <a:cubicBezTo>
                      <a:pt x="551696" y="107156"/>
                      <a:pt x="553125" y="101401"/>
                      <a:pt x="550109" y="97631"/>
                    </a:cubicBezTo>
                    <a:cubicBezTo>
                      <a:pt x="548541" y="95671"/>
                      <a:pt x="545210" y="98890"/>
                      <a:pt x="542965" y="100013"/>
                    </a:cubicBezTo>
                    <a:cubicBezTo>
                      <a:pt x="524508" y="109242"/>
                      <a:pt x="546629" y="101173"/>
                      <a:pt x="528678" y="107156"/>
                    </a:cubicBezTo>
                    <a:cubicBezTo>
                      <a:pt x="525503" y="106362"/>
                      <a:pt x="521616" y="106930"/>
                      <a:pt x="519153" y="104775"/>
                    </a:cubicBezTo>
                    <a:cubicBezTo>
                      <a:pt x="514845" y="101006"/>
                      <a:pt x="509628" y="90488"/>
                      <a:pt x="509628" y="90488"/>
                    </a:cubicBezTo>
                    <a:cubicBezTo>
                      <a:pt x="509471" y="89862"/>
                      <a:pt x="506109" y="75374"/>
                      <a:pt x="504865" y="73819"/>
                    </a:cubicBezTo>
                    <a:cubicBezTo>
                      <a:pt x="503077" y="71584"/>
                      <a:pt x="500103" y="70644"/>
                      <a:pt x="497722" y="69056"/>
                    </a:cubicBezTo>
                    <a:cubicBezTo>
                      <a:pt x="496134" y="66675"/>
                      <a:pt x="494791" y="64111"/>
                      <a:pt x="492959" y="61913"/>
                    </a:cubicBezTo>
                    <a:cubicBezTo>
                      <a:pt x="486376" y="54014"/>
                      <a:pt x="485486" y="56493"/>
                      <a:pt x="481053" y="47625"/>
                    </a:cubicBezTo>
                    <a:cubicBezTo>
                      <a:pt x="471640" y="28797"/>
                      <a:pt x="488452" y="53645"/>
                      <a:pt x="471528" y="33338"/>
                    </a:cubicBezTo>
                    <a:cubicBezTo>
                      <a:pt x="469696" y="31139"/>
                      <a:pt x="469192" y="27711"/>
                      <a:pt x="466765" y="26194"/>
                    </a:cubicBezTo>
                    <a:cubicBezTo>
                      <a:pt x="462508" y="23533"/>
                      <a:pt x="456655" y="24216"/>
                      <a:pt x="452478" y="21431"/>
                    </a:cubicBezTo>
                    <a:lnTo>
                      <a:pt x="431047" y="7144"/>
                    </a:lnTo>
                    <a:cubicBezTo>
                      <a:pt x="428666" y="5556"/>
                      <a:pt x="426618" y="3286"/>
                      <a:pt x="423903" y="2381"/>
                    </a:cubicBezTo>
                    <a:lnTo>
                      <a:pt x="416759" y="0"/>
                    </a:lnTo>
                    <a:cubicBezTo>
                      <a:pt x="413701" y="764"/>
                      <a:pt x="403510" y="3053"/>
                      <a:pt x="400090" y="4763"/>
                    </a:cubicBezTo>
                    <a:cubicBezTo>
                      <a:pt x="397531" y="6043"/>
                      <a:pt x="395145" y="7693"/>
                      <a:pt x="392947" y="9525"/>
                    </a:cubicBezTo>
                    <a:cubicBezTo>
                      <a:pt x="390360" y="11681"/>
                      <a:pt x="387959" y="14082"/>
                      <a:pt x="385803" y="16669"/>
                    </a:cubicBezTo>
                    <a:cubicBezTo>
                      <a:pt x="383971" y="18868"/>
                      <a:pt x="383194" y="21928"/>
                      <a:pt x="381040" y="23813"/>
                    </a:cubicBezTo>
                    <a:cubicBezTo>
                      <a:pt x="376733" y="27582"/>
                      <a:pt x="371515" y="30163"/>
                      <a:pt x="366753" y="33338"/>
                    </a:cubicBezTo>
                    <a:lnTo>
                      <a:pt x="359609" y="38100"/>
                    </a:lnTo>
                    <a:cubicBezTo>
                      <a:pt x="358963" y="41977"/>
                      <a:pt x="357639" y="54506"/>
                      <a:pt x="354847" y="59531"/>
                    </a:cubicBezTo>
                    <a:cubicBezTo>
                      <a:pt x="350932" y="66577"/>
                      <a:pt x="344969" y="75681"/>
                      <a:pt x="338178" y="80963"/>
                    </a:cubicBezTo>
                    <a:cubicBezTo>
                      <a:pt x="333660" y="84477"/>
                      <a:pt x="328653" y="87313"/>
                      <a:pt x="323890" y="90488"/>
                    </a:cubicBezTo>
                    <a:lnTo>
                      <a:pt x="316747" y="95250"/>
                    </a:lnTo>
                    <a:cubicBezTo>
                      <a:pt x="314366" y="96838"/>
                      <a:pt x="312409" y="99452"/>
                      <a:pt x="309603" y="100013"/>
                    </a:cubicBezTo>
                    <a:cubicBezTo>
                      <a:pt x="299565" y="102020"/>
                      <a:pt x="291480" y="103866"/>
                      <a:pt x="281028" y="104775"/>
                    </a:cubicBezTo>
                    <a:cubicBezTo>
                      <a:pt x="268351" y="105877"/>
                      <a:pt x="255628" y="106362"/>
                      <a:pt x="242928" y="107156"/>
                    </a:cubicBezTo>
                    <a:cubicBezTo>
                      <a:pt x="239753" y="107950"/>
                      <a:pt x="236538" y="108598"/>
                      <a:pt x="233403" y="109538"/>
                    </a:cubicBezTo>
                    <a:cubicBezTo>
                      <a:pt x="228595" y="110981"/>
                      <a:pt x="224038" y="113316"/>
                      <a:pt x="219115" y="114300"/>
                    </a:cubicBezTo>
                    <a:cubicBezTo>
                      <a:pt x="191057" y="119911"/>
                      <a:pt x="225983" y="113155"/>
                      <a:pt x="190540" y="119063"/>
                    </a:cubicBezTo>
                    <a:cubicBezTo>
                      <a:pt x="186548" y="119728"/>
                      <a:pt x="182539" y="120379"/>
                      <a:pt x="178634" y="121444"/>
                    </a:cubicBezTo>
                    <a:cubicBezTo>
                      <a:pt x="173791" y="122765"/>
                      <a:pt x="164347" y="126206"/>
                      <a:pt x="164347" y="126206"/>
                    </a:cubicBezTo>
                    <a:cubicBezTo>
                      <a:pt x="162759" y="128587"/>
                      <a:pt x="160055" y="130527"/>
                      <a:pt x="159584" y="133350"/>
                    </a:cubicBezTo>
                    <a:cubicBezTo>
                      <a:pt x="155886" y="155534"/>
                      <a:pt x="174323" y="119974"/>
                      <a:pt x="159584" y="152400"/>
                    </a:cubicBezTo>
                    <a:cubicBezTo>
                      <a:pt x="157215" y="157611"/>
                      <a:pt x="153234" y="161925"/>
                      <a:pt x="150059" y="166688"/>
                    </a:cubicBezTo>
                    <a:cubicBezTo>
                      <a:pt x="148472" y="169069"/>
                      <a:pt x="146202" y="171116"/>
                      <a:pt x="145297" y="173831"/>
                    </a:cubicBezTo>
                    <a:cubicBezTo>
                      <a:pt x="143709" y="178594"/>
                      <a:pt x="143319" y="183942"/>
                      <a:pt x="140534" y="188119"/>
                    </a:cubicBezTo>
                    <a:cubicBezTo>
                      <a:pt x="138947" y="190500"/>
                      <a:pt x="136934" y="192648"/>
                      <a:pt x="135772" y="195263"/>
                    </a:cubicBezTo>
                    <a:cubicBezTo>
                      <a:pt x="133733" y="199850"/>
                      <a:pt x="132597" y="204788"/>
                      <a:pt x="131009" y="209550"/>
                    </a:cubicBezTo>
                    <a:lnTo>
                      <a:pt x="128628" y="216694"/>
                    </a:lnTo>
                    <a:cubicBezTo>
                      <a:pt x="127834" y="219075"/>
                      <a:pt x="126856" y="221403"/>
                      <a:pt x="126247" y="223838"/>
                    </a:cubicBezTo>
                    <a:lnTo>
                      <a:pt x="123865" y="233363"/>
                    </a:lnTo>
                    <a:cubicBezTo>
                      <a:pt x="123605" y="236224"/>
                      <a:pt x="122055" y="263592"/>
                      <a:pt x="119103" y="271463"/>
                    </a:cubicBezTo>
                    <a:cubicBezTo>
                      <a:pt x="118098" y="274143"/>
                      <a:pt x="115928" y="276225"/>
                      <a:pt x="114340" y="278606"/>
                    </a:cubicBezTo>
                    <a:cubicBezTo>
                      <a:pt x="113546" y="281781"/>
                      <a:pt x="113774" y="285408"/>
                      <a:pt x="111959" y="288131"/>
                    </a:cubicBezTo>
                    <a:cubicBezTo>
                      <a:pt x="109321" y="292088"/>
                      <a:pt x="101748" y="293916"/>
                      <a:pt x="97672" y="295275"/>
                    </a:cubicBezTo>
                    <a:cubicBezTo>
                      <a:pt x="82591" y="294481"/>
                      <a:pt x="67392" y="294935"/>
                      <a:pt x="52428" y="292894"/>
                    </a:cubicBezTo>
                    <a:cubicBezTo>
                      <a:pt x="49592" y="292507"/>
                      <a:pt x="47072" y="290366"/>
                      <a:pt x="45284" y="288131"/>
                    </a:cubicBezTo>
                    <a:cubicBezTo>
                      <a:pt x="32194" y="271769"/>
                      <a:pt x="57618" y="290846"/>
                      <a:pt x="35759" y="273844"/>
                    </a:cubicBezTo>
                    <a:cubicBezTo>
                      <a:pt x="31241" y="270330"/>
                      <a:pt x="21472" y="264319"/>
                      <a:pt x="21472" y="264319"/>
                    </a:cubicBezTo>
                    <a:cubicBezTo>
                      <a:pt x="15483" y="246358"/>
                      <a:pt x="23562" y="268500"/>
                      <a:pt x="14328" y="250031"/>
                    </a:cubicBezTo>
                    <a:cubicBezTo>
                      <a:pt x="13206" y="247786"/>
                      <a:pt x="13515" y="244848"/>
                      <a:pt x="11947" y="242888"/>
                    </a:cubicBezTo>
                    <a:cubicBezTo>
                      <a:pt x="10159" y="240653"/>
                      <a:pt x="7184" y="239713"/>
                      <a:pt x="4803" y="238125"/>
                    </a:cubicBezTo>
                    <a:cubicBezTo>
                      <a:pt x="4009" y="240506"/>
                      <a:pt x="2422" y="242759"/>
                      <a:pt x="2422" y="245269"/>
                    </a:cubicBezTo>
                    <a:cubicBezTo>
                      <a:pt x="2422" y="248542"/>
                      <a:pt x="3904" y="251647"/>
                      <a:pt x="4803" y="254794"/>
                    </a:cubicBezTo>
                    <a:cubicBezTo>
                      <a:pt x="11635" y="278707"/>
                      <a:pt x="2122" y="241687"/>
                      <a:pt x="9565" y="271463"/>
                    </a:cubicBezTo>
                    <a:cubicBezTo>
                      <a:pt x="8771" y="280988"/>
                      <a:pt x="8755" y="290610"/>
                      <a:pt x="7184" y="300038"/>
                    </a:cubicBezTo>
                    <a:cubicBezTo>
                      <a:pt x="2171" y="330119"/>
                      <a:pt x="-357" y="313929"/>
                      <a:pt x="40" y="31908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89" name="Freeform 188"/>
              <p:cNvSpPr/>
              <p:nvPr/>
            </p:nvSpPr>
            <p:spPr>
              <a:xfrm>
                <a:off x="1093339" y="3124729"/>
                <a:ext cx="90822" cy="100163"/>
              </a:xfrm>
              <a:custGeom>
                <a:avLst/>
                <a:gdLst>
                  <a:gd name="connsiteX0" fmla="*/ 19384 w 90822"/>
                  <a:gd name="connsiteY0" fmla="*/ 151 h 100163"/>
                  <a:gd name="connsiteX1" fmla="*/ 334 w 90822"/>
                  <a:gd name="connsiteY1" fmla="*/ 14438 h 100163"/>
                  <a:gd name="connsiteX2" fmla="*/ 2716 w 90822"/>
                  <a:gd name="connsiteY2" fmla="*/ 38251 h 100163"/>
                  <a:gd name="connsiteX3" fmla="*/ 5097 w 90822"/>
                  <a:gd name="connsiteY3" fmla="*/ 45394 h 100163"/>
                  <a:gd name="connsiteX4" fmla="*/ 19384 w 90822"/>
                  <a:gd name="connsiteY4" fmla="*/ 57301 h 100163"/>
                  <a:gd name="connsiteX5" fmla="*/ 38434 w 90822"/>
                  <a:gd name="connsiteY5" fmla="*/ 73969 h 100163"/>
                  <a:gd name="connsiteX6" fmla="*/ 45578 w 90822"/>
                  <a:gd name="connsiteY6" fmla="*/ 78732 h 100163"/>
                  <a:gd name="connsiteX7" fmla="*/ 64628 w 90822"/>
                  <a:gd name="connsiteY7" fmla="*/ 95401 h 100163"/>
                  <a:gd name="connsiteX8" fmla="*/ 78916 w 90822"/>
                  <a:gd name="connsiteY8" fmla="*/ 100163 h 100163"/>
                  <a:gd name="connsiteX9" fmla="*/ 86059 w 90822"/>
                  <a:gd name="connsiteY9" fmla="*/ 95401 h 100163"/>
                  <a:gd name="connsiteX10" fmla="*/ 90822 w 90822"/>
                  <a:gd name="connsiteY10" fmla="*/ 81113 h 100163"/>
                  <a:gd name="connsiteX11" fmla="*/ 86059 w 90822"/>
                  <a:gd name="connsiteY11" fmla="*/ 64444 h 100163"/>
                  <a:gd name="connsiteX12" fmla="*/ 64628 w 90822"/>
                  <a:gd name="connsiteY12" fmla="*/ 47776 h 100163"/>
                  <a:gd name="connsiteX13" fmla="*/ 43197 w 90822"/>
                  <a:gd name="connsiteY13" fmla="*/ 31107 h 100163"/>
                  <a:gd name="connsiteX14" fmla="*/ 38434 w 90822"/>
                  <a:gd name="connsiteY14" fmla="*/ 23963 h 100163"/>
                  <a:gd name="connsiteX15" fmla="*/ 19384 w 90822"/>
                  <a:gd name="connsiteY15" fmla="*/ 151 h 10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822" h="100163">
                    <a:moveTo>
                      <a:pt x="19384" y="151"/>
                    </a:moveTo>
                    <a:cubicBezTo>
                      <a:pt x="13034" y="-1437"/>
                      <a:pt x="1040" y="9847"/>
                      <a:pt x="334" y="14438"/>
                    </a:cubicBezTo>
                    <a:cubicBezTo>
                      <a:pt x="-879" y="22323"/>
                      <a:pt x="1503" y="30367"/>
                      <a:pt x="2716" y="38251"/>
                    </a:cubicBezTo>
                    <a:cubicBezTo>
                      <a:pt x="3098" y="40732"/>
                      <a:pt x="3705" y="43306"/>
                      <a:pt x="5097" y="45394"/>
                    </a:cubicBezTo>
                    <a:cubicBezTo>
                      <a:pt x="8763" y="50893"/>
                      <a:pt x="14114" y="53787"/>
                      <a:pt x="19384" y="57301"/>
                    </a:cubicBezTo>
                    <a:cubicBezTo>
                      <a:pt x="27322" y="69206"/>
                      <a:pt x="21766" y="62856"/>
                      <a:pt x="38434" y="73969"/>
                    </a:cubicBezTo>
                    <a:lnTo>
                      <a:pt x="45578" y="78732"/>
                    </a:lnTo>
                    <a:cubicBezTo>
                      <a:pt x="51134" y="87066"/>
                      <a:pt x="52723" y="91433"/>
                      <a:pt x="64628" y="95401"/>
                    </a:cubicBezTo>
                    <a:lnTo>
                      <a:pt x="78916" y="100163"/>
                    </a:lnTo>
                    <a:cubicBezTo>
                      <a:pt x="81297" y="98576"/>
                      <a:pt x="84542" y="97828"/>
                      <a:pt x="86059" y="95401"/>
                    </a:cubicBezTo>
                    <a:cubicBezTo>
                      <a:pt x="88720" y="91144"/>
                      <a:pt x="90822" y="81113"/>
                      <a:pt x="90822" y="81113"/>
                    </a:cubicBezTo>
                    <a:cubicBezTo>
                      <a:pt x="90644" y="80402"/>
                      <a:pt x="87319" y="66064"/>
                      <a:pt x="86059" y="64444"/>
                    </a:cubicBezTo>
                    <a:cubicBezTo>
                      <a:pt x="74815" y="49988"/>
                      <a:pt x="76366" y="51688"/>
                      <a:pt x="64628" y="47776"/>
                    </a:cubicBezTo>
                    <a:cubicBezTo>
                      <a:pt x="54671" y="41138"/>
                      <a:pt x="50192" y="39501"/>
                      <a:pt x="43197" y="31107"/>
                    </a:cubicBezTo>
                    <a:cubicBezTo>
                      <a:pt x="41365" y="28908"/>
                      <a:pt x="40022" y="26344"/>
                      <a:pt x="38434" y="23963"/>
                    </a:cubicBezTo>
                    <a:cubicBezTo>
                      <a:pt x="32919" y="7417"/>
                      <a:pt x="25734" y="1739"/>
                      <a:pt x="19384" y="15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0" name="Freeform 189"/>
              <p:cNvSpPr/>
              <p:nvPr/>
            </p:nvSpPr>
            <p:spPr>
              <a:xfrm>
                <a:off x="1184034" y="3398723"/>
                <a:ext cx="157289" cy="200025"/>
              </a:xfrm>
              <a:custGeom>
                <a:avLst/>
                <a:gdLst>
                  <a:gd name="connsiteX0" fmla="*/ 102521 w 157289"/>
                  <a:gd name="connsiteY0" fmla="*/ 38100 h 200025"/>
                  <a:gd name="connsiteX1" fmla="*/ 100139 w 157289"/>
                  <a:gd name="connsiteY1" fmla="*/ 23813 h 200025"/>
                  <a:gd name="connsiteX2" fmla="*/ 83471 w 157289"/>
                  <a:gd name="connsiteY2" fmla="*/ 7144 h 200025"/>
                  <a:gd name="connsiteX3" fmla="*/ 69183 w 157289"/>
                  <a:gd name="connsiteY3" fmla="*/ 0 h 200025"/>
                  <a:gd name="connsiteX4" fmla="*/ 23939 w 157289"/>
                  <a:gd name="connsiteY4" fmla="*/ 2382 h 200025"/>
                  <a:gd name="connsiteX5" fmla="*/ 16796 w 157289"/>
                  <a:gd name="connsiteY5" fmla="*/ 4763 h 200025"/>
                  <a:gd name="connsiteX6" fmla="*/ 2508 w 157289"/>
                  <a:gd name="connsiteY6" fmla="*/ 14288 h 200025"/>
                  <a:gd name="connsiteX7" fmla="*/ 2508 w 157289"/>
                  <a:gd name="connsiteY7" fmla="*/ 33338 h 200025"/>
                  <a:gd name="connsiteX8" fmla="*/ 4889 w 157289"/>
                  <a:gd name="connsiteY8" fmla="*/ 40482 h 200025"/>
                  <a:gd name="connsiteX9" fmla="*/ 12033 w 157289"/>
                  <a:gd name="connsiteY9" fmla="*/ 45244 h 200025"/>
                  <a:gd name="connsiteX10" fmla="*/ 26321 w 157289"/>
                  <a:gd name="connsiteY10" fmla="*/ 59532 h 200025"/>
                  <a:gd name="connsiteX11" fmla="*/ 31083 w 157289"/>
                  <a:gd name="connsiteY11" fmla="*/ 66675 h 200025"/>
                  <a:gd name="connsiteX12" fmla="*/ 45371 w 157289"/>
                  <a:gd name="connsiteY12" fmla="*/ 78582 h 200025"/>
                  <a:gd name="connsiteX13" fmla="*/ 59658 w 157289"/>
                  <a:gd name="connsiteY13" fmla="*/ 100013 h 200025"/>
                  <a:gd name="connsiteX14" fmla="*/ 64421 w 157289"/>
                  <a:gd name="connsiteY14" fmla="*/ 107157 h 200025"/>
                  <a:gd name="connsiteX15" fmla="*/ 71564 w 157289"/>
                  <a:gd name="connsiteY15" fmla="*/ 121444 h 200025"/>
                  <a:gd name="connsiteX16" fmla="*/ 81089 w 157289"/>
                  <a:gd name="connsiteY16" fmla="*/ 135732 h 200025"/>
                  <a:gd name="connsiteX17" fmla="*/ 97758 w 157289"/>
                  <a:gd name="connsiteY17" fmla="*/ 157163 h 200025"/>
                  <a:gd name="connsiteX18" fmla="*/ 107283 w 157289"/>
                  <a:gd name="connsiteY18" fmla="*/ 173832 h 200025"/>
                  <a:gd name="connsiteX19" fmla="*/ 116808 w 157289"/>
                  <a:gd name="connsiteY19" fmla="*/ 188119 h 200025"/>
                  <a:gd name="connsiteX20" fmla="*/ 138239 w 157289"/>
                  <a:gd name="connsiteY20" fmla="*/ 200025 h 200025"/>
                  <a:gd name="connsiteX21" fmla="*/ 147764 w 157289"/>
                  <a:gd name="connsiteY21" fmla="*/ 197644 h 200025"/>
                  <a:gd name="connsiteX22" fmla="*/ 150146 w 157289"/>
                  <a:gd name="connsiteY22" fmla="*/ 190500 h 200025"/>
                  <a:gd name="connsiteX23" fmla="*/ 154908 w 157289"/>
                  <a:gd name="connsiteY23" fmla="*/ 183357 h 200025"/>
                  <a:gd name="connsiteX24" fmla="*/ 157289 w 157289"/>
                  <a:gd name="connsiteY24" fmla="*/ 176213 h 200025"/>
                  <a:gd name="connsiteX25" fmla="*/ 152527 w 157289"/>
                  <a:gd name="connsiteY25" fmla="*/ 150019 h 200025"/>
                  <a:gd name="connsiteX26" fmla="*/ 150146 w 157289"/>
                  <a:gd name="connsiteY26" fmla="*/ 138113 h 200025"/>
                  <a:gd name="connsiteX27" fmla="*/ 145383 w 157289"/>
                  <a:gd name="connsiteY27" fmla="*/ 123825 h 200025"/>
                  <a:gd name="connsiteX28" fmla="*/ 143002 w 157289"/>
                  <a:gd name="connsiteY28" fmla="*/ 116682 h 200025"/>
                  <a:gd name="connsiteX29" fmla="*/ 128714 w 157289"/>
                  <a:gd name="connsiteY29" fmla="*/ 107157 h 200025"/>
                  <a:gd name="connsiteX30" fmla="*/ 121571 w 157289"/>
                  <a:gd name="connsiteY30" fmla="*/ 102394 h 200025"/>
                  <a:gd name="connsiteX31" fmla="*/ 112046 w 157289"/>
                  <a:gd name="connsiteY31" fmla="*/ 73819 h 200025"/>
                  <a:gd name="connsiteX32" fmla="*/ 109664 w 157289"/>
                  <a:gd name="connsiteY32" fmla="*/ 66675 h 200025"/>
                  <a:gd name="connsiteX33" fmla="*/ 104902 w 157289"/>
                  <a:gd name="connsiteY33" fmla="*/ 59532 h 200025"/>
                  <a:gd name="connsiteX34" fmla="*/ 100139 w 157289"/>
                  <a:gd name="connsiteY34" fmla="*/ 42863 h 200025"/>
                  <a:gd name="connsiteX35" fmla="*/ 102521 w 157289"/>
                  <a:gd name="connsiteY35" fmla="*/ 3810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7289" h="200025">
                    <a:moveTo>
                      <a:pt x="102521" y="38100"/>
                    </a:moveTo>
                    <a:cubicBezTo>
                      <a:pt x="102521" y="34925"/>
                      <a:pt x="101996" y="28270"/>
                      <a:pt x="100139" y="23813"/>
                    </a:cubicBezTo>
                    <a:cubicBezTo>
                      <a:pt x="91877" y="3986"/>
                      <a:pt x="94880" y="12848"/>
                      <a:pt x="83471" y="7144"/>
                    </a:cubicBezTo>
                    <a:cubicBezTo>
                      <a:pt x="65002" y="-2090"/>
                      <a:pt x="87144" y="5989"/>
                      <a:pt x="69183" y="0"/>
                    </a:cubicBezTo>
                    <a:cubicBezTo>
                      <a:pt x="54102" y="794"/>
                      <a:pt x="38979" y="1015"/>
                      <a:pt x="23939" y="2382"/>
                    </a:cubicBezTo>
                    <a:cubicBezTo>
                      <a:pt x="21440" y="2609"/>
                      <a:pt x="18990" y="3544"/>
                      <a:pt x="16796" y="4763"/>
                    </a:cubicBezTo>
                    <a:cubicBezTo>
                      <a:pt x="11792" y="7543"/>
                      <a:pt x="2508" y="14288"/>
                      <a:pt x="2508" y="14288"/>
                    </a:cubicBezTo>
                    <a:cubicBezTo>
                      <a:pt x="-898" y="24508"/>
                      <a:pt x="-776" y="20202"/>
                      <a:pt x="2508" y="33338"/>
                    </a:cubicBezTo>
                    <a:cubicBezTo>
                      <a:pt x="3117" y="35773"/>
                      <a:pt x="3321" y="38522"/>
                      <a:pt x="4889" y="40482"/>
                    </a:cubicBezTo>
                    <a:cubicBezTo>
                      <a:pt x="6677" y="42717"/>
                      <a:pt x="9894" y="43343"/>
                      <a:pt x="12033" y="45244"/>
                    </a:cubicBezTo>
                    <a:cubicBezTo>
                      <a:pt x="17067" y="49719"/>
                      <a:pt x="22585" y="53928"/>
                      <a:pt x="26321" y="59532"/>
                    </a:cubicBezTo>
                    <a:cubicBezTo>
                      <a:pt x="27908" y="61913"/>
                      <a:pt x="29060" y="64652"/>
                      <a:pt x="31083" y="66675"/>
                    </a:cubicBezTo>
                    <a:cubicBezTo>
                      <a:pt x="44841" y="80433"/>
                      <a:pt x="31718" y="61028"/>
                      <a:pt x="45371" y="78582"/>
                    </a:cubicBezTo>
                    <a:cubicBezTo>
                      <a:pt x="45388" y="78604"/>
                      <a:pt x="57269" y="96430"/>
                      <a:pt x="59658" y="100013"/>
                    </a:cubicBezTo>
                    <a:lnTo>
                      <a:pt x="64421" y="107157"/>
                    </a:lnTo>
                    <a:cubicBezTo>
                      <a:pt x="70404" y="125107"/>
                      <a:pt x="62334" y="102984"/>
                      <a:pt x="71564" y="121444"/>
                    </a:cubicBezTo>
                    <a:cubicBezTo>
                      <a:pt x="78456" y="135228"/>
                      <a:pt x="67550" y="122191"/>
                      <a:pt x="81089" y="135732"/>
                    </a:cubicBezTo>
                    <a:cubicBezTo>
                      <a:pt x="87598" y="155250"/>
                      <a:pt x="76340" y="125038"/>
                      <a:pt x="97758" y="157163"/>
                    </a:cubicBezTo>
                    <a:cubicBezTo>
                      <a:pt x="114231" y="181871"/>
                      <a:pt x="89160" y="143627"/>
                      <a:pt x="107283" y="173832"/>
                    </a:cubicBezTo>
                    <a:cubicBezTo>
                      <a:pt x="110228" y="178740"/>
                      <a:pt x="112046" y="184944"/>
                      <a:pt x="116808" y="188119"/>
                    </a:cubicBezTo>
                    <a:cubicBezTo>
                      <a:pt x="133184" y="199036"/>
                      <a:pt x="125666" y="195834"/>
                      <a:pt x="138239" y="200025"/>
                    </a:cubicBezTo>
                    <a:cubicBezTo>
                      <a:pt x="141414" y="199231"/>
                      <a:pt x="145208" y="199688"/>
                      <a:pt x="147764" y="197644"/>
                    </a:cubicBezTo>
                    <a:cubicBezTo>
                      <a:pt x="149724" y="196076"/>
                      <a:pt x="149023" y="192745"/>
                      <a:pt x="150146" y="190500"/>
                    </a:cubicBezTo>
                    <a:cubicBezTo>
                      <a:pt x="151426" y="187941"/>
                      <a:pt x="153321" y="185738"/>
                      <a:pt x="154908" y="183357"/>
                    </a:cubicBezTo>
                    <a:cubicBezTo>
                      <a:pt x="155702" y="180976"/>
                      <a:pt x="157289" y="178723"/>
                      <a:pt x="157289" y="176213"/>
                    </a:cubicBezTo>
                    <a:cubicBezTo>
                      <a:pt x="157289" y="154214"/>
                      <a:pt x="155875" y="163414"/>
                      <a:pt x="152527" y="150019"/>
                    </a:cubicBezTo>
                    <a:cubicBezTo>
                      <a:pt x="151545" y="146093"/>
                      <a:pt x="151211" y="142018"/>
                      <a:pt x="150146" y="138113"/>
                    </a:cubicBezTo>
                    <a:cubicBezTo>
                      <a:pt x="148825" y="133270"/>
                      <a:pt x="146971" y="128588"/>
                      <a:pt x="145383" y="123825"/>
                    </a:cubicBezTo>
                    <a:cubicBezTo>
                      <a:pt x="144589" y="121444"/>
                      <a:pt x="145090" y="118074"/>
                      <a:pt x="143002" y="116682"/>
                    </a:cubicBezTo>
                    <a:lnTo>
                      <a:pt x="128714" y="107157"/>
                    </a:lnTo>
                    <a:lnTo>
                      <a:pt x="121571" y="102394"/>
                    </a:lnTo>
                    <a:lnTo>
                      <a:pt x="112046" y="73819"/>
                    </a:lnTo>
                    <a:cubicBezTo>
                      <a:pt x="111252" y="71438"/>
                      <a:pt x="111056" y="68764"/>
                      <a:pt x="109664" y="66675"/>
                    </a:cubicBezTo>
                    <a:lnTo>
                      <a:pt x="104902" y="59532"/>
                    </a:lnTo>
                    <a:cubicBezTo>
                      <a:pt x="99193" y="42403"/>
                      <a:pt x="106120" y="63794"/>
                      <a:pt x="100139" y="42863"/>
                    </a:cubicBezTo>
                    <a:cubicBezTo>
                      <a:pt x="99449" y="40449"/>
                      <a:pt x="102521" y="41275"/>
                      <a:pt x="102521" y="381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1" name="Freeform 190"/>
              <p:cNvSpPr/>
              <p:nvPr/>
            </p:nvSpPr>
            <p:spPr>
              <a:xfrm>
                <a:off x="1417523" y="3643973"/>
                <a:ext cx="69297" cy="71457"/>
              </a:xfrm>
              <a:custGeom>
                <a:avLst/>
                <a:gdLst>
                  <a:gd name="connsiteX0" fmla="*/ 40482 w 69297"/>
                  <a:gd name="connsiteY0" fmla="*/ 4782 h 71457"/>
                  <a:gd name="connsiteX1" fmla="*/ 7144 w 69297"/>
                  <a:gd name="connsiteY1" fmla="*/ 2400 h 71457"/>
                  <a:gd name="connsiteX2" fmla="*/ 0 w 69297"/>
                  <a:gd name="connsiteY2" fmla="*/ 16688 h 71457"/>
                  <a:gd name="connsiteX3" fmla="*/ 4763 w 69297"/>
                  <a:gd name="connsiteY3" fmla="*/ 45263 h 71457"/>
                  <a:gd name="connsiteX4" fmla="*/ 9525 w 69297"/>
                  <a:gd name="connsiteY4" fmla="*/ 52407 h 71457"/>
                  <a:gd name="connsiteX5" fmla="*/ 16669 w 69297"/>
                  <a:gd name="connsiteY5" fmla="*/ 59550 h 71457"/>
                  <a:gd name="connsiteX6" fmla="*/ 23813 w 69297"/>
                  <a:gd name="connsiteY6" fmla="*/ 64313 h 71457"/>
                  <a:gd name="connsiteX7" fmla="*/ 59532 w 69297"/>
                  <a:gd name="connsiteY7" fmla="*/ 71457 h 71457"/>
                  <a:gd name="connsiteX8" fmla="*/ 69057 w 69297"/>
                  <a:gd name="connsiteY8" fmla="*/ 50025 h 71457"/>
                  <a:gd name="connsiteX9" fmla="*/ 59532 w 69297"/>
                  <a:gd name="connsiteY9" fmla="*/ 23832 h 71457"/>
                  <a:gd name="connsiteX10" fmla="*/ 52388 w 69297"/>
                  <a:gd name="connsiteY10" fmla="*/ 21450 h 71457"/>
                  <a:gd name="connsiteX11" fmla="*/ 42863 w 69297"/>
                  <a:gd name="connsiteY11" fmla="*/ 14307 h 71457"/>
                  <a:gd name="connsiteX12" fmla="*/ 35719 w 69297"/>
                  <a:gd name="connsiteY12" fmla="*/ 7163 h 71457"/>
                  <a:gd name="connsiteX13" fmla="*/ 40482 w 69297"/>
                  <a:gd name="connsiteY13" fmla="*/ 4782 h 7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297" h="71457">
                    <a:moveTo>
                      <a:pt x="40482" y="4782"/>
                    </a:moveTo>
                    <a:cubicBezTo>
                      <a:pt x="35720" y="3988"/>
                      <a:pt x="24331" y="-3850"/>
                      <a:pt x="7144" y="2400"/>
                    </a:cubicBezTo>
                    <a:cubicBezTo>
                      <a:pt x="3644" y="3673"/>
                      <a:pt x="959" y="13811"/>
                      <a:pt x="0" y="16688"/>
                    </a:cubicBezTo>
                    <a:cubicBezTo>
                      <a:pt x="525" y="20885"/>
                      <a:pt x="1987" y="38786"/>
                      <a:pt x="4763" y="45263"/>
                    </a:cubicBezTo>
                    <a:cubicBezTo>
                      <a:pt x="5890" y="47894"/>
                      <a:pt x="7693" y="50208"/>
                      <a:pt x="9525" y="52407"/>
                    </a:cubicBezTo>
                    <a:cubicBezTo>
                      <a:pt x="11681" y="54994"/>
                      <a:pt x="14082" y="57394"/>
                      <a:pt x="16669" y="59550"/>
                    </a:cubicBezTo>
                    <a:cubicBezTo>
                      <a:pt x="18868" y="61382"/>
                      <a:pt x="21198" y="63151"/>
                      <a:pt x="23813" y="64313"/>
                    </a:cubicBezTo>
                    <a:cubicBezTo>
                      <a:pt x="37881" y="70566"/>
                      <a:pt x="43188" y="69641"/>
                      <a:pt x="59532" y="71457"/>
                    </a:cubicBezTo>
                    <a:cubicBezTo>
                      <a:pt x="71689" y="67403"/>
                      <a:pt x="69057" y="70667"/>
                      <a:pt x="69057" y="50025"/>
                    </a:cubicBezTo>
                    <a:cubicBezTo>
                      <a:pt x="69057" y="36892"/>
                      <a:pt x="69727" y="30629"/>
                      <a:pt x="59532" y="23832"/>
                    </a:cubicBezTo>
                    <a:cubicBezTo>
                      <a:pt x="57443" y="22440"/>
                      <a:pt x="54769" y="22244"/>
                      <a:pt x="52388" y="21450"/>
                    </a:cubicBezTo>
                    <a:cubicBezTo>
                      <a:pt x="49213" y="19069"/>
                      <a:pt x="45876" y="16890"/>
                      <a:pt x="42863" y="14307"/>
                    </a:cubicBezTo>
                    <a:cubicBezTo>
                      <a:pt x="40306" y="12115"/>
                      <a:pt x="38306" y="9319"/>
                      <a:pt x="35719" y="7163"/>
                    </a:cubicBezTo>
                    <a:cubicBezTo>
                      <a:pt x="31408" y="3570"/>
                      <a:pt x="45244" y="5576"/>
                      <a:pt x="40482" y="478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2" name="Freeform 191"/>
              <p:cNvSpPr/>
              <p:nvPr/>
            </p:nvSpPr>
            <p:spPr>
              <a:xfrm>
                <a:off x="1510392" y="3755231"/>
                <a:ext cx="78581" cy="93549"/>
              </a:xfrm>
              <a:custGeom>
                <a:avLst/>
                <a:gdLst>
                  <a:gd name="connsiteX0" fmla="*/ 40481 w 78581"/>
                  <a:gd name="connsiteY0" fmla="*/ 3061 h 93549"/>
                  <a:gd name="connsiteX1" fmla="*/ 2381 w 78581"/>
                  <a:gd name="connsiteY1" fmla="*/ 3061 h 93549"/>
                  <a:gd name="connsiteX2" fmla="*/ 0 w 78581"/>
                  <a:gd name="connsiteY2" fmla="*/ 10205 h 93549"/>
                  <a:gd name="connsiteX3" fmla="*/ 7144 w 78581"/>
                  <a:gd name="connsiteY3" fmla="*/ 31636 h 93549"/>
                  <a:gd name="connsiteX4" fmla="*/ 11906 w 78581"/>
                  <a:gd name="connsiteY4" fmla="*/ 45924 h 93549"/>
                  <a:gd name="connsiteX5" fmla="*/ 16669 w 78581"/>
                  <a:gd name="connsiteY5" fmla="*/ 72117 h 93549"/>
                  <a:gd name="connsiteX6" fmla="*/ 21431 w 78581"/>
                  <a:gd name="connsiteY6" fmla="*/ 86405 h 93549"/>
                  <a:gd name="connsiteX7" fmla="*/ 26194 w 78581"/>
                  <a:gd name="connsiteY7" fmla="*/ 93549 h 93549"/>
                  <a:gd name="connsiteX8" fmla="*/ 66675 w 78581"/>
                  <a:gd name="connsiteY8" fmla="*/ 84024 h 93549"/>
                  <a:gd name="connsiteX9" fmla="*/ 76200 w 78581"/>
                  <a:gd name="connsiteY9" fmla="*/ 62592 h 93549"/>
                  <a:gd name="connsiteX10" fmla="*/ 78581 w 78581"/>
                  <a:gd name="connsiteY10" fmla="*/ 53067 h 93549"/>
                  <a:gd name="connsiteX11" fmla="*/ 66675 w 78581"/>
                  <a:gd name="connsiteY11" fmla="*/ 31636 h 93549"/>
                  <a:gd name="connsiteX12" fmla="*/ 52388 w 78581"/>
                  <a:gd name="connsiteY12" fmla="*/ 17349 h 93549"/>
                  <a:gd name="connsiteX13" fmla="*/ 40481 w 78581"/>
                  <a:gd name="connsiteY13" fmla="*/ 3061 h 9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581" h="93549">
                    <a:moveTo>
                      <a:pt x="40481" y="3061"/>
                    </a:moveTo>
                    <a:cubicBezTo>
                      <a:pt x="32147" y="680"/>
                      <a:pt x="18866" y="-2434"/>
                      <a:pt x="2381" y="3061"/>
                    </a:cubicBezTo>
                    <a:cubicBezTo>
                      <a:pt x="0" y="3855"/>
                      <a:pt x="794" y="7824"/>
                      <a:pt x="0" y="10205"/>
                    </a:cubicBezTo>
                    <a:cubicBezTo>
                      <a:pt x="5362" y="42382"/>
                      <a:pt x="-1786" y="11543"/>
                      <a:pt x="7144" y="31636"/>
                    </a:cubicBezTo>
                    <a:cubicBezTo>
                      <a:pt x="9183" y="36224"/>
                      <a:pt x="11906" y="45924"/>
                      <a:pt x="11906" y="45924"/>
                    </a:cubicBezTo>
                    <a:cubicBezTo>
                      <a:pt x="13583" y="57661"/>
                      <a:pt x="13608" y="61912"/>
                      <a:pt x="16669" y="72117"/>
                    </a:cubicBezTo>
                    <a:cubicBezTo>
                      <a:pt x="18111" y="76926"/>
                      <a:pt x="18646" y="82228"/>
                      <a:pt x="21431" y="86405"/>
                    </a:cubicBezTo>
                    <a:lnTo>
                      <a:pt x="26194" y="93549"/>
                    </a:lnTo>
                    <a:cubicBezTo>
                      <a:pt x="62364" y="88381"/>
                      <a:pt x="50191" y="95012"/>
                      <a:pt x="66675" y="84024"/>
                    </a:cubicBezTo>
                    <a:cubicBezTo>
                      <a:pt x="72343" y="67021"/>
                      <a:pt x="68653" y="73913"/>
                      <a:pt x="76200" y="62592"/>
                    </a:cubicBezTo>
                    <a:cubicBezTo>
                      <a:pt x="76994" y="59417"/>
                      <a:pt x="78581" y="56340"/>
                      <a:pt x="78581" y="53067"/>
                    </a:cubicBezTo>
                    <a:cubicBezTo>
                      <a:pt x="78581" y="47079"/>
                      <a:pt x="68034" y="32995"/>
                      <a:pt x="66675" y="31636"/>
                    </a:cubicBezTo>
                    <a:cubicBezTo>
                      <a:pt x="61913" y="26874"/>
                      <a:pt x="57992" y="21085"/>
                      <a:pt x="52388" y="17349"/>
                    </a:cubicBezTo>
                    <a:cubicBezTo>
                      <a:pt x="43376" y="11341"/>
                      <a:pt x="48815" y="5442"/>
                      <a:pt x="40481" y="306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3" name="Freeform 192"/>
              <p:cNvSpPr/>
              <p:nvPr/>
            </p:nvSpPr>
            <p:spPr>
              <a:xfrm>
                <a:off x="1577067" y="3827348"/>
                <a:ext cx="91297" cy="100013"/>
              </a:xfrm>
              <a:custGeom>
                <a:avLst/>
                <a:gdLst>
                  <a:gd name="connsiteX0" fmla="*/ 2381 w 91297"/>
                  <a:gd name="connsiteY0" fmla="*/ 14288 h 100013"/>
                  <a:gd name="connsiteX1" fmla="*/ 0 w 91297"/>
                  <a:gd name="connsiteY1" fmla="*/ 26194 h 100013"/>
                  <a:gd name="connsiteX2" fmla="*/ 4763 w 91297"/>
                  <a:gd name="connsiteY2" fmla="*/ 52388 h 100013"/>
                  <a:gd name="connsiteX3" fmla="*/ 11906 w 91297"/>
                  <a:gd name="connsiteY3" fmla="*/ 66675 h 100013"/>
                  <a:gd name="connsiteX4" fmla="*/ 26194 w 91297"/>
                  <a:gd name="connsiteY4" fmla="*/ 76200 h 100013"/>
                  <a:gd name="connsiteX5" fmla="*/ 33338 w 91297"/>
                  <a:gd name="connsiteY5" fmla="*/ 80963 h 100013"/>
                  <a:gd name="connsiteX6" fmla="*/ 47625 w 91297"/>
                  <a:gd name="connsiteY6" fmla="*/ 85725 h 100013"/>
                  <a:gd name="connsiteX7" fmla="*/ 61913 w 91297"/>
                  <a:gd name="connsiteY7" fmla="*/ 92869 h 100013"/>
                  <a:gd name="connsiteX8" fmla="*/ 76200 w 91297"/>
                  <a:gd name="connsiteY8" fmla="*/ 100013 h 100013"/>
                  <a:gd name="connsiteX9" fmla="*/ 90488 w 91297"/>
                  <a:gd name="connsiteY9" fmla="*/ 97632 h 100013"/>
                  <a:gd name="connsiteX10" fmla="*/ 88106 w 91297"/>
                  <a:gd name="connsiteY10" fmla="*/ 88107 h 100013"/>
                  <a:gd name="connsiteX11" fmla="*/ 78581 w 91297"/>
                  <a:gd name="connsiteY11" fmla="*/ 73819 h 100013"/>
                  <a:gd name="connsiteX12" fmla="*/ 69056 w 91297"/>
                  <a:gd name="connsiteY12" fmla="*/ 59532 h 100013"/>
                  <a:gd name="connsiteX13" fmla="*/ 64294 w 91297"/>
                  <a:gd name="connsiteY13" fmla="*/ 52388 h 100013"/>
                  <a:gd name="connsiteX14" fmla="*/ 59531 w 91297"/>
                  <a:gd name="connsiteY14" fmla="*/ 45244 h 100013"/>
                  <a:gd name="connsiteX15" fmla="*/ 45244 w 91297"/>
                  <a:gd name="connsiteY15" fmla="*/ 16669 h 100013"/>
                  <a:gd name="connsiteX16" fmla="*/ 33338 w 91297"/>
                  <a:gd name="connsiteY16" fmla="*/ 2382 h 100013"/>
                  <a:gd name="connsiteX17" fmla="*/ 26194 w 91297"/>
                  <a:gd name="connsiteY17" fmla="*/ 0 h 100013"/>
                  <a:gd name="connsiteX18" fmla="*/ 2381 w 91297"/>
                  <a:gd name="connsiteY18" fmla="*/ 14288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297" h="100013">
                    <a:moveTo>
                      <a:pt x="2381" y="14288"/>
                    </a:moveTo>
                    <a:cubicBezTo>
                      <a:pt x="1587" y="18257"/>
                      <a:pt x="0" y="22147"/>
                      <a:pt x="0" y="26194"/>
                    </a:cubicBezTo>
                    <a:cubicBezTo>
                      <a:pt x="0" y="32946"/>
                      <a:pt x="2678" y="45089"/>
                      <a:pt x="4763" y="52388"/>
                    </a:cubicBezTo>
                    <a:cubicBezTo>
                      <a:pt x="6138" y="57201"/>
                      <a:pt x="7930" y="63196"/>
                      <a:pt x="11906" y="66675"/>
                    </a:cubicBezTo>
                    <a:cubicBezTo>
                      <a:pt x="16214" y="70444"/>
                      <a:pt x="21431" y="73025"/>
                      <a:pt x="26194" y="76200"/>
                    </a:cubicBezTo>
                    <a:cubicBezTo>
                      <a:pt x="28575" y="77788"/>
                      <a:pt x="30623" y="80058"/>
                      <a:pt x="33338" y="80963"/>
                    </a:cubicBezTo>
                    <a:lnTo>
                      <a:pt x="47625" y="85725"/>
                    </a:lnTo>
                    <a:cubicBezTo>
                      <a:pt x="68104" y="99379"/>
                      <a:pt x="42190" y="83007"/>
                      <a:pt x="61913" y="92869"/>
                    </a:cubicBezTo>
                    <a:cubicBezTo>
                      <a:pt x="80377" y="102102"/>
                      <a:pt x="58243" y="94028"/>
                      <a:pt x="76200" y="100013"/>
                    </a:cubicBezTo>
                    <a:cubicBezTo>
                      <a:pt x="80963" y="99219"/>
                      <a:pt x="87074" y="101046"/>
                      <a:pt x="90488" y="97632"/>
                    </a:cubicBezTo>
                    <a:cubicBezTo>
                      <a:pt x="92802" y="95318"/>
                      <a:pt x="89570" y="91034"/>
                      <a:pt x="88106" y="88107"/>
                    </a:cubicBezTo>
                    <a:cubicBezTo>
                      <a:pt x="85546" y="82987"/>
                      <a:pt x="81756" y="78582"/>
                      <a:pt x="78581" y="73819"/>
                    </a:cubicBezTo>
                    <a:lnTo>
                      <a:pt x="69056" y="59532"/>
                    </a:lnTo>
                    <a:lnTo>
                      <a:pt x="64294" y="52388"/>
                    </a:lnTo>
                    <a:lnTo>
                      <a:pt x="59531" y="45244"/>
                    </a:lnTo>
                    <a:cubicBezTo>
                      <a:pt x="52959" y="25528"/>
                      <a:pt x="57553" y="35133"/>
                      <a:pt x="45244" y="16669"/>
                    </a:cubicBezTo>
                    <a:cubicBezTo>
                      <a:pt x="41730" y="11399"/>
                      <a:pt x="38837" y="6048"/>
                      <a:pt x="33338" y="2382"/>
                    </a:cubicBezTo>
                    <a:cubicBezTo>
                      <a:pt x="31249" y="990"/>
                      <a:pt x="28575" y="794"/>
                      <a:pt x="26194" y="0"/>
                    </a:cubicBezTo>
                    <a:lnTo>
                      <a:pt x="2381" y="14288"/>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4" name="Freeform 193"/>
              <p:cNvSpPr/>
              <p:nvPr/>
            </p:nvSpPr>
            <p:spPr>
              <a:xfrm>
                <a:off x="2048555" y="4444092"/>
                <a:ext cx="101179" cy="71438"/>
              </a:xfrm>
              <a:custGeom>
                <a:avLst/>
                <a:gdLst>
                  <a:gd name="connsiteX0" fmla="*/ 52387 w 101179"/>
                  <a:gd name="connsiteY0" fmla="*/ 2381 h 71438"/>
                  <a:gd name="connsiteX1" fmla="*/ 40481 w 101179"/>
                  <a:gd name="connsiteY1" fmla="*/ 0 h 71438"/>
                  <a:gd name="connsiteX2" fmla="*/ 23812 w 101179"/>
                  <a:gd name="connsiteY2" fmla="*/ 2381 h 71438"/>
                  <a:gd name="connsiteX3" fmla="*/ 2381 w 101179"/>
                  <a:gd name="connsiteY3" fmla="*/ 7144 h 71438"/>
                  <a:gd name="connsiteX4" fmla="*/ 0 w 101179"/>
                  <a:gd name="connsiteY4" fmla="*/ 14288 h 71438"/>
                  <a:gd name="connsiteX5" fmla="*/ 9525 w 101179"/>
                  <a:gd name="connsiteY5" fmla="*/ 28575 h 71438"/>
                  <a:gd name="connsiteX6" fmla="*/ 16668 w 101179"/>
                  <a:gd name="connsiteY6" fmla="*/ 35719 h 71438"/>
                  <a:gd name="connsiteX7" fmla="*/ 26193 w 101179"/>
                  <a:gd name="connsiteY7" fmla="*/ 57150 h 71438"/>
                  <a:gd name="connsiteX8" fmla="*/ 40481 w 101179"/>
                  <a:gd name="connsiteY8" fmla="*/ 64294 h 71438"/>
                  <a:gd name="connsiteX9" fmla="*/ 54768 w 101179"/>
                  <a:gd name="connsiteY9" fmla="*/ 71438 h 71438"/>
                  <a:gd name="connsiteX10" fmla="*/ 100012 w 101179"/>
                  <a:gd name="connsiteY10" fmla="*/ 69056 h 71438"/>
                  <a:gd name="connsiteX11" fmla="*/ 97631 w 101179"/>
                  <a:gd name="connsiteY11" fmla="*/ 59531 h 71438"/>
                  <a:gd name="connsiteX12" fmla="*/ 88106 w 101179"/>
                  <a:gd name="connsiteY12" fmla="*/ 45244 h 71438"/>
                  <a:gd name="connsiteX13" fmla="*/ 83343 w 101179"/>
                  <a:gd name="connsiteY13" fmla="*/ 38100 h 71438"/>
                  <a:gd name="connsiteX14" fmla="*/ 78581 w 101179"/>
                  <a:gd name="connsiteY14" fmla="*/ 30956 h 71438"/>
                  <a:gd name="connsiteX15" fmla="*/ 71437 w 101179"/>
                  <a:gd name="connsiteY15" fmla="*/ 26194 h 71438"/>
                  <a:gd name="connsiteX16" fmla="*/ 59531 w 101179"/>
                  <a:gd name="connsiteY16" fmla="*/ 11906 h 71438"/>
                  <a:gd name="connsiteX17" fmla="*/ 52387 w 101179"/>
                  <a:gd name="connsiteY17" fmla="*/ 2381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179" h="71438">
                    <a:moveTo>
                      <a:pt x="52387" y="2381"/>
                    </a:moveTo>
                    <a:cubicBezTo>
                      <a:pt x="49212" y="397"/>
                      <a:pt x="44528" y="0"/>
                      <a:pt x="40481" y="0"/>
                    </a:cubicBezTo>
                    <a:cubicBezTo>
                      <a:pt x="34868" y="0"/>
                      <a:pt x="29359" y="1527"/>
                      <a:pt x="23812" y="2381"/>
                    </a:cubicBezTo>
                    <a:cubicBezTo>
                      <a:pt x="8251" y="4775"/>
                      <a:pt x="13481" y="3445"/>
                      <a:pt x="2381" y="7144"/>
                    </a:cubicBezTo>
                    <a:cubicBezTo>
                      <a:pt x="1587" y="9525"/>
                      <a:pt x="0" y="11778"/>
                      <a:pt x="0" y="14288"/>
                    </a:cubicBezTo>
                    <a:cubicBezTo>
                      <a:pt x="0" y="25909"/>
                      <a:pt x="2347" y="22593"/>
                      <a:pt x="9525" y="28575"/>
                    </a:cubicBezTo>
                    <a:cubicBezTo>
                      <a:pt x="12112" y="30731"/>
                      <a:pt x="14287" y="33338"/>
                      <a:pt x="16668" y="35719"/>
                    </a:cubicBezTo>
                    <a:cubicBezTo>
                      <a:pt x="19025" y="42790"/>
                      <a:pt x="20534" y="51491"/>
                      <a:pt x="26193" y="57150"/>
                    </a:cubicBezTo>
                    <a:cubicBezTo>
                      <a:pt x="33017" y="63975"/>
                      <a:pt x="32734" y="60421"/>
                      <a:pt x="40481" y="64294"/>
                    </a:cubicBezTo>
                    <a:cubicBezTo>
                      <a:pt x="58956" y="73530"/>
                      <a:pt x="36804" y="65448"/>
                      <a:pt x="54768" y="71438"/>
                    </a:cubicBezTo>
                    <a:lnTo>
                      <a:pt x="100012" y="69056"/>
                    </a:lnTo>
                    <a:cubicBezTo>
                      <a:pt x="103165" y="68180"/>
                      <a:pt x="99095" y="62458"/>
                      <a:pt x="97631" y="59531"/>
                    </a:cubicBezTo>
                    <a:cubicBezTo>
                      <a:pt x="95071" y="54412"/>
                      <a:pt x="91281" y="50006"/>
                      <a:pt x="88106" y="45244"/>
                    </a:cubicBezTo>
                    <a:lnTo>
                      <a:pt x="83343" y="38100"/>
                    </a:lnTo>
                    <a:cubicBezTo>
                      <a:pt x="81756" y="35719"/>
                      <a:pt x="80962" y="32543"/>
                      <a:pt x="78581" y="30956"/>
                    </a:cubicBezTo>
                    <a:lnTo>
                      <a:pt x="71437" y="26194"/>
                    </a:lnTo>
                    <a:cubicBezTo>
                      <a:pt x="66755" y="19169"/>
                      <a:pt x="66407" y="17636"/>
                      <a:pt x="59531" y="11906"/>
                    </a:cubicBezTo>
                    <a:cubicBezTo>
                      <a:pt x="53288" y="6704"/>
                      <a:pt x="55562" y="4365"/>
                      <a:pt x="52387" y="238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5" name="Freeform 194"/>
              <p:cNvSpPr/>
              <p:nvPr/>
            </p:nvSpPr>
            <p:spPr>
              <a:xfrm>
                <a:off x="2824428" y="3498736"/>
                <a:ext cx="405250" cy="402431"/>
              </a:xfrm>
              <a:custGeom>
                <a:avLst/>
                <a:gdLst>
                  <a:gd name="connsiteX0" fmla="*/ 88520 w 405250"/>
                  <a:gd name="connsiteY0" fmla="*/ 30956 h 402431"/>
                  <a:gd name="connsiteX1" fmla="*/ 74233 w 405250"/>
                  <a:gd name="connsiteY1" fmla="*/ 33337 h 402431"/>
                  <a:gd name="connsiteX2" fmla="*/ 59945 w 405250"/>
                  <a:gd name="connsiteY2" fmla="*/ 38100 h 402431"/>
                  <a:gd name="connsiteX3" fmla="*/ 52802 w 405250"/>
                  <a:gd name="connsiteY3" fmla="*/ 59531 h 402431"/>
                  <a:gd name="connsiteX4" fmla="*/ 36133 w 405250"/>
                  <a:gd name="connsiteY4" fmla="*/ 80962 h 402431"/>
                  <a:gd name="connsiteX5" fmla="*/ 28989 w 405250"/>
                  <a:gd name="connsiteY5" fmla="*/ 85725 h 402431"/>
                  <a:gd name="connsiteX6" fmla="*/ 21845 w 405250"/>
                  <a:gd name="connsiteY6" fmla="*/ 92869 h 402431"/>
                  <a:gd name="connsiteX7" fmla="*/ 7558 w 405250"/>
                  <a:gd name="connsiteY7" fmla="*/ 100012 h 402431"/>
                  <a:gd name="connsiteX8" fmla="*/ 414 w 405250"/>
                  <a:gd name="connsiteY8" fmla="*/ 104775 h 402431"/>
                  <a:gd name="connsiteX9" fmla="*/ 2795 w 405250"/>
                  <a:gd name="connsiteY9" fmla="*/ 140494 h 402431"/>
                  <a:gd name="connsiteX10" fmla="*/ 5177 w 405250"/>
                  <a:gd name="connsiteY10" fmla="*/ 147637 h 402431"/>
                  <a:gd name="connsiteX11" fmla="*/ 17083 w 405250"/>
                  <a:gd name="connsiteY11" fmla="*/ 159544 h 402431"/>
                  <a:gd name="connsiteX12" fmla="*/ 76614 w 405250"/>
                  <a:gd name="connsiteY12" fmla="*/ 166687 h 402431"/>
                  <a:gd name="connsiteX13" fmla="*/ 112333 w 405250"/>
                  <a:gd name="connsiteY13" fmla="*/ 169069 h 402431"/>
                  <a:gd name="connsiteX14" fmla="*/ 126620 w 405250"/>
                  <a:gd name="connsiteY14" fmla="*/ 171450 h 402431"/>
                  <a:gd name="connsiteX15" fmla="*/ 140908 w 405250"/>
                  <a:gd name="connsiteY15" fmla="*/ 176212 h 402431"/>
                  <a:gd name="connsiteX16" fmla="*/ 152814 w 405250"/>
                  <a:gd name="connsiteY16" fmla="*/ 188119 h 402431"/>
                  <a:gd name="connsiteX17" fmla="*/ 167102 w 405250"/>
                  <a:gd name="connsiteY17" fmla="*/ 202406 h 402431"/>
                  <a:gd name="connsiteX18" fmla="*/ 171864 w 405250"/>
                  <a:gd name="connsiteY18" fmla="*/ 216694 h 402431"/>
                  <a:gd name="connsiteX19" fmla="*/ 174245 w 405250"/>
                  <a:gd name="connsiteY19" fmla="*/ 238125 h 402431"/>
                  <a:gd name="connsiteX20" fmla="*/ 188533 w 405250"/>
                  <a:gd name="connsiteY20" fmla="*/ 242887 h 402431"/>
                  <a:gd name="connsiteX21" fmla="*/ 193295 w 405250"/>
                  <a:gd name="connsiteY21" fmla="*/ 250031 h 402431"/>
                  <a:gd name="connsiteX22" fmla="*/ 193295 w 405250"/>
                  <a:gd name="connsiteY22" fmla="*/ 304800 h 402431"/>
                  <a:gd name="connsiteX23" fmla="*/ 209964 w 405250"/>
                  <a:gd name="connsiteY23" fmla="*/ 326231 h 402431"/>
                  <a:gd name="connsiteX24" fmla="*/ 214727 w 405250"/>
                  <a:gd name="connsiteY24" fmla="*/ 333375 h 402431"/>
                  <a:gd name="connsiteX25" fmla="*/ 217108 w 405250"/>
                  <a:gd name="connsiteY25" fmla="*/ 340519 h 402431"/>
                  <a:gd name="connsiteX26" fmla="*/ 224252 w 405250"/>
                  <a:gd name="connsiteY26" fmla="*/ 345281 h 402431"/>
                  <a:gd name="connsiteX27" fmla="*/ 257589 w 405250"/>
                  <a:gd name="connsiteY27" fmla="*/ 354806 h 402431"/>
                  <a:gd name="connsiteX28" fmla="*/ 267114 w 405250"/>
                  <a:gd name="connsiteY28" fmla="*/ 357187 h 402431"/>
                  <a:gd name="connsiteX29" fmla="*/ 276639 w 405250"/>
                  <a:gd name="connsiteY29" fmla="*/ 359569 h 402431"/>
                  <a:gd name="connsiteX30" fmla="*/ 283783 w 405250"/>
                  <a:gd name="connsiteY30" fmla="*/ 364331 h 402431"/>
                  <a:gd name="connsiteX31" fmla="*/ 298070 w 405250"/>
                  <a:gd name="connsiteY31" fmla="*/ 369094 h 402431"/>
                  <a:gd name="connsiteX32" fmla="*/ 319502 w 405250"/>
                  <a:gd name="connsiteY32" fmla="*/ 381000 h 402431"/>
                  <a:gd name="connsiteX33" fmla="*/ 326645 w 405250"/>
                  <a:gd name="connsiteY33" fmla="*/ 383381 h 402431"/>
                  <a:gd name="connsiteX34" fmla="*/ 333789 w 405250"/>
                  <a:gd name="connsiteY34" fmla="*/ 388144 h 402431"/>
                  <a:gd name="connsiteX35" fmla="*/ 352839 w 405250"/>
                  <a:gd name="connsiteY35" fmla="*/ 392906 h 402431"/>
                  <a:gd name="connsiteX36" fmla="*/ 359983 w 405250"/>
                  <a:gd name="connsiteY36" fmla="*/ 397669 h 402431"/>
                  <a:gd name="connsiteX37" fmla="*/ 383795 w 405250"/>
                  <a:gd name="connsiteY37" fmla="*/ 402431 h 402431"/>
                  <a:gd name="connsiteX38" fmla="*/ 402845 w 405250"/>
                  <a:gd name="connsiteY38" fmla="*/ 400050 h 402431"/>
                  <a:gd name="connsiteX39" fmla="*/ 402845 w 405250"/>
                  <a:gd name="connsiteY39" fmla="*/ 381000 h 402431"/>
                  <a:gd name="connsiteX40" fmla="*/ 395702 w 405250"/>
                  <a:gd name="connsiteY40" fmla="*/ 378619 h 402431"/>
                  <a:gd name="connsiteX41" fmla="*/ 388558 w 405250"/>
                  <a:gd name="connsiteY41" fmla="*/ 373856 h 402431"/>
                  <a:gd name="connsiteX42" fmla="*/ 381414 w 405250"/>
                  <a:gd name="connsiteY42" fmla="*/ 371475 h 402431"/>
                  <a:gd name="connsiteX43" fmla="*/ 379033 w 405250"/>
                  <a:gd name="connsiteY43" fmla="*/ 364331 h 402431"/>
                  <a:gd name="connsiteX44" fmla="*/ 381414 w 405250"/>
                  <a:gd name="connsiteY44" fmla="*/ 345281 h 402431"/>
                  <a:gd name="connsiteX45" fmla="*/ 386177 w 405250"/>
                  <a:gd name="connsiteY45" fmla="*/ 338137 h 402431"/>
                  <a:gd name="connsiteX46" fmla="*/ 390939 w 405250"/>
                  <a:gd name="connsiteY46" fmla="*/ 323850 h 402431"/>
                  <a:gd name="connsiteX47" fmla="*/ 395702 w 405250"/>
                  <a:gd name="connsiteY47" fmla="*/ 302419 h 402431"/>
                  <a:gd name="connsiteX48" fmla="*/ 393320 w 405250"/>
                  <a:gd name="connsiteY48" fmla="*/ 273844 h 402431"/>
                  <a:gd name="connsiteX49" fmla="*/ 388558 w 405250"/>
                  <a:gd name="connsiteY49" fmla="*/ 266700 h 402431"/>
                  <a:gd name="connsiteX50" fmla="*/ 367127 w 405250"/>
                  <a:gd name="connsiteY50" fmla="*/ 254794 h 402431"/>
                  <a:gd name="connsiteX51" fmla="*/ 359983 w 405250"/>
                  <a:gd name="connsiteY51" fmla="*/ 250031 h 402431"/>
                  <a:gd name="connsiteX52" fmla="*/ 336170 w 405250"/>
                  <a:gd name="connsiteY52" fmla="*/ 242887 h 402431"/>
                  <a:gd name="connsiteX53" fmla="*/ 295689 w 405250"/>
                  <a:gd name="connsiteY53" fmla="*/ 235744 h 402431"/>
                  <a:gd name="connsiteX54" fmla="*/ 281402 w 405250"/>
                  <a:gd name="connsiteY54" fmla="*/ 230981 h 402431"/>
                  <a:gd name="connsiteX55" fmla="*/ 274258 w 405250"/>
                  <a:gd name="connsiteY55" fmla="*/ 226219 h 402431"/>
                  <a:gd name="connsiteX56" fmla="*/ 269495 w 405250"/>
                  <a:gd name="connsiteY56" fmla="*/ 219075 h 402431"/>
                  <a:gd name="connsiteX57" fmla="*/ 262352 w 405250"/>
                  <a:gd name="connsiteY57" fmla="*/ 211931 h 402431"/>
                  <a:gd name="connsiteX58" fmla="*/ 259970 w 405250"/>
                  <a:gd name="connsiteY58" fmla="*/ 204787 h 402431"/>
                  <a:gd name="connsiteX59" fmla="*/ 255208 w 405250"/>
                  <a:gd name="connsiteY59" fmla="*/ 197644 h 402431"/>
                  <a:gd name="connsiteX60" fmla="*/ 250445 w 405250"/>
                  <a:gd name="connsiteY60" fmla="*/ 176212 h 402431"/>
                  <a:gd name="connsiteX61" fmla="*/ 248064 w 405250"/>
                  <a:gd name="connsiteY61" fmla="*/ 126206 h 402431"/>
                  <a:gd name="connsiteX62" fmla="*/ 243302 w 405250"/>
                  <a:gd name="connsiteY62" fmla="*/ 109537 h 402431"/>
                  <a:gd name="connsiteX63" fmla="*/ 236158 w 405250"/>
                  <a:gd name="connsiteY63" fmla="*/ 76200 h 402431"/>
                  <a:gd name="connsiteX64" fmla="*/ 231395 w 405250"/>
                  <a:gd name="connsiteY64" fmla="*/ 61912 h 402431"/>
                  <a:gd name="connsiteX65" fmla="*/ 226633 w 405250"/>
                  <a:gd name="connsiteY65" fmla="*/ 47625 h 402431"/>
                  <a:gd name="connsiteX66" fmla="*/ 224252 w 405250"/>
                  <a:gd name="connsiteY66" fmla="*/ 40481 h 402431"/>
                  <a:gd name="connsiteX67" fmla="*/ 219489 w 405250"/>
                  <a:gd name="connsiteY67" fmla="*/ 33337 h 402431"/>
                  <a:gd name="connsiteX68" fmla="*/ 212345 w 405250"/>
                  <a:gd name="connsiteY68" fmla="*/ 19050 h 402431"/>
                  <a:gd name="connsiteX69" fmla="*/ 205202 w 405250"/>
                  <a:gd name="connsiteY69" fmla="*/ 16669 h 402431"/>
                  <a:gd name="connsiteX70" fmla="*/ 190914 w 405250"/>
                  <a:gd name="connsiteY70" fmla="*/ 7144 h 402431"/>
                  <a:gd name="connsiteX71" fmla="*/ 176627 w 405250"/>
                  <a:gd name="connsiteY71" fmla="*/ 0 h 402431"/>
                  <a:gd name="connsiteX72" fmla="*/ 152814 w 405250"/>
                  <a:gd name="connsiteY72" fmla="*/ 2381 h 402431"/>
                  <a:gd name="connsiteX73" fmla="*/ 145670 w 405250"/>
                  <a:gd name="connsiteY73" fmla="*/ 4762 h 402431"/>
                  <a:gd name="connsiteX74" fmla="*/ 143289 w 405250"/>
                  <a:gd name="connsiteY74" fmla="*/ 11906 h 402431"/>
                  <a:gd name="connsiteX75" fmla="*/ 148052 w 405250"/>
                  <a:gd name="connsiteY75" fmla="*/ 33337 h 402431"/>
                  <a:gd name="connsiteX76" fmla="*/ 155195 w 405250"/>
                  <a:gd name="connsiteY76" fmla="*/ 40481 h 402431"/>
                  <a:gd name="connsiteX77" fmla="*/ 162339 w 405250"/>
                  <a:gd name="connsiteY77" fmla="*/ 66675 h 402431"/>
                  <a:gd name="connsiteX78" fmla="*/ 159958 w 405250"/>
                  <a:gd name="connsiteY78" fmla="*/ 78581 h 402431"/>
                  <a:gd name="connsiteX79" fmla="*/ 133764 w 405250"/>
                  <a:gd name="connsiteY79" fmla="*/ 71437 h 402431"/>
                  <a:gd name="connsiteX80" fmla="*/ 124239 w 405250"/>
                  <a:gd name="connsiteY80" fmla="*/ 47625 h 402431"/>
                  <a:gd name="connsiteX81" fmla="*/ 121858 w 405250"/>
                  <a:gd name="connsiteY81" fmla="*/ 40481 h 402431"/>
                  <a:gd name="connsiteX82" fmla="*/ 114714 w 405250"/>
                  <a:gd name="connsiteY82" fmla="*/ 35719 h 402431"/>
                  <a:gd name="connsiteX83" fmla="*/ 100427 w 405250"/>
                  <a:gd name="connsiteY83" fmla="*/ 30956 h 402431"/>
                  <a:gd name="connsiteX84" fmla="*/ 88520 w 405250"/>
                  <a:gd name="connsiteY84" fmla="*/ 30956 h 4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05250" h="402431">
                    <a:moveTo>
                      <a:pt x="88520" y="30956"/>
                    </a:moveTo>
                    <a:cubicBezTo>
                      <a:pt x="84154" y="31353"/>
                      <a:pt x="78917" y="32166"/>
                      <a:pt x="74233" y="33337"/>
                    </a:cubicBezTo>
                    <a:cubicBezTo>
                      <a:pt x="69363" y="34555"/>
                      <a:pt x="59945" y="38100"/>
                      <a:pt x="59945" y="38100"/>
                    </a:cubicBezTo>
                    <a:cubicBezTo>
                      <a:pt x="45742" y="59407"/>
                      <a:pt x="67062" y="25305"/>
                      <a:pt x="52802" y="59531"/>
                    </a:cubicBezTo>
                    <a:cubicBezTo>
                      <a:pt x="49976" y="66313"/>
                      <a:pt x="42285" y="75836"/>
                      <a:pt x="36133" y="80962"/>
                    </a:cubicBezTo>
                    <a:cubicBezTo>
                      <a:pt x="33934" y="82794"/>
                      <a:pt x="31188" y="83893"/>
                      <a:pt x="28989" y="85725"/>
                    </a:cubicBezTo>
                    <a:cubicBezTo>
                      <a:pt x="26402" y="87881"/>
                      <a:pt x="24432" y="90713"/>
                      <a:pt x="21845" y="92869"/>
                    </a:cubicBezTo>
                    <a:cubicBezTo>
                      <a:pt x="15690" y="97998"/>
                      <a:pt x="14718" y="97626"/>
                      <a:pt x="7558" y="100012"/>
                    </a:cubicBezTo>
                    <a:cubicBezTo>
                      <a:pt x="5177" y="101600"/>
                      <a:pt x="748" y="101933"/>
                      <a:pt x="414" y="104775"/>
                    </a:cubicBezTo>
                    <a:cubicBezTo>
                      <a:pt x="-980" y="116626"/>
                      <a:pt x="1477" y="128634"/>
                      <a:pt x="2795" y="140494"/>
                    </a:cubicBezTo>
                    <a:cubicBezTo>
                      <a:pt x="3072" y="142989"/>
                      <a:pt x="4054" y="145392"/>
                      <a:pt x="5177" y="147637"/>
                    </a:cubicBezTo>
                    <a:cubicBezTo>
                      <a:pt x="8126" y="153534"/>
                      <a:pt x="10959" y="156822"/>
                      <a:pt x="17083" y="159544"/>
                    </a:cubicBezTo>
                    <a:cubicBezTo>
                      <a:pt x="37719" y="168716"/>
                      <a:pt x="50359" y="165142"/>
                      <a:pt x="76614" y="166687"/>
                    </a:cubicBezTo>
                    <a:lnTo>
                      <a:pt x="112333" y="169069"/>
                    </a:lnTo>
                    <a:cubicBezTo>
                      <a:pt x="117095" y="169863"/>
                      <a:pt x="121936" y="170279"/>
                      <a:pt x="126620" y="171450"/>
                    </a:cubicBezTo>
                    <a:cubicBezTo>
                      <a:pt x="131490" y="172667"/>
                      <a:pt x="140908" y="176212"/>
                      <a:pt x="140908" y="176212"/>
                    </a:cubicBezTo>
                    <a:cubicBezTo>
                      <a:pt x="150718" y="190930"/>
                      <a:pt x="139828" y="176576"/>
                      <a:pt x="152814" y="188119"/>
                    </a:cubicBezTo>
                    <a:cubicBezTo>
                      <a:pt x="157848" y="192594"/>
                      <a:pt x="167102" y="202406"/>
                      <a:pt x="167102" y="202406"/>
                    </a:cubicBezTo>
                    <a:cubicBezTo>
                      <a:pt x="168689" y="207169"/>
                      <a:pt x="171310" y="211704"/>
                      <a:pt x="171864" y="216694"/>
                    </a:cubicBezTo>
                    <a:cubicBezTo>
                      <a:pt x="172658" y="223838"/>
                      <a:pt x="170386" y="232061"/>
                      <a:pt x="174245" y="238125"/>
                    </a:cubicBezTo>
                    <a:cubicBezTo>
                      <a:pt x="176940" y="242360"/>
                      <a:pt x="188533" y="242887"/>
                      <a:pt x="188533" y="242887"/>
                    </a:cubicBezTo>
                    <a:cubicBezTo>
                      <a:pt x="190120" y="245268"/>
                      <a:pt x="193116" y="247175"/>
                      <a:pt x="193295" y="250031"/>
                    </a:cubicBezTo>
                    <a:cubicBezTo>
                      <a:pt x="194732" y="273022"/>
                      <a:pt x="186470" y="282960"/>
                      <a:pt x="193295" y="304800"/>
                    </a:cubicBezTo>
                    <a:cubicBezTo>
                      <a:pt x="196905" y="316353"/>
                      <a:pt x="203352" y="318297"/>
                      <a:pt x="209964" y="326231"/>
                    </a:cubicBezTo>
                    <a:cubicBezTo>
                      <a:pt x="211796" y="328430"/>
                      <a:pt x="213139" y="330994"/>
                      <a:pt x="214727" y="333375"/>
                    </a:cubicBezTo>
                    <a:cubicBezTo>
                      <a:pt x="215521" y="335756"/>
                      <a:pt x="215540" y="338559"/>
                      <a:pt x="217108" y="340519"/>
                    </a:cubicBezTo>
                    <a:cubicBezTo>
                      <a:pt x="218896" y="342754"/>
                      <a:pt x="221637" y="344119"/>
                      <a:pt x="224252" y="345281"/>
                    </a:cubicBezTo>
                    <a:cubicBezTo>
                      <a:pt x="233042" y="349188"/>
                      <a:pt x="248932" y="352642"/>
                      <a:pt x="257589" y="354806"/>
                    </a:cubicBezTo>
                    <a:lnTo>
                      <a:pt x="267114" y="357187"/>
                    </a:lnTo>
                    <a:lnTo>
                      <a:pt x="276639" y="359569"/>
                    </a:lnTo>
                    <a:cubicBezTo>
                      <a:pt x="279020" y="361156"/>
                      <a:pt x="281168" y="363169"/>
                      <a:pt x="283783" y="364331"/>
                    </a:cubicBezTo>
                    <a:cubicBezTo>
                      <a:pt x="288370" y="366370"/>
                      <a:pt x="298070" y="369094"/>
                      <a:pt x="298070" y="369094"/>
                    </a:cubicBezTo>
                    <a:cubicBezTo>
                      <a:pt x="308764" y="379787"/>
                      <a:pt x="302020" y="375172"/>
                      <a:pt x="319502" y="381000"/>
                    </a:cubicBezTo>
                    <a:lnTo>
                      <a:pt x="326645" y="383381"/>
                    </a:lnTo>
                    <a:cubicBezTo>
                      <a:pt x="329026" y="384969"/>
                      <a:pt x="331229" y="386864"/>
                      <a:pt x="333789" y="388144"/>
                    </a:cubicBezTo>
                    <a:cubicBezTo>
                      <a:pt x="338669" y="390584"/>
                      <a:pt x="348313" y="392001"/>
                      <a:pt x="352839" y="392906"/>
                    </a:cubicBezTo>
                    <a:cubicBezTo>
                      <a:pt x="355220" y="394494"/>
                      <a:pt x="357247" y="396827"/>
                      <a:pt x="359983" y="397669"/>
                    </a:cubicBezTo>
                    <a:cubicBezTo>
                      <a:pt x="367720" y="400049"/>
                      <a:pt x="383795" y="402431"/>
                      <a:pt x="383795" y="402431"/>
                    </a:cubicBezTo>
                    <a:cubicBezTo>
                      <a:pt x="390145" y="401637"/>
                      <a:pt x="396997" y="402649"/>
                      <a:pt x="402845" y="400050"/>
                    </a:cubicBezTo>
                    <a:cubicBezTo>
                      <a:pt x="408111" y="397709"/>
                      <a:pt x="403133" y="381432"/>
                      <a:pt x="402845" y="381000"/>
                    </a:cubicBezTo>
                    <a:cubicBezTo>
                      <a:pt x="401453" y="378912"/>
                      <a:pt x="398083" y="379413"/>
                      <a:pt x="395702" y="378619"/>
                    </a:cubicBezTo>
                    <a:cubicBezTo>
                      <a:pt x="393321" y="377031"/>
                      <a:pt x="391118" y="375136"/>
                      <a:pt x="388558" y="373856"/>
                    </a:cubicBezTo>
                    <a:cubicBezTo>
                      <a:pt x="386313" y="372733"/>
                      <a:pt x="383189" y="373250"/>
                      <a:pt x="381414" y="371475"/>
                    </a:cubicBezTo>
                    <a:cubicBezTo>
                      <a:pt x="379639" y="369700"/>
                      <a:pt x="379827" y="366712"/>
                      <a:pt x="379033" y="364331"/>
                    </a:cubicBezTo>
                    <a:cubicBezTo>
                      <a:pt x="379827" y="357981"/>
                      <a:pt x="379730" y="351455"/>
                      <a:pt x="381414" y="345281"/>
                    </a:cubicBezTo>
                    <a:cubicBezTo>
                      <a:pt x="382167" y="342520"/>
                      <a:pt x="385015" y="340752"/>
                      <a:pt x="386177" y="338137"/>
                    </a:cubicBezTo>
                    <a:cubicBezTo>
                      <a:pt x="388216" y="333550"/>
                      <a:pt x="389955" y="328772"/>
                      <a:pt x="390939" y="323850"/>
                    </a:cubicBezTo>
                    <a:cubicBezTo>
                      <a:pt x="393962" y="308735"/>
                      <a:pt x="392338" y="315870"/>
                      <a:pt x="395702" y="302419"/>
                    </a:cubicBezTo>
                    <a:cubicBezTo>
                      <a:pt x="394908" y="292894"/>
                      <a:pt x="395195" y="283216"/>
                      <a:pt x="393320" y="273844"/>
                    </a:cubicBezTo>
                    <a:cubicBezTo>
                      <a:pt x="392759" y="271038"/>
                      <a:pt x="390712" y="268585"/>
                      <a:pt x="388558" y="266700"/>
                    </a:cubicBezTo>
                    <a:cubicBezTo>
                      <a:pt x="378481" y="257883"/>
                      <a:pt x="376938" y="258064"/>
                      <a:pt x="367127" y="254794"/>
                    </a:cubicBezTo>
                    <a:cubicBezTo>
                      <a:pt x="364746" y="253206"/>
                      <a:pt x="362598" y="251193"/>
                      <a:pt x="359983" y="250031"/>
                    </a:cubicBezTo>
                    <a:cubicBezTo>
                      <a:pt x="355690" y="248123"/>
                      <a:pt x="342025" y="243952"/>
                      <a:pt x="336170" y="242887"/>
                    </a:cubicBezTo>
                    <a:cubicBezTo>
                      <a:pt x="323031" y="240498"/>
                      <a:pt x="308357" y="239967"/>
                      <a:pt x="295689" y="235744"/>
                    </a:cubicBezTo>
                    <a:cubicBezTo>
                      <a:pt x="290927" y="234156"/>
                      <a:pt x="285579" y="233765"/>
                      <a:pt x="281402" y="230981"/>
                    </a:cubicBezTo>
                    <a:lnTo>
                      <a:pt x="274258" y="226219"/>
                    </a:lnTo>
                    <a:cubicBezTo>
                      <a:pt x="272670" y="223838"/>
                      <a:pt x="271327" y="221274"/>
                      <a:pt x="269495" y="219075"/>
                    </a:cubicBezTo>
                    <a:cubicBezTo>
                      <a:pt x="267339" y="216488"/>
                      <a:pt x="264220" y="214733"/>
                      <a:pt x="262352" y="211931"/>
                    </a:cubicBezTo>
                    <a:cubicBezTo>
                      <a:pt x="260960" y="209842"/>
                      <a:pt x="261093" y="207032"/>
                      <a:pt x="259970" y="204787"/>
                    </a:cubicBezTo>
                    <a:cubicBezTo>
                      <a:pt x="258690" y="202228"/>
                      <a:pt x="256795" y="200025"/>
                      <a:pt x="255208" y="197644"/>
                    </a:cubicBezTo>
                    <a:cubicBezTo>
                      <a:pt x="254019" y="192888"/>
                      <a:pt x="250780" y="180573"/>
                      <a:pt x="250445" y="176212"/>
                    </a:cubicBezTo>
                    <a:cubicBezTo>
                      <a:pt x="249165" y="159574"/>
                      <a:pt x="249395" y="142840"/>
                      <a:pt x="248064" y="126206"/>
                    </a:cubicBezTo>
                    <a:cubicBezTo>
                      <a:pt x="247459" y="118644"/>
                      <a:pt x="244889" y="116412"/>
                      <a:pt x="243302" y="109537"/>
                    </a:cubicBezTo>
                    <a:cubicBezTo>
                      <a:pt x="241465" y="101575"/>
                      <a:pt x="239060" y="85872"/>
                      <a:pt x="236158" y="76200"/>
                    </a:cubicBezTo>
                    <a:cubicBezTo>
                      <a:pt x="234715" y="71391"/>
                      <a:pt x="232983" y="66675"/>
                      <a:pt x="231395" y="61912"/>
                    </a:cubicBezTo>
                    <a:lnTo>
                      <a:pt x="226633" y="47625"/>
                    </a:lnTo>
                    <a:cubicBezTo>
                      <a:pt x="225839" y="45244"/>
                      <a:pt x="225644" y="42569"/>
                      <a:pt x="224252" y="40481"/>
                    </a:cubicBezTo>
                    <a:lnTo>
                      <a:pt x="219489" y="33337"/>
                    </a:lnTo>
                    <a:cubicBezTo>
                      <a:pt x="217920" y="28630"/>
                      <a:pt x="216542" y="22408"/>
                      <a:pt x="212345" y="19050"/>
                    </a:cubicBezTo>
                    <a:cubicBezTo>
                      <a:pt x="210385" y="17482"/>
                      <a:pt x="207583" y="17463"/>
                      <a:pt x="205202" y="16669"/>
                    </a:cubicBezTo>
                    <a:cubicBezTo>
                      <a:pt x="191658" y="3125"/>
                      <a:pt x="204700" y="14037"/>
                      <a:pt x="190914" y="7144"/>
                    </a:cubicBezTo>
                    <a:cubicBezTo>
                      <a:pt x="172447" y="-2090"/>
                      <a:pt x="194583" y="5985"/>
                      <a:pt x="176627" y="0"/>
                    </a:cubicBezTo>
                    <a:cubicBezTo>
                      <a:pt x="168689" y="794"/>
                      <a:pt x="160699" y="1168"/>
                      <a:pt x="152814" y="2381"/>
                    </a:cubicBezTo>
                    <a:cubicBezTo>
                      <a:pt x="150333" y="2763"/>
                      <a:pt x="147445" y="2987"/>
                      <a:pt x="145670" y="4762"/>
                    </a:cubicBezTo>
                    <a:cubicBezTo>
                      <a:pt x="143895" y="6537"/>
                      <a:pt x="144083" y="9525"/>
                      <a:pt x="143289" y="11906"/>
                    </a:cubicBezTo>
                    <a:cubicBezTo>
                      <a:pt x="143578" y="13641"/>
                      <a:pt x="145444" y="29426"/>
                      <a:pt x="148052" y="33337"/>
                    </a:cubicBezTo>
                    <a:cubicBezTo>
                      <a:pt x="149920" y="36139"/>
                      <a:pt x="152814" y="38100"/>
                      <a:pt x="155195" y="40481"/>
                    </a:cubicBezTo>
                    <a:cubicBezTo>
                      <a:pt x="161238" y="58609"/>
                      <a:pt x="158974" y="49846"/>
                      <a:pt x="162339" y="66675"/>
                    </a:cubicBezTo>
                    <a:cubicBezTo>
                      <a:pt x="161545" y="70644"/>
                      <a:pt x="163656" y="76937"/>
                      <a:pt x="159958" y="78581"/>
                    </a:cubicBezTo>
                    <a:cubicBezTo>
                      <a:pt x="149286" y="83324"/>
                      <a:pt x="141215" y="76405"/>
                      <a:pt x="133764" y="71437"/>
                    </a:cubicBezTo>
                    <a:cubicBezTo>
                      <a:pt x="126758" y="57424"/>
                      <a:pt x="130123" y="65276"/>
                      <a:pt x="124239" y="47625"/>
                    </a:cubicBezTo>
                    <a:cubicBezTo>
                      <a:pt x="123445" y="45244"/>
                      <a:pt x="123947" y="41873"/>
                      <a:pt x="121858" y="40481"/>
                    </a:cubicBezTo>
                    <a:cubicBezTo>
                      <a:pt x="119477" y="38894"/>
                      <a:pt x="117329" y="36881"/>
                      <a:pt x="114714" y="35719"/>
                    </a:cubicBezTo>
                    <a:cubicBezTo>
                      <a:pt x="110127" y="33680"/>
                      <a:pt x="105189" y="32544"/>
                      <a:pt x="100427" y="30956"/>
                    </a:cubicBezTo>
                    <a:cubicBezTo>
                      <a:pt x="86508" y="26316"/>
                      <a:pt x="92886" y="30559"/>
                      <a:pt x="88520" y="3095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6" name="Freeform 195"/>
              <p:cNvSpPr/>
              <p:nvPr/>
            </p:nvSpPr>
            <p:spPr>
              <a:xfrm>
                <a:off x="3434442" y="3760673"/>
                <a:ext cx="171450" cy="188119"/>
              </a:xfrm>
              <a:custGeom>
                <a:avLst/>
                <a:gdLst>
                  <a:gd name="connsiteX0" fmla="*/ 28575 w 171450"/>
                  <a:gd name="connsiteY0" fmla="*/ 7144 h 188119"/>
                  <a:gd name="connsiteX1" fmla="*/ 28575 w 171450"/>
                  <a:gd name="connsiteY1" fmla="*/ 38100 h 188119"/>
                  <a:gd name="connsiteX2" fmla="*/ 23813 w 171450"/>
                  <a:gd name="connsiteY2" fmla="*/ 45244 h 188119"/>
                  <a:gd name="connsiteX3" fmla="*/ 9525 w 171450"/>
                  <a:gd name="connsiteY3" fmla="*/ 50007 h 188119"/>
                  <a:gd name="connsiteX4" fmla="*/ 4763 w 171450"/>
                  <a:gd name="connsiteY4" fmla="*/ 64294 h 188119"/>
                  <a:gd name="connsiteX5" fmla="*/ 0 w 171450"/>
                  <a:gd name="connsiteY5" fmla="*/ 119063 h 188119"/>
                  <a:gd name="connsiteX6" fmla="*/ 2381 w 171450"/>
                  <a:gd name="connsiteY6" fmla="*/ 161925 h 188119"/>
                  <a:gd name="connsiteX7" fmla="*/ 4763 w 171450"/>
                  <a:gd name="connsiteY7" fmla="*/ 169069 h 188119"/>
                  <a:gd name="connsiteX8" fmla="*/ 19050 w 171450"/>
                  <a:gd name="connsiteY8" fmla="*/ 176213 h 188119"/>
                  <a:gd name="connsiteX9" fmla="*/ 26194 w 171450"/>
                  <a:gd name="connsiteY9" fmla="*/ 183357 h 188119"/>
                  <a:gd name="connsiteX10" fmla="*/ 40481 w 171450"/>
                  <a:gd name="connsiteY10" fmla="*/ 188119 h 188119"/>
                  <a:gd name="connsiteX11" fmla="*/ 54769 w 171450"/>
                  <a:gd name="connsiteY11" fmla="*/ 185738 h 188119"/>
                  <a:gd name="connsiteX12" fmla="*/ 61913 w 171450"/>
                  <a:gd name="connsiteY12" fmla="*/ 171450 h 188119"/>
                  <a:gd name="connsiteX13" fmla="*/ 64294 w 171450"/>
                  <a:gd name="connsiteY13" fmla="*/ 157163 h 188119"/>
                  <a:gd name="connsiteX14" fmla="*/ 88106 w 171450"/>
                  <a:gd name="connsiteY14" fmla="*/ 166688 h 188119"/>
                  <a:gd name="connsiteX15" fmla="*/ 90488 w 171450"/>
                  <a:gd name="connsiteY15" fmla="*/ 180975 h 188119"/>
                  <a:gd name="connsiteX16" fmla="*/ 97631 w 171450"/>
                  <a:gd name="connsiteY16" fmla="*/ 185738 h 188119"/>
                  <a:gd name="connsiteX17" fmla="*/ 142875 w 171450"/>
                  <a:gd name="connsiteY17" fmla="*/ 183357 h 188119"/>
                  <a:gd name="connsiteX18" fmla="*/ 145256 w 171450"/>
                  <a:gd name="connsiteY18" fmla="*/ 173832 h 188119"/>
                  <a:gd name="connsiteX19" fmla="*/ 147638 w 171450"/>
                  <a:gd name="connsiteY19" fmla="*/ 142875 h 188119"/>
                  <a:gd name="connsiteX20" fmla="*/ 152400 w 171450"/>
                  <a:gd name="connsiteY20" fmla="*/ 128588 h 188119"/>
                  <a:gd name="connsiteX21" fmla="*/ 157163 w 171450"/>
                  <a:gd name="connsiteY21" fmla="*/ 111919 h 188119"/>
                  <a:gd name="connsiteX22" fmla="*/ 164306 w 171450"/>
                  <a:gd name="connsiteY22" fmla="*/ 104775 h 188119"/>
                  <a:gd name="connsiteX23" fmla="*/ 171450 w 171450"/>
                  <a:gd name="connsiteY23" fmla="*/ 80963 h 188119"/>
                  <a:gd name="connsiteX24" fmla="*/ 169069 w 171450"/>
                  <a:gd name="connsiteY24" fmla="*/ 69057 h 188119"/>
                  <a:gd name="connsiteX25" fmla="*/ 157163 w 171450"/>
                  <a:gd name="connsiteY25" fmla="*/ 57150 h 188119"/>
                  <a:gd name="connsiteX26" fmla="*/ 150019 w 171450"/>
                  <a:gd name="connsiteY26" fmla="*/ 54769 h 188119"/>
                  <a:gd name="connsiteX27" fmla="*/ 145256 w 171450"/>
                  <a:gd name="connsiteY27" fmla="*/ 47625 h 188119"/>
                  <a:gd name="connsiteX28" fmla="*/ 138113 w 171450"/>
                  <a:gd name="connsiteY28" fmla="*/ 42863 h 188119"/>
                  <a:gd name="connsiteX29" fmla="*/ 121444 w 171450"/>
                  <a:gd name="connsiteY29" fmla="*/ 33338 h 188119"/>
                  <a:gd name="connsiteX30" fmla="*/ 114300 w 171450"/>
                  <a:gd name="connsiteY30" fmla="*/ 28575 h 188119"/>
                  <a:gd name="connsiteX31" fmla="*/ 107156 w 171450"/>
                  <a:gd name="connsiteY31" fmla="*/ 26194 h 188119"/>
                  <a:gd name="connsiteX32" fmla="*/ 92869 w 171450"/>
                  <a:gd name="connsiteY32" fmla="*/ 16669 h 188119"/>
                  <a:gd name="connsiteX33" fmla="*/ 76200 w 171450"/>
                  <a:gd name="connsiteY33" fmla="*/ 0 h 188119"/>
                  <a:gd name="connsiteX34" fmla="*/ 33338 w 171450"/>
                  <a:gd name="connsiteY34" fmla="*/ 2382 h 188119"/>
                  <a:gd name="connsiteX35" fmla="*/ 26194 w 171450"/>
                  <a:gd name="connsiteY35" fmla="*/ 4763 h 188119"/>
                  <a:gd name="connsiteX36" fmla="*/ 28575 w 171450"/>
                  <a:gd name="connsiteY36" fmla="*/ 26194 h 188119"/>
                  <a:gd name="connsiteX37" fmla="*/ 19050 w 171450"/>
                  <a:gd name="connsiteY37" fmla="*/ 40482 h 188119"/>
                  <a:gd name="connsiteX38" fmla="*/ 28575 w 171450"/>
                  <a:gd name="connsiteY38" fmla="*/ 7144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1450" h="188119">
                    <a:moveTo>
                      <a:pt x="28575" y="7144"/>
                    </a:moveTo>
                    <a:cubicBezTo>
                      <a:pt x="30163" y="6747"/>
                      <a:pt x="32899" y="22242"/>
                      <a:pt x="28575" y="38100"/>
                    </a:cubicBezTo>
                    <a:cubicBezTo>
                      <a:pt x="27822" y="40861"/>
                      <a:pt x="26240" y="43727"/>
                      <a:pt x="23813" y="45244"/>
                    </a:cubicBezTo>
                    <a:cubicBezTo>
                      <a:pt x="19556" y="47905"/>
                      <a:pt x="9525" y="50007"/>
                      <a:pt x="9525" y="50007"/>
                    </a:cubicBezTo>
                    <a:cubicBezTo>
                      <a:pt x="7938" y="54769"/>
                      <a:pt x="5027" y="59281"/>
                      <a:pt x="4763" y="64294"/>
                    </a:cubicBezTo>
                    <a:cubicBezTo>
                      <a:pt x="2209" y="112806"/>
                      <a:pt x="6043" y="94887"/>
                      <a:pt x="0" y="119063"/>
                    </a:cubicBezTo>
                    <a:cubicBezTo>
                      <a:pt x="794" y="133350"/>
                      <a:pt x="1024" y="147680"/>
                      <a:pt x="2381" y="161925"/>
                    </a:cubicBezTo>
                    <a:cubicBezTo>
                      <a:pt x="2619" y="164424"/>
                      <a:pt x="3195" y="167109"/>
                      <a:pt x="4763" y="169069"/>
                    </a:cubicBezTo>
                    <a:cubicBezTo>
                      <a:pt x="8121" y="173267"/>
                      <a:pt x="14342" y="174644"/>
                      <a:pt x="19050" y="176213"/>
                    </a:cubicBezTo>
                    <a:cubicBezTo>
                      <a:pt x="21431" y="178594"/>
                      <a:pt x="23250" y="181722"/>
                      <a:pt x="26194" y="183357"/>
                    </a:cubicBezTo>
                    <a:cubicBezTo>
                      <a:pt x="30582" y="185795"/>
                      <a:pt x="40481" y="188119"/>
                      <a:pt x="40481" y="188119"/>
                    </a:cubicBezTo>
                    <a:cubicBezTo>
                      <a:pt x="45244" y="187325"/>
                      <a:pt x="50450" y="187897"/>
                      <a:pt x="54769" y="185738"/>
                    </a:cubicBezTo>
                    <a:cubicBezTo>
                      <a:pt x="58460" y="183892"/>
                      <a:pt x="60786" y="174830"/>
                      <a:pt x="61913" y="171450"/>
                    </a:cubicBezTo>
                    <a:cubicBezTo>
                      <a:pt x="62707" y="166688"/>
                      <a:pt x="59976" y="159322"/>
                      <a:pt x="64294" y="157163"/>
                    </a:cubicBezTo>
                    <a:cubicBezTo>
                      <a:pt x="81300" y="148660"/>
                      <a:pt x="85869" y="156623"/>
                      <a:pt x="88106" y="166688"/>
                    </a:cubicBezTo>
                    <a:cubicBezTo>
                      <a:pt x="89153" y="171401"/>
                      <a:pt x="88329" y="176657"/>
                      <a:pt x="90488" y="180975"/>
                    </a:cubicBezTo>
                    <a:cubicBezTo>
                      <a:pt x="91768" y="183535"/>
                      <a:pt x="95250" y="184150"/>
                      <a:pt x="97631" y="185738"/>
                    </a:cubicBezTo>
                    <a:cubicBezTo>
                      <a:pt x="112712" y="184944"/>
                      <a:pt x="128224" y="187020"/>
                      <a:pt x="142875" y="183357"/>
                    </a:cubicBezTo>
                    <a:cubicBezTo>
                      <a:pt x="146050" y="182563"/>
                      <a:pt x="144874" y="177082"/>
                      <a:pt x="145256" y="173832"/>
                    </a:cubicBezTo>
                    <a:cubicBezTo>
                      <a:pt x="146465" y="163553"/>
                      <a:pt x="146024" y="153098"/>
                      <a:pt x="147638" y="142875"/>
                    </a:cubicBezTo>
                    <a:cubicBezTo>
                      <a:pt x="148421" y="137917"/>
                      <a:pt x="151183" y="133458"/>
                      <a:pt x="152400" y="128588"/>
                    </a:cubicBezTo>
                    <a:cubicBezTo>
                      <a:pt x="152719" y="127313"/>
                      <a:pt x="155795" y="113972"/>
                      <a:pt x="157163" y="111919"/>
                    </a:cubicBezTo>
                    <a:cubicBezTo>
                      <a:pt x="159031" y="109117"/>
                      <a:pt x="161925" y="107156"/>
                      <a:pt x="164306" y="104775"/>
                    </a:cubicBezTo>
                    <a:cubicBezTo>
                      <a:pt x="170104" y="87383"/>
                      <a:pt x="167852" y="95358"/>
                      <a:pt x="171450" y="80963"/>
                    </a:cubicBezTo>
                    <a:cubicBezTo>
                      <a:pt x="170656" y="76994"/>
                      <a:pt x="170490" y="72847"/>
                      <a:pt x="169069" y="69057"/>
                    </a:cubicBezTo>
                    <a:cubicBezTo>
                      <a:pt x="166871" y="63197"/>
                      <a:pt x="162535" y="59836"/>
                      <a:pt x="157163" y="57150"/>
                    </a:cubicBezTo>
                    <a:cubicBezTo>
                      <a:pt x="154918" y="56027"/>
                      <a:pt x="152400" y="55563"/>
                      <a:pt x="150019" y="54769"/>
                    </a:cubicBezTo>
                    <a:cubicBezTo>
                      <a:pt x="148431" y="52388"/>
                      <a:pt x="147280" y="49649"/>
                      <a:pt x="145256" y="47625"/>
                    </a:cubicBezTo>
                    <a:cubicBezTo>
                      <a:pt x="143233" y="45602"/>
                      <a:pt x="140442" y="44526"/>
                      <a:pt x="138113" y="42863"/>
                    </a:cubicBezTo>
                    <a:cubicBezTo>
                      <a:pt x="125499" y="33853"/>
                      <a:pt x="133037" y="37202"/>
                      <a:pt x="121444" y="33338"/>
                    </a:cubicBezTo>
                    <a:cubicBezTo>
                      <a:pt x="119063" y="31750"/>
                      <a:pt x="116860" y="29855"/>
                      <a:pt x="114300" y="28575"/>
                    </a:cubicBezTo>
                    <a:cubicBezTo>
                      <a:pt x="112055" y="27452"/>
                      <a:pt x="109350" y="27413"/>
                      <a:pt x="107156" y="26194"/>
                    </a:cubicBezTo>
                    <a:cubicBezTo>
                      <a:pt x="102153" y="23414"/>
                      <a:pt x="92869" y="16669"/>
                      <a:pt x="92869" y="16669"/>
                    </a:cubicBezTo>
                    <a:cubicBezTo>
                      <a:pt x="81952" y="293"/>
                      <a:pt x="88774" y="4192"/>
                      <a:pt x="76200" y="0"/>
                    </a:cubicBezTo>
                    <a:cubicBezTo>
                      <a:pt x="61913" y="794"/>
                      <a:pt x="47583" y="1025"/>
                      <a:pt x="33338" y="2382"/>
                    </a:cubicBezTo>
                    <a:cubicBezTo>
                      <a:pt x="30839" y="2620"/>
                      <a:pt x="26686" y="2302"/>
                      <a:pt x="26194" y="4763"/>
                    </a:cubicBezTo>
                    <a:cubicBezTo>
                      <a:pt x="24784" y="11811"/>
                      <a:pt x="27781" y="19050"/>
                      <a:pt x="28575" y="26194"/>
                    </a:cubicBezTo>
                    <a:cubicBezTo>
                      <a:pt x="23735" y="50398"/>
                      <a:pt x="31254" y="30719"/>
                      <a:pt x="19050" y="40482"/>
                    </a:cubicBezTo>
                    <a:cubicBezTo>
                      <a:pt x="9296" y="48286"/>
                      <a:pt x="26987" y="7541"/>
                      <a:pt x="28575" y="714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7" name="Freeform 196"/>
              <p:cNvSpPr/>
              <p:nvPr/>
            </p:nvSpPr>
            <p:spPr>
              <a:xfrm>
                <a:off x="2862942" y="4603425"/>
                <a:ext cx="345281" cy="283580"/>
              </a:xfrm>
              <a:custGeom>
                <a:avLst/>
                <a:gdLst>
                  <a:gd name="connsiteX0" fmla="*/ 195263 w 345281"/>
                  <a:gd name="connsiteY0" fmla="*/ 211 h 283580"/>
                  <a:gd name="connsiteX1" fmla="*/ 176213 w 345281"/>
                  <a:gd name="connsiteY1" fmla="*/ 9736 h 283580"/>
                  <a:gd name="connsiteX2" fmla="*/ 173831 w 345281"/>
                  <a:gd name="connsiteY2" fmla="*/ 16880 h 283580"/>
                  <a:gd name="connsiteX3" fmla="*/ 159544 w 345281"/>
                  <a:gd name="connsiteY3" fmla="*/ 26405 h 283580"/>
                  <a:gd name="connsiteX4" fmla="*/ 152400 w 345281"/>
                  <a:gd name="connsiteY4" fmla="*/ 40692 h 283580"/>
                  <a:gd name="connsiteX5" fmla="*/ 145256 w 345281"/>
                  <a:gd name="connsiteY5" fmla="*/ 45455 h 283580"/>
                  <a:gd name="connsiteX6" fmla="*/ 138113 w 345281"/>
                  <a:gd name="connsiteY6" fmla="*/ 52598 h 283580"/>
                  <a:gd name="connsiteX7" fmla="*/ 135731 w 345281"/>
                  <a:gd name="connsiteY7" fmla="*/ 59742 h 283580"/>
                  <a:gd name="connsiteX8" fmla="*/ 128588 w 345281"/>
                  <a:gd name="connsiteY8" fmla="*/ 64505 h 283580"/>
                  <a:gd name="connsiteX9" fmla="*/ 126206 w 345281"/>
                  <a:gd name="connsiteY9" fmla="*/ 121655 h 283580"/>
                  <a:gd name="connsiteX10" fmla="*/ 123825 w 345281"/>
                  <a:gd name="connsiteY10" fmla="*/ 128798 h 283580"/>
                  <a:gd name="connsiteX11" fmla="*/ 116681 w 345281"/>
                  <a:gd name="connsiteY11" fmla="*/ 131180 h 283580"/>
                  <a:gd name="connsiteX12" fmla="*/ 114300 w 345281"/>
                  <a:gd name="connsiteY12" fmla="*/ 138323 h 283580"/>
                  <a:gd name="connsiteX13" fmla="*/ 90488 w 345281"/>
                  <a:gd name="connsiteY13" fmla="*/ 145467 h 283580"/>
                  <a:gd name="connsiteX14" fmla="*/ 83344 w 345281"/>
                  <a:gd name="connsiteY14" fmla="*/ 147848 h 283580"/>
                  <a:gd name="connsiteX15" fmla="*/ 78581 w 345281"/>
                  <a:gd name="connsiteY15" fmla="*/ 154992 h 283580"/>
                  <a:gd name="connsiteX16" fmla="*/ 71438 w 345281"/>
                  <a:gd name="connsiteY16" fmla="*/ 159755 h 283580"/>
                  <a:gd name="connsiteX17" fmla="*/ 66675 w 345281"/>
                  <a:gd name="connsiteY17" fmla="*/ 174042 h 283580"/>
                  <a:gd name="connsiteX18" fmla="*/ 59531 w 345281"/>
                  <a:gd name="connsiteY18" fmla="*/ 188330 h 283580"/>
                  <a:gd name="connsiteX19" fmla="*/ 52388 w 345281"/>
                  <a:gd name="connsiteY19" fmla="*/ 193092 h 283580"/>
                  <a:gd name="connsiteX20" fmla="*/ 40481 w 345281"/>
                  <a:gd name="connsiteY20" fmla="*/ 204998 h 283580"/>
                  <a:gd name="connsiteX21" fmla="*/ 33338 w 345281"/>
                  <a:gd name="connsiteY21" fmla="*/ 202617 h 283580"/>
                  <a:gd name="connsiteX22" fmla="*/ 2381 w 345281"/>
                  <a:gd name="connsiteY22" fmla="*/ 197855 h 283580"/>
                  <a:gd name="connsiteX23" fmla="*/ 0 w 345281"/>
                  <a:gd name="connsiteY23" fmla="*/ 204998 h 283580"/>
                  <a:gd name="connsiteX24" fmla="*/ 23813 w 345281"/>
                  <a:gd name="connsiteY24" fmla="*/ 233573 h 283580"/>
                  <a:gd name="connsiteX25" fmla="*/ 30956 w 345281"/>
                  <a:gd name="connsiteY25" fmla="*/ 231192 h 283580"/>
                  <a:gd name="connsiteX26" fmla="*/ 88106 w 345281"/>
                  <a:gd name="connsiteY26" fmla="*/ 233573 h 283580"/>
                  <a:gd name="connsiteX27" fmla="*/ 97631 w 345281"/>
                  <a:gd name="connsiteY27" fmla="*/ 235955 h 283580"/>
                  <a:gd name="connsiteX28" fmla="*/ 183356 w 345281"/>
                  <a:gd name="connsiteY28" fmla="*/ 238336 h 283580"/>
                  <a:gd name="connsiteX29" fmla="*/ 197644 w 345281"/>
                  <a:gd name="connsiteY29" fmla="*/ 243098 h 283580"/>
                  <a:gd name="connsiteX30" fmla="*/ 204788 w 345281"/>
                  <a:gd name="connsiteY30" fmla="*/ 247861 h 283580"/>
                  <a:gd name="connsiteX31" fmla="*/ 219075 w 345281"/>
                  <a:gd name="connsiteY31" fmla="*/ 252623 h 283580"/>
                  <a:gd name="connsiteX32" fmla="*/ 226219 w 345281"/>
                  <a:gd name="connsiteY32" fmla="*/ 259767 h 283580"/>
                  <a:gd name="connsiteX33" fmla="*/ 238125 w 345281"/>
                  <a:gd name="connsiteY33" fmla="*/ 274055 h 283580"/>
                  <a:gd name="connsiteX34" fmla="*/ 252413 w 345281"/>
                  <a:gd name="connsiteY34" fmla="*/ 283580 h 283580"/>
                  <a:gd name="connsiteX35" fmla="*/ 269081 w 345281"/>
                  <a:gd name="connsiteY35" fmla="*/ 281198 h 283580"/>
                  <a:gd name="connsiteX36" fmla="*/ 283369 w 345281"/>
                  <a:gd name="connsiteY36" fmla="*/ 276436 h 283580"/>
                  <a:gd name="connsiteX37" fmla="*/ 285750 w 345281"/>
                  <a:gd name="connsiteY37" fmla="*/ 269292 h 283580"/>
                  <a:gd name="connsiteX38" fmla="*/ 290513 w 345281"/>
                  <a:gd name="connsiteY38" fmla="*/ 262148 h 283580"/>
                  <a:gd name="connsiteX39" fmla="*/ 285750 w 345281"/>
                  <a:gd name="connsiteY39" fmla="*/ 235955 h 283580"/>
                  <a:gd name="connsiteX40" fmla="*/ 280988 w 345281"/>
                  <a:gd name="connsiteY40" fmla="*/ 212142 h 283580"/>
                  <a:gd name="connsiteX41" fmla="*/ 278606 w 345281"/>
                  <a:gd name="connsiteY41" fmla="*/ 195473 h 283580"/>
                  <a:gd name="connsiteX42" fmla="*/ 266700 w 345281"/>
                  <a:gd name="connsiteY42" fmla="*/ 174042 h 283580"/>
                  <a:gd name="connsiteX43" fmla="*/ 261938 w 345281"/>
                  <a:gd name="connsiteY43" fmla="*/ 166898 h 283580"/>
                  <a:gd name="connsiteX44" fmla="*/ 264319 w 345281"/>
                  <a:gd name="connsiteY44" fmla="*/ 152611 h 283580"/>
                  <a:gd name="connsiteX45" fmla="*/ 278606 w 345281"/>
                  <a:gd name="connsiteY45" fmla="*/ 124036 h 283580"/>
                  <a:gd name="connsiteX46" fmla="*/ 314325 w 345281"/>
                  <a:gd name="connsiteY46" fmla="*/ 121655 h 283580"/>
                  <a:gd name="connsiteX47" fmla="*/ 326231 w 345281"/>
                  <a:gd name="connsiteY47" fmla="*/ 119273 h 283580"/>
                  <a:gd name="connsiteX48" fmla="*/ 333375 w 345281"/>
                  <a:gd name="connsiteY48" fmla="*/ 116892 h 283580"/>
                  <a:gd name="connsiteX49" fmla="*/ 345281 w 345281"/>
                  <a:gd name="connsiteY49" fmla="*/ 114511 h 283580"/>
                  <a:gd name="connsiteX50" fmla="*/ 342900 w 345281"/>
                  <a:gd name="connsiteY50" fmla="*/ 102605 h 283580"/>
                  <a:gd name="connsiteX51" fmla="*/ 338138 w 345281"/>
                  <a:gd name="connsiteY51" fmla="*/ 95461 h 283580"/>
                  <a:gd name="connsiteX52" fmla="*/ 335756 w 345281"/>
                  <a:gd name="connsiteY52" fmla="*/ 24023 h 283580"/>
                  <a:gd name="connsiteX53" fmla="*/ 326231 w 345281"/>
                  <a:gd name="connsiteY53" fmla="*/ 21642 h 283580"/>
                  <a:gd name="connsiteX54" fmla="*/ 271463 w 345281"/>
                  <a:gd name="connsiteY54" fmla="*/ 14498 h 283580"/>
                  <a:gd name="connsiteX55" fmla="*/ 261938 w 345281"/>
                  <a:gd name="connsiteY55" fmla="*/ 12117 h 283580"/>
                  <a:gd name="connsiteX56" fmla="*/ 254794 w 345281"/>
                  <a:gd name="connsiteY56" fmla="*/ 9736 h 283580"/>
                  <a:gd name="connsiteX57" fmla="*/ 226219 w 345281"/>
                  <a:gd name="connsiteY57" fmla="*/ 12117 h 283580"/>
                  <a:gd name="connsiteX58" fmla="*/ 197644 w 345281"/>
                  <a:gd name="connsiteY58" fmla="*/ 14498 h 283580"/>
                  <a:gd name="connsiteX59" fmla="*/ 195263 w 345281"/>
                  <a:gd name="connsiteY59" fmla="*/ 211 h 28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45281" h="283580">
                    <a:moveTo>
                      <a:pt x="195263" y="211"/>
                    </a:moveTo>
                    <a:cubicBezTo>
                      <a:pt x="191691" y="-583"/>
                      <a:pt x="182371" y="499"/>
                      <a:pt x="176213" y="9736"/>
                    </a:cubicBezTo>
                    <a:cubicBezTo>
                      <a:pt x="174821" y="11825"/>
                      <a:pt x="175606" y="15105"/>
                      <a:pt x="173831" y="16880"/>
                    </a:cubicBezTo>
                    <a:cubicBezTo>
                      <a:pt x="169784" y="20927"/>
                      <a:pt x="159544" y="26405"/>
                      <a:pt x="159544" y="26405"/>
                    </a:cubicBezTo>
                    <a:cubicBezTo>
                      <a:pt x="157607" y="32216"/>
                      <a:pt x="157017" y="36075"/>
                      <a:pt x="152400" y="40692"/>
                    </a:cubicBezTo>
                    <a:cubicBezTo>
                      <a:pt x="150376" y="42716"/>
                      <a:pt x="147455" y="43623"/>
                      <a:pt x="145256" y="45455"/>
                    </a:cubicBezTo>
                    <a:cubicBezTo>
                      <a:pt x="142669" y="47611"/>
                      <a:pt x="140494" y="50217"/>
                      <a:pt x="138113" y="52598"/>
                    </a:cubicBezTo>
                    <a:cubicBezTo>
                      <a:pt x="137319" y="54979"/>
                      <a:pt x="137299" y="57782"/>
                      <a:pt x="135731" y="59742"/>
                    </a:cubicBezTo>
                    <a:cubicBezTo>
                      <a:pt x="133943" y="61977"/>
                      <a:pt x="129023" y="61676"/>
                      <a:pt x="128588" y="64505"/>
                    </a:cubicBezTo>
                    <a:cubicBezTo>
                      <a:pt x="125689" y="83350"/>
                      <a:pt x="127615" y="102641"/>
                      <a:pt x="126206" y="121655"/>
                    </a:cubicBezTo>
                    <a:cubicBezTo>
                      <a:pt x="126021" y="124158"/>
                      <a:pt x="125600" y="127023"/>
                      <a:pt x="123825" y="128798"/>
                    </a:cubicBezTo>
                    <a:cubicBezTo>
                      <a:pt x="122050" y="130573"/>
                      <a:pt x="119062" y="130386"/>
                      <a:pt x="116681" y="131180"/>
                    </a:cubicBezTo>
                    <a:cubicBezTo>
                      <a:pt x="115887" y="133561"/>
                      <a:pt x="115868" y="136363"/>
                      <a:pt x="114300" y="138323"/>
                    </a:cubicBezTo>
                    <a:cubicBezTo>
                      <a:pt x="108710" y="145310"/>
                      <a:pt x="97785" y="144425"/>
                      <a:pt x="90488" y="145467"/>
                    </a:cubicBezTo>
                    <a:cubicBezTo>
                      <a:pt x="88107" y="146261"/>
                      <a:pt x="85304" y="146280"/>
                      <a:pt x="83344" y="147848"/>
                    </a:cubicBezTo>
                    <a:cubicBezTo>
                      <a:pt x="81109" y="149636"/>
                      <a:pt x="80605" y="152968"/>
                      <a:pt x="78581" y="154992"/>
                    </a:cubicBezTo>
                    <a:cubicBezTo>
                      <a:pt x="76557" y="157016"/>
                      <a:pt x="73819" y="158167"/>
                      <a:pt x="71438" y="159755"/>
                    </a:cubicBezTo>
                    <a:lnTo>
                      <a:pt x="66675" y="174042"/>
                    </a:lnTo>
                    <a:cubicBezTo>
                      <a:pt x="64738" y="179854"/>
                      <a:pt x="64149" y="183712"/>
                      <a:pt x="59531" y="188330"/>
                    </a:cubicBezTo>
                    <a:cubicBezTo>
                      <a:pt x="57508" y="190353"/>
                      <a:pt x="54769" y="191505"/>
                      <a:pt x="52388" y="193092"/>
                    </a:cubicBezTo>
                    <a:cubicBezTo>
                      <a:pt x="49609" y="197260"/>
                      <a:pt x="46435" y="204006"/>
                      <a:pt x="40481" y="204998"/>
                    </a:cubicBezTo>
                    <a:cubicBezTo>
                      <a:pt x="38005" y="205411"/>
                      <a:pt x="35719" y="203411"/>
                      <a:pt x="33338" y="202617"/>
                    </a:cubicBezTo>
                    <a:cubicBezTo>
                      <a:pt x="22770" y="192049"/>
                      <a:pt x="24294" y="189887"/>
                      <a:pt x="2381" y="197855"/>
                    </a:cubicBezTo>
                    <a:cubicBezTo>
                      <a:pt x="22" y="198713"/>
                      <a:pt x="794" y="202617"/>
                      <a:pt x="0" y="204998"/>
                    </a:cubicBezTo>
                    <a:cubicBezTo>
                      <a:pt x="2740" y="240617"/>
                      <a:pt x="-7771" y="238838"/>
                      <a:pt x="23813" y="233573"/>
                    </a:cubicBezTo>
                    <a:cubicBezTo>
                      <a:pt x="26289" y="233160"/>
                      <a:pt x="28575" y="231986"/>
                      <a:pt x="30956" y="231192"/>
                    </a:cubicBezTo>
                    <a:cubicBezTo>
                      <a:pt x="50006" y="231986"/>
                      <a:pt x="69088" y="232214"/>
                      <a:pt x="88106" y="233573"/>
                    </a:cubicBezTo>
                    <a:cubicBezTo>
                      <a:pt x="91370" y="233806"/>
                      <a:pt x="94362" y="235792"/>
                      <a:pt x="97631" y="235955"/>
                    </a:cubicBezTo>
                    <a:cubicBezTo>
                      <a:pt x="126181" y="237383"/>
                      <a:pt x="154781" y="237542"/>
                      <a:pt x="183356" y="238336"/>
                    </a:cubicBezTo>
                    <a:cubicBezTo>
                      <a:pt x="188119" y="239923"/>
                      <a:pt x="193467" y="240313"/>
                      <a:pt x="197644" y="243098"/>
                    </a:cubicBezTo>
                    <a:cubicBezTo>
                      <a:pt x="200025" y="244686"/>
                      <a:pt x="202173" y="246699"/>
                      <a:pt x="204788" y="247861"/>
                    </a:cubicBezTo>
                    <a:cubicBezTo>
                      <a:pt x="209375" y="249900"/>
                      <a:pt x="219075" y="252623"/>
                      <a:pt x="219075" y="252623"/>
                    </a:cubicBezTo>
                    <a:cubicBezTo>
                      <a:pt x="221456" y="255004"/>
                      <a:pt x="224063" y="257180"/>
                      <a:pt x="226219" y="259767"/>
                    </a:cubicBezTo>
                    <a:cubicBezTo>
                      <a:pt x="233461" y="268458"/>
                      <a:pt x="228237" y="266364"/>
                      <a:pt x="238125" y="274055"/>
                    </a:cubicBezTo>
                    <a:cubicBezTo>
                      <a:pt x="242643" y="277569"/>
                      <a:pt x="252413" y="283580"/>
                      <a:pt x="252413" y="283580"/>
                    </a:cubicBezTo>
                    <a:cubicBezTo>
                      <a:pt x="257969" y="282786"/>
                      <a:pt x="263612" y="282460"/>
                      <a:pt x="269081" y="281198"/>
                    </a:cubicBezTo>
                    <a:cubicBezTo>
                      <a:pt x="273973" y="280069"/>
                      <a:pt x="283369" y="276436"/>
                      <a:pt x="283369" y="276436"/>
                    </a:cubicBezTo>
                    <a:cubicBezTo>
                      <a:pt x="284163" y="274055"/>
                      <a:pt x="284627" y="271537"/>
                      <a:pt x="285750" y="269292"/>
                    </a:cubicBezTo>
                    <a:cubicBezTo>
                      <a:pt x="287030" y="266732"/>
                      <a:pt x="290254" y="264998"/>
                      <a:pt x="290513" y="262148"/>
                    </a:cubicBezTo>
                    <a:cubicBezTo>
                      <a:pt x="292133" y="244323"/>
                      <a:pt x="288463" y="247712"/>
                      <a:pt x="285750" y="235955"/>
                    </a:cubicBezTo>
                    <a:cubicBezTo>
                      <a:pt x="283930" y="228067"/>
                      <a:pt x="282133" y="220155"/>
                      <a:pt x="280988" y="212142"/>
                    </a:cubicBezTo>
                    <a:cubicBezTo>
                      <a:pt x="280194" y="206586"/>
                      <a:pt x="279707" y="200977"/>
                      <a:pt x="278606" y="195473"/>
                    </a:cubicBezTo>
                    <a:cubicBezTo>
                      <a:pt x="276810" y="186492"/>
                      <a:pt x="272156" y="182227"/>
                      <a:pt x="266700" y="174042"/>
                    </a:cubicBezTo>
                    <a:lnTo>
                      <a:pt x="261938" y="166898"/>
                    </a:lnTo>
                    <a:cubicBezTo>
                      <a:pt x="262732" y="162136"/>
                      <a:pt x="263148" y="157295"/>
                      <a:pt x="264319" y="152611"/>
                    </a:cubicBezTo>
                    <a:cubicBezTo>
                      <a:pt x="265286" y="148742"/>
                      <a:pt x="272686" y="124431"/>
                      <a:pt x="278606" y="124036"/>
                    </a:cubicBezTo>
                    <a:lnTo>
                      <a:pt x="314325" y="121655"/>
                    </a:lnTo>
                    <a:cubicBezTo>
                      <a:pt x="318294" y="120861"/>
                      <a:pt x="322305" y="120255"/>
                      <a:pt x="326231" y="119273"/>
                    </a:cubicBezTo>
                    <a:cubicBezTo>
                      <a:pt x="328666" y="118664"/>
                      <a:pt x="330940" y="117501"/>
                      <a:pt x="333375" y="116892"/>
                    </a:cubicBezTo>
                    <a:cubicBezTo>
                      <a:pt x="337301" y="115910"/>
                      <a:pt x="341312" y="115305"/>
                      <a:pt x="345281" y="114511"/>
                    </a:cubicBezTo>
                    <a:cubicBezTo>
                      <a:pt x="344487" y="110542"/>
                      <a:pt x="344321" y="106395"/>
                      <a:pt x="342900" y="102605"/>
                    </a:cubicBezTo>
                    <a:cubicBezTo>
                      <a:pt x="341895" y="99925"/>
                      <a:pt x="338397" y="98311"/>
                      <a:pt x="338138" y="95461"/>
                    </a:cubicBezTo>
                    <a:cubicBezTo>
                      <a:pt x="335981" y="71733"/>
                      <a:pt x="339550" y="47545"/>
                      <a:pt x="335756" y="24023"/>
                    </a:cubicBezTo>
                    <a:cubicBezTo>
                      <a:pt x="335235" y="20792"/>
                      <a:pt x="329440" y="22284"/>
                      <a:pt x="326231" y="21642"/>
                    </a:cubicBezTo>
                    <a:cubicBezTo>
                      <a:pt x="308155" y="18027"/>
                      <a:pt x="289775" y="16330"/>
                      <a:pt x="271463" y="14498"/>
                    </a:cubicBezTo>
                    <a:cubicBezTo>
                      <a:pt x="268288" y="13704"/>
                      <a:pt x="265085" y="13016"/>
                      <a:pt x="261938" y="12117"/>
                    </a:cubicBezTo>
                    <a:cubicBezTo>
                      <a:pt x="259524" y="11427"/>
                      <a:pt x="257304" y="9736"/>
                      <a:pt x="254794" y="9736"/>
                    </a:cubicBezTo>
                    <a:cubicBezTo>
                      <a:pt x="245236" y="9736"/>
                      <a:pt x="235744" y="11323"/>
                      <a:pt x="226219" y="12117"/>
                    </a:cubicBezTo>
                    <a:cubicBezTo>
                      <a:pt x="207351" y="18407"/>
                      <a:pt x="216883" y="17706"/>
                      <a:pt x="197644" y="14498"/>
                    </a:cubicBezTo>
                    <a:cubicBezTo>
                      <a:pt x="192258" y="6421"/>
                      <a:pt x="198835" y="1005"/>
                      <a:pt x="195263" y="21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8" name="Freeform 197"/>
              <p:cNvSpPr/>
              <p:nvPr/>
            </p:nvSpPr>
            <p:spPr>
              <a:xfrm>
                <a:off x="3196273" y="4627448"/>
                <a:ext cx="105523" cy="97632"/>
              </a:xfrm>
              <a:custGeom>
                <a:avLst/>
                <a:gdLst>
                  <a:gd name="connsiteX0" fmla="*/ 7188 w 105523"/>
                  <a:gd name="connsiteY0" fmla="*/ 54769 h 97632"/>
                  <a:gd name="connsiteX1" fmla="*/ 14332 w 105523"/>
                  <a:gd name="connsiteY1" fmla="*/ 80963 h 97632"/>
                  <a:gd name="connsiteX2" fmla="*/ 19094 w 105523"/>
                  <a:gd name="connsiteY2" fmla="*/ 88107 h 97632"/>
                  <a:gd name="connsiteX3" fmla="*/ 26238 w 105523"/>
                  <a:gd name="connsiteY3" fmla="*/ 92869 h 97632"/>
                  <a:gd name="connsiteX4" fmla="*/ 40525 w 105523"/>
                  <a:gd name="connsiteY4" fmla="*/ 97632 h 97632"/>
                  <a:gd name="connsiteX5" fmla="*/ 64338 w 105523"/>
                  <a:gd name="connsiteY5" fmla="*/ 95250 h 97632"/>
                  <a:gd name="connsiteX6" fmla="*/ 71482 w 105523"/>
                  <a:gd name="connsiteY6" fmla="*/ 92869 h 97632"/>
                  <a:gd name="connsiteX7" fmla="*/ 85769 w 105523"/>
                  <a:gd name="connsiteY7" fmla="*/ 78582 h 97632"/>
                  <a:gd name="connsiteX8" fmla="*/ 92913 w 105523"/>
                  <a:gd name="connsiteY8" fmla="*/ 57150 h 97632"/>
                  <a:gd name="connsiteX9" fmla="*/ 95294 w 105523"/>
                  <a:gd name="connsiteY9" fmla="*/ 50007 h 97632"/>
                  <a:gd name="connsiteX10" fmla="*/ 102438 w 105523"/>
                  <a:gd name="connsiteY10" fmla="*/ 42863 h 97632"/>
                  <a:gd name="connsiteX11" fmla="*/ 102438 w 105523"/>
                  <a:gd name="connsiteY11" fmla="*/ 19050 h 97632"/>
                  <a:gd name="connsiteX12" fmla="*/ 95294 w 105523"/>
                  <a:gd name="connsiteY12" fmla="*/ 11907 h 97632"/>
                  <a:gd name="connsiteX13" fmla="*/ 71482 w 105523"/>
                  <a:gd name="connsiteY13" fmla="*/ 14288 h 97632"/>
                  <a:gd name="connsiteX14" fmla="*/ 57194 w 105523"/>
                  <a:gd name="connsiteY14" fmla="*/ 19050 h 97632"/>
                  <a:gd name="connsiteX15" fmla="*/ 35763 w 105523"/>
                  <a:gd name="connsiteY15" fmla="*/ 16669 h 97632"/>
                  <a:gd name="connsiteX16" fmla="*/ 28619 w 105523"/>
                  <a:gd name="connsiteY16" fmla="*/ 14288 h 97632"/>
                  <a:gd name="connsiteX17" fmla="*/ 26238 w 105523"/>
                  <a:gd name="connsiteY17" fmla="*/ 7144 h 97632"/>
                  <a:gd name="connsiteX18" fmla="*/ 11950 w 105523"/>
                  <a:gd name="connsiteY18" fmla="*/ 0 h 97632"/>
                  <a:gd name="connsiteX19" fmla="*/ 44 w 105523"/>
                  <a:gd name="connsiteY19" fmla="*/ 19050 h 97632"/>
                  <a:gd name="connsiteX20" fmla="*/ 7188 w 105523"/>
                  <a:gd name="connsiteY20" fmla="*/ 54769 h 9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523" h="97632">
                    <a:moveTo>
                      <a:pt x="7188" y="54769"/>
                    </a:moveTo>
                    <a:cubicBezTo>
                      <a:pt x="9569" y="65088"/>
                      <a:pt x="10878" y="75781"/>
                      <a:pt x="14332" y="80963"/>
                    </a:cubicBezTo>
                    <a:cubicBezTo>
                      <a:pt x="15919" y="83344"/>
                      <a:pt x="17070" y="86083"/>
                      <a:pt x="19094" y="88107"/>
                    </a:cubicBezTo>
                    <a:cubicBezTo>
                      <a:pt x="21118" y="90131"/>
                      <a:pt x="23623" y="91707"/>
                      <a:pt x="26238" y="92869"/>
                    </a:cubicBezTo>
                    <a:cubicBezTo>
                      <a:pt x="30825" y="94908"/>
                      <a:pt x="40525" y="97632"/>
                      <a:pt x="40525" y="97632"/>
                    </a:cubicBezTo>
                    <a:cubicBezTo>
                      <a:pt x="48463" y="96838"/>
                      <a:pt x="56453" y="96463"/>
                      <a:pt x="64338" y="95250"/>
                    </a:cubicBezTo>
                    <a:cubicBezTo>
                      <a:pt x="66819" y="94868"/>
                      <a:pt x="69501" y="94410"/>
                      <a:pt x="71482" y="92869"/>
                    </a:cubicBezTo>
                    <a:cubicBezTo>
                      <a:pt x="76798" y="88734"/>
                      <a:pt x="85769" y="78582"/>
                      <a:pt x="85769" y="78582"/>
                    </a:cubicBezTo>
                    <a:lnTo>
                      <a:pt x="92913" y="57150"/>
                    </a:lnTo>
                    <a:cubicBezTo>
                      <a:pt x="93707" y="54769"/>
                      <a:pt x="93519" y="51782"/>
                      <a:pt x="95294" y="50007"/>
                    </a:cubicBezTo>
                    <a:lnTo>
                      <a:pt x="102438" y="42863"/>
                    </a:lnTo>
                    <a:cubicBezTo>
                      <a:pt x="105592" y="33398"/>
                      <a:pt x="107413" y="31487"/>
                      <a:pt x="102438" y="19050"/>
                    </a:cubicBezTo>
                    <a:cubicBezTo>
                      <a:pt x="101187" y="15923"/>
                      <a:pt x="97675" y="14288"/>
                      <a:pt x="95294" y="11907"/>
                    </a:cubicBezTo>
                    <a:cubicBezTo>
                      <a:pt x="87357" y="12701"/>
                      <a:pt x="79322" y="12818"/>
                      <a:pt x="71482" y="14288"/>
                    </a:cubicBezTo>
                    <a:cubicBezTo>
                      <a:pt x="66548" y="15213"/>
                      <a:pt x="57194" y="19050"/>
                      <a:pt x="57194" y="19050"/>
                    </a:cubicBezTo>
                    <a:cubicBezTo>
                      <a:pt x="50050" y="18256"/>
                      <a:pt x="42853" y="17851"/>
                      <a:pt x="35763" y="16669"/>
                    </a:cubicBezTo>
                    <a:cubicBezTo>
                      <a:pt x="33287" y="16256"/>
                      <a:pt x="30394" y="16063"/>
                      <a:pt x="28619" y="14288"/>
                    </a:cubicBezTo>
                    <a:cubicBezTo>
                      <a:pt x="26844" y="12513"/>
                      <a:pt x="27806" y="9104"/>
                      <a:pt x="26238" y="7144"/>
                    </a:cubicBezTo>
                    <a:cubicBezTo>
                      <a:pt x="22882" y="2949"/>
                      <a:pt x="16654" y="1569"/>
                      <a:pt x="11950" y="0"/>
                    </a:cubicBezTo>
                    <a:cubicBezTo>
                      <a:pt x="-3494" y="3862"/>
                      <a:pt x="3700" y="-1061"/>
                      <a:pt x="44" y="19050"/>
                    </a:cubicBezTo>
                    <a:cubicBezTo>
                      <a:pt x="-541" y="22270"/>
                      <a:pt x="4807" y="44450"/>
                      <a:pt x="7188" y="547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199" name="Freeform 198"/>
              <p:cNvSpPr/>
              <p:nvPr/>
            </p:nvSpPr>
            <p:spPr>
              <a:xfrm>
                <a:off x="3120072" y="4615542"/>
                <a:ext cx="629564" cy="481013"/>
              </a:xfrm>
              <a:custGeom>
                <a:avLst/>
                <a:gdLst>
                  <a:gd name="connsiteX0" fmla="*/ 31001 w 629564"/>
                  <a:gd name="connsiteY0" fmla="*/ 276225 h 481013"/>
                  <a:gd name="connsiteX1" fmla="*/ 21476 w 629564"/>
                  <a:gd name="connsiteY1" fmla="*/ 288131 h 481013"/>
                  <a:gd name="connsiteX2" fmla="*/ 16714 w 629564"/>
                  <a:gd name="connsiteY2" fmla="*/ 302419 h 481013"/>
                  <a:gd name="connsiteX3" fmla="*/ 14333 w 629564"/>
                  <a:gd name="connsiteY3" fmla="*/ 309563 h 481013"/>
                  <a:gd name="connsiteX4" fmla="*/ 2426 w 629564"/>
                  <a:gd name="connsiteY4" fmla="*/ 323850 h 481013"/>
                  <a:gd name="connsiteX5" fmla="*/ 45 w 629564"/>
                  <a:gd name="connsiteY5" fmla="*/ 335756 h 481013"/>
                  <a:gd name="connsiteX6" fmla="*/ 11951 w 629564"/>
                  <a:gd name="connsiteY6" fmla="*/ 354806 h 481013"/>
                  <a:gd name="connsiteX7" fmla="*/ 19095 w 629564"/>
                  <a:gd name="connsiteY7" fmla="*/ 361950 h 481013"/>
                  <a:gd name="connsiteX8" fmla="*/ 26239 w 629564"/>
                  <a:gd name="connsiteY8" fmla="*/ 366713 h 481013"/>
                  <a:gd name="connsiteX9" fmla="*/ 40526 w 629564"/>
                  <a:gd name="connsiteY9" fmla="*/ 376238 h 481013"/>
                  <a:gd name="connsiteX10" fmla="*/ 100058 w 629564"/>
                  <a:gd name="connsiteY10" fmla="*/ 376238 h 481013"/>
                  <a:gd name="connsiteX11" fmla="*/ 114345 w 629564"/>
                  <a:gd name="connsiteY11" fmla="*/ 381000 h 481013"/>
                  <a:gd name="connsiteX12" fmla="*/ 121489 w 629564"/>
                  <a:gd name="connsiteY12" fmla="*/ 383381 h 481013"/>
                  <a:gd name="connsiteX13" fmla="*/ 128633 w 629564"/>
                  <a:gd name="connsiteY13" fmla="*/ 385763 h 481013"/>
                  <a:gd name="connsiteX14" fmla="*/ 242933 w 629564"/>
                  <a:gd name="connsiteY14" fmla="*/ 385763 h 481013"/>
                  <a:gd name="connsiteX15" fmla="*/ 259601 w 629564"/>
                  <a:gd name="connsiteY15" fmla="*/ 392906 h 481013"/>
                  <a:gd name="connsiteX16" fmla="*/ 273889 w 629564"/>
                  <a:gd name="connsiteY16" fmla="*/ 397669 h 481013"/>
                  <a:gd name="connsiteX17" fmla="*/ 288176 w 629564"/>
                  <a:gd name="connsiteY17" fmla="*/ 402431 h 481013"/>
                  <a:gd name="connsiteX18" fmla="*/ 295320 w 629564"/>
                  <a:gd name="connsiteY18" fmla="*/ 404813 h 481013"/>
                  <a:gd name="connsiteX19" fmla="*/ 302464 w 629564"/>
                  <a:gd name="connsiteY19" fmla="*/ 407194 h 481013"/>
                  <a:gd name="connsiteX20" fmla="*/ 309608 w 629564"/>
                  <a:gd name="connsiteY20" fmla="*/ 411956 h 481013"/>
                  <a:gd name="connsiteX21" fmla="*/ 316751 w 629564"/>
                  <a:gd name="connsiteY21" fmla="*/ 419100 h 481013"/>
                  <a:gd name="connsiteX22" fmla="*/ 331039 w 629564"/>
                  <a:gd name="connsiteY22" fmla="*/ 428625 h 481013"/>
                  <a:gd name="connsiteX23" fmla="*/ 335801 w 629564"/>
                  <a:gd name="connsiteY23" fmla="*/ 435769 h 481013"/>
                  <a:gd name="connsiteX24" fmla="*/ 357233 w 629564"/>
                  <a:gd name="connsiteY24" fmla="*/ 447675 h 481013"/>
                  <a:gd name="connsiteX25" fmla="*/ 371520 w 629564"/>
                  <a:gd name="connsiteY25" fmla="*/ 457200 h 481013"/>
                  <a:gd name="connsiteX26" fmla="*/ 385808 w 629564"/>
                  <a:gd name="connsiteY26" fmla="*/ 461963 h 481013"/>
                  <a:gd name="connsiteX27" fmla="*/ 392951 w 629564"/>
                  <a:gd name="connsiteY27" fmla="*/ 464344 h 481013"/>
                  <a:gd name="connsiteX28" fmla="*/ 400095 w 629564"/>
                  <a:gd name="connsiteY28" fmla="*/ 469106 h 481013"/>
                  <a:gd name="connsiteX29" fmla="*/ 412001 w 629564"/>
                  <a:gd name="connsiteY29" fmla="*/ 471488 h 481013"/>
                  <a:gd name="connsiteX30" fmla="*/ 452483 w 629564"/>
                  <a:gd name="connsiteY30" fmla="*/ 473869 h 481013"/>
                  <a:gd name="connsiteX31" fmla="*/ 459626 w 629564"/>
                  <a:gd name="connsiteY31" fmla="*/ 476250 h 481013"/>
                  <a:gd name="connsiteX32" fmla="*/ 488201 w 629564"/>
                  <a:gd name="connsiteY32" fmla="*/ 481013 h 481013"/>
                  <a:gd name="connsiteX33" fmla="*/ 507251 w 629564"/>
                  <a:gd name="connsiteY33" fmla="*/ 478631 h 481013"/>
                  <a:gd name="connsiteX34" fmla="*/ 521539 w 629564"/>
                  <a:gd name="connsiteY34" fmla="*/ 473869 h 481013"/>
                  <a:gd name="connsiteX35" fmla="*/ 528683 w 629564"/>
                  <a:gd name="connsiteY35" fmla="*/ 471488 h 481013"/>
                  <a:gd name="connsiteX36" fmla="*/ 540589 w 629564"/>
                  <a:gd name="connsiteY36" fmla="*/ 469106 h 481013"/>
                  <a:gd name="connsiteX37" fmla="*/ 554876 w 629564"/>
                  <a:gd name="connsiteY37" fmla="*/ 464344 h 481013"/>
                  <a:gd name="connsiteX38" fmla="*/ 562020 w 629564"/>
                  <a:gd name="connsiteY38" fmla="*/ 461963 h 481013"/>
                  <a:gd name="connsiteX39" fmla="*/ 576308 w 629564"/>
                  <a:gd name="connsiteY39" fmla="*/ 454819 h 481013"/>
                  <a:gd name="connsiteX40" fmla="*/ 583451 w 629564"/>
                  <a:gd name="connsiteY40" fmla="*/ 450056 h 481013"/>
                  <a:gd name="connsiteX41" fmla="*/ 597739 w 629564"/>
                  <a:gd name="connsiteY41" fmla="*/ 445294 h 481013"/>
                  <a:gd name="connsiteX42" fmla="*/ 604883 w 629564"/>
                  <a:gd name="connsiteY42" fmla="*/ 442913 h 481013"/>
                  <a:gd name="connsiteX43" fmla="*/ 612026 w 629564"/>
                  <a:gd name="connsiteY43" fmla="*/ 440531 h 481013"/>
                  <a:gd name="connsiteX44" fmla="*/ 609645 w 629564"/>
                  <a:gd name="connsiteY44" fmla="*/ 419100 h 481013"/>
                  <a:gd name="connsiteX45" fmla="*/ 604883 w 629564"/>
                  <a:gd name="connsiteY45" fmla="*/ 411956 h 481013"/>
                  <a:gd name="connsiteX46" fmla="*/ 597739 w 629564"/>
                  <a:gd name="connsiteY46" fmla="*/ 390525 h 481013"/>
                  <a:gd name="connsiteX47" fmla="*/ 592976 w 629564"/>
                  <a:gd name="connsiteY47" fmla="*/ 376238 h 481013"/>
                  <a:gd name="connsiteX48" fmla="*/ 590595 w 629564"/>
                  <a:gd name="connsiteY48" fmla="*/ 369094 h 481013"/>
                  <a:gd name="connsiteX49" fmla="*/ 583451 w 629564"/>
                  <a:gd name="connsiteY49" fmla="*/ 364331 h 481013"/>
                  <a:gd name="connsiteX50" fmla="*/ 578689 w 629564"/>
                  <a:gd name="connsiteY50" fmla="*/ 357188 h 481013"/>
                  <a:gd name="connsiteX51" fmla="*/ 566783 w 629564"/>
                  <a:gd name="connsiteY51" fmla="*/ 354806 h 481013"/>
                  <a:gd name="connsiteX52" fmla="*/ 557258 w 629564"/>
                  <a:gd name="connsiteY52" fmla="*/ 352425 h 481013"/>
                  <a:gd name="connsiteX53" fmla="*/ 552495 w 629564"/>
                  <a:gd name="connsiteY53" fmla="*/ 345281 h 481013"/>
                  <a:gd name="connsiteX54" fmla="*/ 552495 w 629564"/>
                  <a:gd name="connsiteY54" fmla="*/ 316706 h 481013"/>
                  <a:gd name="connsiteX55" fmla="*/ 562020 w 629564"/>
                  <a:gd name="connsiteY55" fmla="*/ 314325 h 481013"/>
                  <a:gd name="connsiteX56" fmla="*/ 581070 w 629564"/>
                  <a:gd name="connsiteY56" fmla="*/ 309563 h 481013"/>
                  <a:gd name="connsiteX57" fmla="*/ 588214 w 629564"/>
                  <a:gd name="connsiteY57" fmla="*/ 304800 h 481013"/>
                  <a:gd name="connsiteX58" fmla="*/ 602501 w 629564"/>
                  <a:gd name="connsiteY58" fmla="*/ 292894 h 481013"/>
                  <a:gd name="connsiteX59" fmla="*/ 619170 w 629564"/>
                  <a:gd name="connsiteY59" fmla="*/ 288131 h 481013"/>
                  <a:gd name="connsiteX60" fmla="*/ 623933 w 629564"/>
                  <a:gd name="connsiteY60" fmla="*/ 235744 h 481013"/>
                  <a:gd name="connsiteX61" fmla="*/ 621551 w 629564"/>
                  <a:gd name="connsiteY61" fmla="*/ 216694 h 481013"/>
                  <a:gd name="connsiteX62" fmla="*/ 614408 w 629564"/>
                  <a:gd name="connsiteY62" fmla="*/ 211931 h 481013"/>
                  <a:gd name="connsiteX63" fmla="*/ 573926 w 629564"/>
                  <a:gd name="connsiteY63" fmla="*/ 204788 h 481013"/>
                  <a:gd name="connsiteX64" fmla="*/ 566783 w 629564"/>
                  <a:gd name="connsiteY64" fmla="*/ 200025 h 481013"/>
                  <a:gd name="connsiteX65" fmla="*/ 562020 w 629564"/>
                  <a:gd name="connsiteY65" fmla="*/ 183356 h 481013"/>
                  <a:gd name="connsiteX66" fmla="*/ 554876 w 629564"/>
                  <a:gd name="connsiteY66" fmla="*/ 145256 h 481013"/>
                  <a:gd name="connsiteX67" fmla="*/ 545351 w 629564"/>
                  <a:gd name="connsiteY67" fmla="*/ 130969 h 481013"/>
                  <a:gd name="connsiteX68" fmla="*/ 540589 w 629564"/>
                  <a:gd name="connsiteY68" fmla="*/ 123825 h 481013"/>
                  <a:gd name="connsiteX69" fmla="*/ 531064 w 629564"/>
                  <a:gd name="connsiteY69" fmla="*/ 109538 h 481013"/>
                  <a:gd name="connsiteX70" fmla="*/ 519158 w 629564"/>
                  <a:gd name="connsiteY70" fmla="*/ 90488 h 481013"/>
                  <a:gd name="connsiteX71" fmla="*/ 497726 w 629564"/>
                  <a:gd name="connsiteY71" fmla="*/ 73819 h 481013"/>
                  <a:gd name="connsiteX72" fmla="*/ 476295 w 629564"/>
                  <a:gd name="connsiteY72" fmla="*/ 76200 h 481013"/>
                  <a:gd name="connsiteX73" fmla="*/ 469151 w 629564"/>
                  <a:gd name="connsiteY73" fmla="*/ 78581 h 481013"/>
                  <a:gd name="connsiteX74" fmla="*/ 462008 w 629564"/>
                  <a:gd name="connsiteY74" fmla="*/ 85725 h 481013"/>
                  <a:gd name="connsiteX75" fmla="*/ 459626 w 629564"/>
                  <a:gd name="connsiteY75" fmla="*/ 92869 h 481013"/>
                  <a:gd name="connsiteX76" fmla="*/ 419145 w 629564"/>
                  <a:gd name="connsiteY76" fmla="*/ 85725 h 481013"/>
                  <a:gd name="connsiteX77" fmla="*/ 414383 w 629564"/>
                  <a:gd name="connsiteY77" fmla="*/ 78581 h 481013"/>
                  <a:gd name="connsiteX78" fmla="*/ 407239 w 629564"/>
                  <a:gd name="connsiteY78" fmla="*/ 71438 h 481013"/>
                  <a:gd name="connsiteX79" fmla="*/ 404858 w 629564"/>
                  <a:gd name="connsiteY79" fmla="*/ 64294 h 481013"/>
                  <a:gd name="connsiteX80" fmla="*/ 390570 w 629564"/>
                  <a:gd name="connsiteY80" fmla="*/ 59531 h 481013"/>
                  <a:gd name="connsiteX81" fmla="*/ 364376 w 629564"/>
                  <a:gd name="connsiteY81" fmla="*/ 64294 h 481013"/>
                  <a:gd name="connsiteX82" fmla="*/ 357233 w 629564"/>
                  <a:gd name="connsiteY82" fmla="*/ 71438 h 481013"/>
                  <a:gd name="connsiteX83" fmla="*/ 342945 w 629564"/>
                  <a:gd name="connsiteY83" fmla="*/ 78581 h 481013"/>
                  <a:gd name="connsiteX84" fmla="*/ 331039 w 629564"/>
                  <a:gd name="connsiteY84" fmla="*/ 76200 h 481013"/>
                  <a:gd name="connsiteX85" fmla="*/ 316751 w 629564"/>
                  <a:gd name="connsiteY85" fmla="*/ 64294 h 481013"/>
                  <a:gd name="connsiteX86" fmla="*/ 309608 w 629564"/>
                  <a:gd name="connsiteY86" fmla="*/ 61913 h 481013"/>
                  <a:gd name="connsiteX87" fmla="*/ 290558 w 629564"/>
                  <a:gd name="connsiteY87" fmla="*/ 40481 h 481013"/>
                  <a:gd name="connsiteX88" fmla="*/ 281033 w 629564"/>
                  <a:gd name="connsiteY88" fmla="*/ 26194 h 481013"/>
                  <a:gd name="connsiteX89" fmla="*/ 276270 w 629564"/>
                  <a:gd name="connsiteY89" fmla="*/ 19050 h 481013"/>
                  <a:gd name="connsiteX90" fmla="*/ 254839 w 629564"/>
                  <a:gd name="connsiteY90" fmla="*/ 4763 h 481013"/>
                  <a:gd name="connsiteX91" fmla="*/ 247695 w 629564"/>
                  <a:gd name="connsiteY91" fmla="*/ 0 h 481013"/>
                  <a:gd name="connsiteX92" fmla="*/ 157208 w 629564"/>
                  <a:gd name="connsiteY92" fmla="*/ 2381 h 481013"/>
                  <a:gd name="connsiteX93" fmla="*/ 154826 w 629564"/>
                  <a:gd name="connsiteY93" fmla="*/ 9525 h 481013"/>
                  <a:gd name="connsiteX94" fmla="*/ 157208 w 629564"/>
                  <a:gd name="connsiteY94" fmla="*/ 19050 h 481013"/>
                  <a:gd name="connsiteX95" fmla="*/ 173876 w 629564"/>
                  <a:gd name="connsiteY95" fmla="*/ 28575 h 481013"/>
                  <a:gd name="connsiteX96" fmla="*/ 176258 w 629564"/>
                  <a:gd name="connsiteY96" fmla="*/ 57150 h 481013"/>
                  <a:gd name="connsiteX97" fmla="*/ 169114 w 629564"/>
                  <a:gd name="connsiteY97" fmla="*/ 61913 h 481013"/>
                  <a:gd name="connsiteX98" fmla="*/ 161970 w 629564"/>
                  <a:gd name="connsiteY98" fmla="*/ 76200 h 481013"/>
                  <a:gd name="connsiteX99" fmla="*/ 150064 w 629564"/>
                  <a:gd name="connsiteY99" fmla="*/ 97631 h 481013"/>
                  <a:gd name="connsiteX100" fmla="*/ 138158 w 629564"/>
                  <a:gd name="connsiteY100" fmla="*/ 109538 h 481013"/>
                  <a:gd name="connsiteX101" fmla="*/ 73864 w 629564"/>
                  <a:gd name="connsiteY101" fmla="*/ 111919 h 481013"/>
                  <a:gd name="connsiteX102" fmla="*/ 66720 w 629564"/>
                  <a:gd name="connsiteY102" fmla="*/ 114300 h 481013"/>
                  <a:gd name="connsiteX103" fmla="*/ 23858 w 629564"/>
                  <a:gd name="connsiteY103" fmla="*/ 119063 h 481013"/>
                  <a:gd name="connsiteX104" fmla="*/ 9570 w 629564"/>
                  <a:gd name="connsiteY104" fmla="*/ 128588 h 481013"/>
                  <a:gd name="connsiteX105" fmla="*/ 4808 w 629564"/>
                  <a:gd name="connsiteY105" fmla="*/ 147638 h 481013"/>
                  <a:gd name="connsiteX106" fmla="*/ 2426 w 629564"/>
                  <a:gd name="connsiteY106" fmla="*/ 157163 h 481013"/>
                  <a:gd name="connsiteX107" fmla="*/ 4808 w 629564"/>
                  <a:gd name="connsiteY107" fmla="*/ 171450 h 481013"/>
                  <a:gd name="connsiteX108" fmla="*/ 19095 w 629564"/>
                  <a:gd name="connsiteY108" fmla="*/ 185738 h 481013"/>
                  <a:gd name="connsiteX109" fmla="*/ 23858 w 629564"/>
                  <a:gd name="connsiteY109" fmla="*/ 192881 h 481013"/>
                  <a:gd name="connsiteX110" fmla="*/ 28620 w 629564"/>
                  <a:gd name="connsiteY110" fmla="*/ 216694 h 481013"/>
                  <a:gd name="connsiteX111" fmla="*/ 33383 w 629564"/>
                  <a:gd name="connsiteY111" fmla="*/ 238125 h 481013"/>
                  <a:gd name="connsiteX112" fmla="*/ 35764 w 629564"/>
                  <a:gd name="connsiteY112" fmla="*/ 245269 h 481013"/>
                  <a:gd name="connsiteX113" fmla="*/ 31001 w 629564"/>
                  <a:gd name="connsiteY113" fmla="*/ 276225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29564" h="481013">
                    <a:moveTo>
                      <a:pt x="31001" y="276225"/>
                    </a:moveTo>
                    <a:cubicBezTo>
                      <a:pt x="28620" y="283369"/>
                      <a:pt x="23910" y="283669"/>
                      <a:pt x="21476" y="288131"/>
                    </a:cubicBezTo>
                    <a:cubicBezTo>
                      <a:pt x="19072" y="292538"/>
                      <a:pt x="18301" y="297656"/>
                      <a:pt x="16714" y="302419"/>
                    </a:cubicBezTo>
                    <a:cubicBezTo>
                      <a:pt x="15920" y="304800"/>
                      <a:pt x="16108" y="307788"/>
                      <a:pt x="14333" y="309563"/>
                    </a:cubicBezTo>
                    <a:cubicBezTo>
                      <a:pt x="5165" y="318730"/>
                      <a:pt x="9057" y="313904"/>
                      <a:pt x="2426" y="323850"/>
                    </a:cubicBezTo>
                    <a:cubicBezTo>
                      <a:pt x="1632" y="327819"/>
                      <a:pt x="-322" y="331725"/>
                      <a:pt x="45" y="335756"/>
                    </a:cubicBezTo>
                    <a:cubicBezTo>
                      <a:pt x="1579" y="352624"/>
                      <a:pt x="2987" y="347336"/>
                      <a:pt x="11951" y="354806"/>
                    </a:cubicBezTo>
                    <a:cubicBezTo>
                      <a:pt x="14538" y="356962"/>
                      <a:pt x="16508" y="359794"/>
                      <a:pt x="19095" y="361950"/>
                    </a:cubicBezTo>
                    <a:cubicBezTo>
                      <a:pt x="21294" y="363782"/>
                      <a:pt x="24040" y="364881"/>
                      <a:pt x="26239" y="366713"/>
                    </a:cubicBezTo>
                    <a:cubicBezTo>
                      <a:pt x="38130" y="376622"/>
                      <a:pt x="27973" y="372052"/>
                      <a:pt x="40526" y="376238"/>
                    </a:cubicBezTo>
                    <a:cubicBezTo>
                      <a:pt x="67018" y="373829"/>
                      <a:pt x="71695" y="371983"/>
                      <a:pt x="100058" y="376238"/>
                    </a:cubicBezTo>
                    <a:cubicBezTo>
                      <a:pt x="105022" y="376983"/>
                      <a:pt x="109583" y="379413"/>
                      <a:pt x="114345" y="381000"/>
                    </a:cubicBezTo>
                    <a:lnTo>
                      <a:pt x="121489" y="383381"/>
                    </a:lnTo>
                    <a:lnTo>
                      <a:pt x="128633" y="385763"/>
                    </a:lnTo>
                    <a:cubicBezTo>
                      <a:pt x="182463" y="382398"/>
                      <a:pt x="173251" y="381781"/>
                      <a:pt x="242933" y="385763"/>
                    </a:cubicBezTo>
                    <a:cubicBezTo>
                      <a:pt x="247403" y="386018"/>
                      <a:pt x="256375" y="391616"/>
                      <a:pt x="259601" y="392906"/>
                    </a:cubicBezTo>
                    <a:cubicBezTo>
                      <a:pt x="264262" y="394770"/>
                      <a:pt x="269126" y="396081"/>
                      <a:pt x="273889" y="397669"/>
                    </a:cubicBezTo>
                    <a:lnTo>
                      <a:pt x="288176" y="402431"/>
                    </a:lnTo>
                    <a:lnTo>
                      <a:pt x="295320" y="404813"/>
                    </a:lnTo>
                    <a:cubicBezTo>
                      <a:pt x="297701" y="405607"/>
                      <a:pt x="300375" y="405802"/>
                      <a:pt x="302464" y="407194"/>
                    </a:cubicBezTo>
                    <a:cubicBezTo>
                      <a:pt x="304845" y="408781"/>
                      <a:pt x="307409" y="410124"/>
                      <a:pt x="309608" y="411956"/>
                    </a:cubicBezTo>
                    <a:cubicBezTo>
                      <a:pt x="312195" y="414112"/>
                      <a:pt x="314093" y="417033"/>
                      <a:pt x="316751" y="419100"/>
                    </a:cubicBezTo>
                    <a:cubicBezTo>
                      <a:pt x="321269" y="422614"/>
                      <a:pt x="331039" y="428625"/>
                      <a:pt x="331039" y="428625"/>
                    </a:cubicBezTo>
                    <a:cubicBezTo>
                      <a:pt x="332626" y="431006"/>
                      <a:pt x="333647" y="433884"/>
                      <a:pt x="335801" y="435769"/>
                    </a:cubicBezTo>
                    <a:cubicBezTo>
                      <a:pt x="345878" y="444587"/>
                      <a:pt x="347421" y="444405"/>
                      <a:pt x="357233" y="447675"/>
                    </a:cubicBezTo>
                    <a:cubicBezTo>
                      <a:pt x="361995" y="450850"/>
                      <a:pt x="366090" y="455390"/>
                      <a:pt x="371520" y="457200"/>
                    </a:cubicBezTo>
                    <a:lnTo>
                      <a:pt x="385808" y="461963"/>
                    </a:lnTo>
                    <a:cubicBezTo>
                      <a:pt x="388189" y="462757"/>
                      <a:pt x="390863" y="462952"/>
                      <a:pt x="392951" y="464344"/>
                    </a:cubicBezTo>
                    <a:cubicBezTo>
                      <a:pt x="395332" y="465931"/>
                      <a:pt x="397415" y="468101"/>
                      <a:pt x="400095" y="469106"/>
                    </a:cubicBezTo>
                    <a:cubicBezTo>
                      <a:pt x="403885" y="470527"/>
                      <a:pt x="407970" y="471122"/>
                      <a:pt x="412001" y="471488"/>
                    </a:cubicBezTo>
                    <a:cubicBezTo>
                      <a:pt x="425463" y="472712"/>
                      <a:pt x="438989" y="473075"/>
                      <a:pt x="452483" y="473869"/>
                    </a:cubicBezTo>
                    <a:cubicBezTo>
                      <a:pt x="454864" y="474663"/>
                      <a:pt x="457165" y="475758"/>
                      <a:pt x="459626" y="476250"/>
                    </a:cubicBezTo>
                    <a:cubicBezTo>
                      <a:pt x="469095" y="478144"/>
                      <a:pt x="488201" y="481013"/>
                      <a:pt x="488201" y="481013"/>
                    </a:cubicBezTo>
                    <a:cubicBezTo>
                      <a:pt x="494551" y="480219"/>
                      <a:pt x="500994" y="479972"/>
                      <a:pt x="507251" y="478631"/>
                    </a:cubicBezTo>
                    <a:cubicBezTo>
                      <a:pt x="512160" y="477579"/>
                      <a:pt x="516776" y="475456"/>
                      <a:pt x="521539" y="473869"/>
                    </a:cubicBezTo>
                    <a:cubicBezTo>
                      <a:pt x="523920" y="473075"/>
                      <a:pt x="526222" y="471980"/>
                      <a:pt x="528683" y="471488"/>
                    </a:cubicBezTo>
                    <a:cubicBezTo>
                      <a:pt x="532652" y="470694"/>
                      <a:pt x="536684" y="470171"/>
                      <a:pt x="540589" y="469106"/>
                    </a:cubicBezTo>
                    <a:cubicBezTo>
                      <a:pt x="545432" y="467785"/>
                      <a:pt x="550114" y="465931"/>
                      <a:pt x="554876" y="464344"/>
                    </a:cubicBezTo>
                    <a:lnTo>
                      <a:pt x="562020" y="461963"/>
                    </a:lnTo>
                    <a:cubicBezTo>
                      <a:pt x="582499" y="448309"/>
                      <a:pt x="556585" y="464681"/>
                      <a:pt x="576308" y="454819"/>
                    </a:cubicBezTo>
                    <a:cubicBezTo>
                      <a:pt x="578868" y="453539"/>
                      <a:pt x="580836" y="451218"/>
                      <a:pt x="583451" y="450056"/>
                    </a:cubicBezTo>
                    <a:cubicBezTo>
                      <a:pt x="588039" y="448017"/>
                      <a:pt x="592976" y="446881"/>
                      <a:pt x="597739" y="445294"/>
                    </a:cubicBezTo>
                    <a:lnTo>
                      <a:pt x="604883" y="442913"/>
                    </a:lnTo>
                    <a:lnTo>
                      <a:pt x="612026" y="440531"/>
                    </a:lnTo>
                    <a:cubicBezTo>
                      <a:pt x="611232" y="433387"/>
                      <a:pt x="611388" y="426073"/>
                      <a:pt x="609645" y="419100"/>
                    </a:cubicBezTo>
                    <a:cubicBezTo>
                      <a:pt x="608951" y="416324"/>
                      <a:pt x="606045" y="414571"/>
                      <a:pt x="604883" y="411956"/>
                    </a:cubicBezTo>
                    <a:cubicBezTo>
                      <a:pt x="604877" y="411942"/>
                      <a:pt x="598932" y="394104"/>
                      <a:pt x="597739" y="390525"/>
                    </a:cubicBezTo>
                    <a:lnTo>
                      <a:pt x="592976" y="376238"/>
                    </a:lnTo>
                    <a:cubicBezTo>
                      <a:pt x="592182" y="373857"/>
                      <a:pt x="592683" y="370486"/>
                      <a:pt x="590595" y="369094"/>
                    </a:cubicBezTo>
                    <a:lnTo>
                      <a:pt x="583451" y="364331"/>
                    </a:lnTo>
                    <a:cubicBezTo>
                      <a:pt x="581864" y="361950"/>
                      <a:pt x="581174" y="358608"/>
                      <a:pt x="578689" y="357188"/>
                    </a:cubicBezTo>
                    <a:cubicBezTo>
                      <a:pt x="575175" y="355180"/>
                      <a:pt x="570734" y="355684"/>
                      <a:pt x="566783" y="354806"/>
                    </a:cubicBezTo>
                    <a:cubicBezTo>
                      <a:pt x="563588" y="354096"/>
                      <a:pt x="560433" y="353219"/>
                      <a:pt x="557258" y="352425"/>
                    </a:cubicBezTo>
                    <a:cubicBezTo>
                      <a:pt x="555670" y="350044"/>
                      <a:pt x="553622" y="347912"/>
                      <a:pt x="552495" y="345281"/>
                    </a:cubicBezTo>
                    <a:cubicBezTo>
                      <a:pt x="549114" y="337392"/>
                      <a:pt x="548629" y="323665"/>
                      <a:pt x="552495" y="316706"/>
                    </a:cubicBezTo>
                    <a:cubicBezTo>
                      <a:pt x="554084" y="313845"/>
                      <a:pt x="558825" y="315035"/>
                      <a:pt x="562020" y="314325"/>
                    </a:cubicBezTo>
                    <a:cubicBezTo>
                      <a:pt x="579261" y="310494"/>
                      <a:pt x="568304" y="313818"/>
                      <a:pt x="581070" y="309563"/>
                    </a:cubicBezTo>
                    <a:cubicBezTo>
                      <a:pt x="583451" y="307975"/>
                      <a:pt x="586015" y="306632"/>
                      <a:pt x="588214" y="304800"/>
                    </a:cubicBezTo>
                    <a:cubicBezTo>
                      <a:pt x="596112" y="298219"/>
                      <a:pt x="593635" y="297327"/>
                      <a:pt x="602501" y="292894"/>
                    </a:cubicBezTo>
                    <a:cubicBezTo>
                      <a:pt x="605914" y="291188"/>
                      <a:pt x="616123" y="288893"/>
                      <a:pt x="619170" y="288131"/>
                    </a:cubicBezTo>
                    <a:cubicBezTo>
                      <a:pt x="636777" y="270526"/>
                      <a:pt x="627462" y="283380"/>
                      <a:pt x="623933" y="235744"/>
                    </a:cubicBezTo>
                    <a:cubicBezTo>
                      <a:pt x="623460" y="229362"/>
                      <a:pt x="623928" y="222636"/>
                      <a:pt x="621551" y="216694"/>
                    </a:cubicBezTo>
                    <a:cubicBezTo>
                      <a:pt x="620488" y="214037"/>
                      <a:pt x="617023" y="213093"/>
                      <a:pt x="614408" y="211931"/>
                    </a:cubicBezTo>
                    <a:cubicBezTo>
                      <a:pt x="598910" y="205043"/>
                      <a:pt x="592707" y="206495"/>
                      <a:pt x="573926" y="204788"/>
                    </a:cubicBezTo>
                    <a:cubicBezTo>
                      <a:pt x="571545" y="203200"/>
                      <a:pt x="568571" y="202260"/>
                      <a:pt x="566783" y="200025"/>
                    </a:cubicBezTo>
                    <a:cubicBezTo>
                      <a:pt x="565539" y="198470"/>
                      <a:pt x="562177" y="183982"/>
                      <a:pt x="562020" y="183356"/>
                    </a:cubicBezTo>
                    <a:cubicBezTo>
                      <a:pt x="561182" y="174975"/>
                      <a:pt x="560876" y="154256"/>
                      <a:pt x="554876" y="145256"/>
                    </a:cubicBezTo>
                    <a:lnTo>
                      <a:pt x="545351" y="130969"/>
                    </a:lnTo>
                    <a:cubicBezTo>
                      <a:pt x="543764" y="128588"/>
                      <a:pt x="541494" y="126540"/>
                      <a:pt x="540589" y="123825"/>
                    </a:cubicBezTo>
                    <a:cubicBezTo>
                      <a:pt x="537143" y="113486"/>
                      <a:pt x="539983" y="118456"/>
                      <a:pt x="531064" y="109538"/>
                    </a:cubicBezTo>
                    <a:cubicBezTo>
                      <a:pt x="523305" y="86263"/>
                      <a:pt x="531670" y="101610"/>
                      <a:pt x="519158" y="90488"/>
                    </a:cubicBezTo>
                    <a:cubicBezTo>
                      <a:pt x="499883" y="73355"/>
                      <a:pt x="512457" y="78729"/>
                      <a:pt x="497726" y="73819"/>
                    </a:cubicBezTo>
                    <a:cubicBezTo>
                      <a:pt x="490582" y="74613"/>
                      <a:pt x="483385" y="75018"/>
                      <a:pt x="476295" y="76200"/>
                    </a:cubicBezTo>
                    <a:cubicBezTo>
                      <a:pt x="473819" y="76613"/>
                      <a:pt x="471240" y="77189"/>
                      <a:pt x="469151" y="78581"/>
                    </a:cubicBezTo>
                    <a:cubicBezTo>
                      <a:pt x="466349" y="80449"/>
                      <a:pt x="464389" y="83344"/>
                      <a:pt x="462008" y="85725"/>
                    </a:cubicBezTo>
                    <a:cubicBezTo>
                      <a:pt x="461214" y="88106"/>
                      <a:pt x="462114" y="92537"/>
                      <a:pt x="459626" y="92869"/>
                    </a:cubicBezTo>
                    <a:cubicBezTo>
                      <a:pt x="432697" y="96460"/>
                      <a:pt x="433179" y="95081"/>
                      <a:pt x="419145" y="85725"/>
                    </a:cubicBezTo>
                    <a:cubicBezTo>
                      <a:pt x="417558" y="83344"/>
                      <a:pt x="416215" y="80780"/>
                      <a:pt x="414383" y="78581"/>
                    </a:cubicBezTo>
                    <a:cubicBezTo>
                      <a:pt x="412227" y="75994"/>
                      <a:pt x="409107" y="74240"/>
                      <a:pt x="407239" y="71438"/>
                    </a:cubicBezTo>
                    <a:cubicBezTo>
                      <a:pt x="405847" y="69349"/>
                      <a:pt x="406901" y="65753"/>
                      <a:pt x="404858" y="64294"/>
                    </a:cubicBezTo>
                    <a:cubicBezTo>
                      <a:pt x="400773" y="61376"/>
                      <a:pt x="390570" y="59531"/>
                      <a:pt x="390570" y="59531"/>
                    </a:cubicBezTo>
                    <a:cubicBezTo>
                      <a:pt x="389768" y="59631"/>
                      <a:pt x="369457" y="60907"/>
                      <a:pt x="364376" y="64294"/>
                    </a:cubicBezTo>
                    <a:cubicBezTo>
                      <a:pt x="361574" y="66162"/>
                      <a:pt x="359820" y="69282"/>
                      <a:pt x="357233" y="71438"/>
                    </a:cubicBezTo>
                    <a:cubicBezTo>
                      <a:pt x="351079" y="76566"/>
                      <a:pt x="350103" y="76195"/>
                      <a:pt x="342945" y="78581"/>
                    </a:cubicBezTo>
                    <a:cubicBezTo>
                      <a:pt x="338976" y="77787"/>
                      <a:pt x="334829" y="77621"/>
                      <a:pt x="331039" y="76200"/>
                    </a:cubicBezTo>
                    <a:cubicBezTo>
                      <a:pt x="322134" y="72861"/>
                      <a:pt x="324693" y="69589"/>
                      <a:pt x="316751" y="64294"/>
                    </a:cubicBezTo>
                    <a:cubicBezTo>
                      <a:pt x="314663" y="62902"/>
                      <a:pt x="311989" y="62707"/>
                      <a:pt x="309608" y="61913"/>
                    </a:cubicBezTo>
                    <a:cubicBezTo>
                      <a:pt x="303290" y="55595"/>
                      <a:pt x="294809" y="48983"/>
                      <a:pt x="290558" y="40481"/>
                    </a:cubicBezTo>
                    <a:cubicBezTo>
                      <a:pt x="281144" y="21654"/>
                      <a:pt x="297956" y="46503"/>
                      <a:pt x="281033" y="26194"/>
                    </a:cubicBezTo>
                    <a:cubicBezTo>
                      <a:pt x="279201" y="23995"/>
                      <a:pt x="278424" y="20935"/>
                      <a:pt x="276270" y="19050"/>
                    </a:cubicBezTo>
                    <a:cubicBezTo>
                      <a:pt x="276258" y="19040"/>
                      <a:pt x="258417" y="7148"/>
                      <a:pt x="254839" y="4763"/>
                    </a:cubicBezTo>
                    <a:lnTo>
                      <a:pt x="247695" y="0"/>
                    </a:lnTo>
                    <a:cubicBezTo>
                      <a:pt x="217533" y="794"/>
                      <a:pt x="187223" y="-697"/>
                      <a:pt x="157208" y="2381"/>
                    </a:cubicBezTo>
                    <a:cubicBezTo>
                      <a:pt x="154711" y="2637"/>
                      <a:pt x="154826" y="7015"/>
                      <a:pt x="154826" y="9525"/>
                    </a:cubicBezTo>
                    <a:cubicBezTo>
                      <a:pt x="154826" y="12798"/>
                      <a:pt x="155919" y="16042"/>
                      <a:pt x="157208" y="19050"/>
                    </a:cubicBezTo>
                    <a:cubicBezTo>
                      <a:pt x="161479" y="29014"/>
                      <a:pt x="163033" y="26407"/>
                      <a:pt x="173876" y="28575"/>
                    </a:cubicBezTo>
                    <a:cubicBezTo>
                      <a:pt x="181047" y="39330"/>
                      <a:pt x="182922" y="38824"/>
                      <a:pt x="176258" y="57150"/>
                    </a:cubicBezTo>
                    <a:cubicBezTo>
                      <a:pt x="175280" y="59840"/>
                      <a:pt x="171495" y="60325"/>
                      <a:pt x="169114" y="61913"/>
                    </a:cubicBezTo>
                    <a:cubicBezTo>
                      <a:pt x="163129" y="79869"/>
                      <a:pt x="171204" y="57733"/>
                      <a:pt x="161970" y="76200"/>
                    </a:cubicBezTo>
                    <a:cubicBezTo>
                      <a:pt x="149396" y="101349"/>
                      <a:pt x="180098" y="52582"/>
                      <a:pt x="150064" y="97631"/>
                    </a:cubicBezTo>
                    <a:cubicBezTo>
                      <a:pt x="147570" y="101372"/>
                      <a:pt x="143826" y="108971"/>
                      <a:pt x="138158" y="109538"/>
                    </a:cubicBezTo>
                    <a:cubicBezTo>
                      <a:pt x="116818" y="111672"/>
                      <a:pt x="95295" y="111125"/>
                      <a:pt x="73864" y="111919"/>
                    </a:cubicBezTo>
                    <a:cubicBezTo>
                      <a:pt x="71483" y="112713"/>
                      <a:pt x="69205" y="113945"/>
                      <a:pt x="66720" y="114300"/>
                    </a:cubicBezTo>
                    <a:cubicBezTo>
                      <a:pt x="52489" y="116333"/>
                      <a:pt x="23858" y="119063"/>
                      <a:pt x="23858" y="119063"/>
                    </a:cubicBezTo>
                    <a:cubicBezTo>
                      <a:pt x="19095" y="122238"/>
                      <a:pt x="10958" y="123035"/>
                      <a:pt x="9570" y="128588"/>
                    </a:cubicBezTo>
                    <a:lnTo>
                      <a:pt x="4808" y="147638"/>
                    </a:lnTo>
                    <a:lnTo>
                      <a:pt x="2426" y="157163"/>
                    </a:lnTo>
                    <a:cubicBezTo>
                      <a:pt x="3220" y="161925"/>
                      <a:pt x="2375" y="167280"/>
                      <a:pt x="4808" y="171450"/>
                    </a:cubicBezTo>
                    <a:cubicBezTo>
                      <a:pt x="8202" y="177268"/>
                      <a:pt x="15358" y="180134"/>
                      <a:pt x="19095" y="185738"/>
                    </a:cubicBezTo>
                    <a:lnTo>
                      <a:pt x="23858" y="192881"/>
                    </a:lnTo>
                    <a:cubicBezTo>
                      <a:pt x="28422" y="206574"/>
                      <a:pt x="24972" y="194803"/>
                      <a:pt x="28620" y="216694"/>
                    </a:cubicBezTo>
                    <a:cubicBezTo>
                      <a:pt x="29604" y="222597"/>
                      <a:pt x="31668" y="232123"/>
                      <a:pt x="33383" y="238125"/>
                    </a:cubicBezTo>
                    <a:cubicBezTo>
                      <a:pt x="34073" y="240539"/>
                      <a:pt x="34970" y="242888"/>
                      <a:pt x="35764" y="245269"/>
                    </a:cubicBezTo>
                    <a:cubicBezTo>
                      <a:pt x="33311" y="272253"/>
                      <a:pt x="33382" y="269081"/>
                      <a:pt x="31001" y="2762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0" name="Freeform 199"/>
              <p:cNvSpPr/>
              <p:nvPr/>
            </p:nvSpPr>
            <p:spPr>
              <a:xfrm>
                <a:off x="3669992" y="4732223"/>
                <a:ext cx="790769" cy="452438"/>
              </a:xfrm>
              <a:custGeom>
                <a:avLst/>
                <a:gdLst>
                  <a:gd name="connsiteX0" fmla="*/ 74013 w 790769"/>
                  <a:gd name="connsiteY0" fmla="*/ 95250 h 452438"/>
                  <a:gd name="connsiteX1" fmla="*/ 85919 w 790769"/>
                  <a:gd name="connsiteY1" fmla="*/ 97632 h 452438"/>
                  <a:gd name="connsiteX2" fmla="*/ 93063 w 790769"/>
                  <a:gd name="connsiteY2" fmla="*/ 100013 h 452438"/>
                  <a:gd name="connsiteX3" fmla="*/ 121638 w 790769"/>
                  <a:gd name="connsiteY3" fmla="*/ 104775 h 452438"/>
                  <a:gd name="connsiteX4" fmla="*/ 140688 w 790769"/>
                  <a:gd name="connsiteY4" fmla="*/ 102394 h 452438"/>
                  <a:gd name="connsiteX5" fmla="*/ 212125 w 790769"/>
                  <a:gd name="connsiteY5" fmla="*/ 107157 h 452438"/>
                  <a:gd name="connsiteX6" fmla="*/ 226413 w 790769"/>
                  <a:gd name="connsiteY6" fmla="*/ 109538 h 452438"/>
                  <a:gd name="connsiteX7" fmla="*/ 288325 w 790769"/>
                  <a:gd name="connsiteY7" fmla="*/ 109538 h 452438"/>
                  <a:gd name="connsiteX8" fmla="*/ 438344 w 790769"/>
                  <a:gd name="connsiteY8" fmla="*/ 111919 h 452438"/>
                  <a:gd name="connsiteX9" fmla="*/ 495494 w 790769"/>
                  <a:gd name="connsiteY9" fmla="*/ 111919 h 452438"/>
                  <a:gd name="connsiteX10" fmla="*/ 500256 w 790769"/>
                  <a:gd name="connsiteY10" fmla="*/ 104775 h 452438"/>
                  <a:gd name="connsiteX11" fmla="*/ 507400 w 790769"/>
                  <a:gd name="connsiteY11" fmla="*/ 100013 h 452438"/>
                  <a:gd name="connsiteX12" fmla="*/ 514544 w 790769"/>
                  <a:gd name="connsiteY12" fmla="*/ 92869 h 452438"/>
                  <a:gd name="connsiteX13" fmla="*/ 516925 w 790769"/>
                  <a:gd name="connsiteY13" fmla="*/ 85725 h 452438"/>
                  <a:gd name="connsiteX14" fmla="*/ 526450 w 790769"/>
                  <a:gd name="connsiteY14" fmla="*/ 71438 h 452438"/>
                  <a:gd name="connsiteX15" fmla="*/ 531213 w 790769"/>
                  <a:gd name="connsiteY15" fmla="*/ 64294 h 452438"/>
                  <a:gd name="connsiteX16" fmla="*/ 538356 w 790769"/>
                  <a:gd name="connsiteY16" fmla="*/ 57150 h 452438"/>
                  <a:gd name="connsiteX17" fmla="*/ 543119 w 790769"/>
                  <a:gd name="connsiteY17" fmla="*/ 42863 h 452438"/>
                  <a:gd name="connsiteX18" fmla="*/ 547881 w 790769"/>
                  <a:gd name="connsiteY18" fmla="*/ 35719 h 452438"/>
                  <a:gd name="connsiteX19" fmla="*/ 559788 w 790769"/>
                  <a:gd name="connsiteY19" fmla="*/ 14288 h 452438"/>
                  <a:gd name="connsiteX20" fmla="*/ 566931 w 790769"/>
                  <a:gd name="connsiteY20" fmla="*/ 9525 h 452438"/>
                  <a:gd name="connsiteX21" fmla="*/ 590744 w 790769"/>
                  <a:gd name="connsiteY21" fmla="*/ 2382 h 452438"/>
                  <a:gd name="connsiteX22" fmla="*/ 597888 w 790769"/>
                  <a:gd name="connsiteY22" fmla="*/ 0 h 452438"/>
                  <a:gd name="connsiteX23" fmla="*/ 626463 w 790769"/>
                  <a:gd name="connsiteY23" fmla="*/ 2382 h 452438"/>
                  <a:gd name="connsiteX24" fmla="*/ 643131 w 790769"/>
                  <a:gd name="connsiteY24" fmla="*/ 7144 h 452438"/>
                  <a:gd name="connsiteX25" fmla="*/ 650275 w 790769"/>
                  <a:gd name="connsiteY25" fmla="*/ 11907 h 452438"/>
                  <a:gd name="connsiteX26" fmla="*/ 655038 w 790769"/>
                  <a:gd name="connsiteY26" fmla="*/ 26194 h 452438"/>
                  <a:gd name="connsiteX27" fmla="*/ 659800 w 790769"/>
                  <a:gd name="connsiteY27" fmla="*/ 47625 h 452438"/>
                  <a:gd name="connsiteX28" fmla="*/ 662181 w 790769"/>
                  <a:gd name="connsiteY28" fmla="*/ 54769 h 452438"/>
                  <a:gd name="connsiteX29" fmla="*/ 676469 w 790769"/>
                  <a:gd name="connsiteY29" fmla="*/ 64294 h 452438"/>
                  <a:gd name="connsiteX30" fmla="*/ 695519 w 790769"/>
                  <a:gd name="connsiteY30" fmla="*/ 69057 h 452438"/>
                  <a:gd name="connsiteX31" fmla="*/ 702663 w 790769"/>
                  <a:gd name="connsiteY31" fmla="*/ 73819 h 452438"/>
                  <a:gd name="connsiteX32" fmla="*/ 726475 w 790769"/>
                  <a:gd name="connsiteY32" fmla="*/ 73819 h 452438"/>
                  <a:gd name="connsiteX33" fmla="*/ 728856 w 790769"/>
                  <a:gd name="connsiteY33" fmla="*/ 64294 h 452438"/>
                  <a:gd name="connsiteX34" fmla="*/ 736000 w 790769"/>
                  <a:gd name="connsiteY34" fmla="*/ 61913 h 452438"/>
                  <a:gd name="connsiteX35" fmla="*/ 776481 w 790769"/>
                  <a:gd name="connsiteY35" fmla="*/ 64294 h 452438"/>
                  <a:gd name="connsiteX36" fmla="*/ 788388 w 790769"/>
                  <a:gd name="connsiteY36" fmla="*/ 80963 h 452438"/>
                  <a:gd name="connsiteX37" fmla="*/ 790769 w 790769"/>
                  <a:gd name="connsiteY37" fmla="*/ 88107 h 452438"/>
                  <a:gd name="connsiteX38" fmla="*/ 781244 w 790769"/>
                  <a:gd name="connsiteY38" fmla="*/ 119063 h 452438"/>
                  <a:gd name="connsiteX39" fmla="*/ 774100 w 790769"/>
                  <a:gd name="connsiteY39" fmla="*/ 123825 h 452438"/>
                  <a:gd name="connsiteX40" fmla="*/ 769338 w 790769"/>
                  <a:gd name="connsiteY40" fmla="*/ 147638 h 452438"/>
                  <a:gd name="connsiteX41" fmla="*/ 766956 w 790769"/>
                  <a:gd name="connsiteY41" fmla="*/ 159544 h 452438"/>
                  <a:gd name="connsiteX42" fmla="*/ 762194 w 790769"/>
                  <a:gd name="connsiteY42" fmla="*/ 173832 h 452438"/>
                  <a:gd name="connsiteX43" fmla="*/ 752669 w 790769"/>
                  <a:gd name="connsiteY43" fmla="*/ 200025 h 452438"/>
                  <a:gd name="connsiteX44" fmla="*/ 738381 w 790769"/>
                  <a:gd name="connsiteY44" fmla="*/ 207169 h 452438"/>
                  <a:gd name="connsiteX45" fmla="*/ 731238 w 790769"/>
                  <a:gd name="connsiteY45" fmla="*/ 211932 h 452438"/>
                  <a:gd name="connsiteX46" fmla="*/ 721713 w 790769"/>
                  <a:gd name="connsiteY46" fmla="*/ 214313 h 452438"/>
                  <a:gd name="connsiteX47" fmla="*/ 690756 w 790769"/>
                  <a:gd name="connsiteY47" fmla="*/ 219075 h 452438"/>
                  <a:gd name="connsiteX48" fmla="*/ 683613 w 790769"/>
                  <a:gd name="connsiteY48" fmla="*/ 221457 h 452438"/>
                  <a:gd name="connsiteX49" fmla="*/ 669325 w 790769"/>
                  <a:gd name="connsiteY49" fmla="*/ 223838 h 452438"/>
                  <a:gd name="connsiteX50" fmla="*/ 664563 w 790769"/>
                  <a:gd name="connsiteY50" fmla="*/ 230982 h 452438"/>
                  <a:gd name="connsiteX51" fmla="*/ 662181 w 790769"/>
                  <a:gd name="connsiteY51" fmla="*/ 288132 h 452438"/>
                  <a:gd name="connsiteX52" fmla="*/ 662181 w 790769"/>
                  <a:gd name="connsiteY52" fmla="*/ 323850 h 452438"/>
                  <a:gd name="connsiteX53" fmla="*/ 669325 w 790769"/>
                  <a:gd name="connsiteY53" fmla="*/ 328613 h 452438"/>
                  <a:gd name="connsiteX54" fmla="*/ 681231 w 790769"/>
                  <a:gd name="connsiteY54" fmla="*/ 350044 h 452438"/>
                  <a:gd name="connsiteX55" fmla="*/ 671706 w 790769"/>
                  <a:gd name="connsiteY55" fmla="*/ 385763 h 452438"/>
                  <a:gd name="connsiteX56" fmla="*/ 657419 w 790769"/>
                  <a:gd name="connsiteY56" fmla="*/ 390525 h 452438"/>
                  <a:gd name="connsiteX57" fmla="*/ 650275 w 790769"/>
                  <a:gd name="connsiteY57" fmla="*/ 392907 h 452438"/>
                  <a:gd name="connsiteX58" fmla="*/ 643131 w 790769"/>
                  <a:gd name="connsiteY58" fmla="*/ 400050 h 452438"/>
                  <a:gd name="connsiteX59" fmla="*/ 638369 w 790769"/>
                  <a:gd name="connsiteY59" fmla="*/ 407194 h 452438"/>
                  <a:gd name="connsiteX60" fmla="*/ 624081 w 790769"/>
                  <a:gd name="connsiteY60" fmla="*/ 419100 h 452438"/>
                  <a:gd name="connsiteX61" fmla="*/ 619319 w 790769"/>
                  <a:gd name="connsiteY61" fmla="*/ 426244 h 452438"/>
                  <a:gd name="connsiteX62" fmla="*/ 614556 w 790769"/>
                  <a:gd name="connsiteY62" fmla="*/ 440532 h 452438"/>
                  <a:gd name="connsiteX63" fmla="*/ 607413 w 790769"/>
                  <a:gd name="connsiteY63" fmla="*/ 445294 h 452438"/>
                  <a:gd name="connsiteX64" fmla="*/ 569313 w 790769"/>
                  <a:gd name="connsiteY64" fmla="*/ 450057 h 452438"/>
                  <a:gd name="connsiteX65" fmla="*/ 562169 w 790769"/>
                  <a:gd name="connsiteY65" fmla="*/ 452438 h 452438"/>
                  <a:gd name="connsiteX66" fmla="*/ 531213 w 790769"/>
                  <a:gd name="connsiteY66" fmla="*/ 445294 h 452438"/>
                  <a:gd name="connsiteX67" fmla="*/ 524069 w 790769"/>
                  <a:gd name="connsiteY67" fmla="*/ 442913 h 452438"/>
                  <a:gd name="connsiteX68" fmla="*/ 514544 w 790769"/>
                  <a:gd name="connsiteY68" fmla="*/ 438150 h 452438"/>
                  <a:gd name="connsiteX69" fmla="*/ 497875 w 790769"/>
                  <a:gd name="connsiteY69" fmla="*/ 435769 h 452438"/>
                  <a:gd name="connsiteX70" fmla="*/ 483588 w 790769"/>
                  <a:gd name="connsiteY70" fmla="*/ 431007 h 452438"/>
                  <a:gd name="connsiteX71" fmla="*/ 469300 w 790769"/>
                  <a:gd name="connsiteY71" fmla="*/ 421482 h 452438"/>
                  <a:gd name="connsiteX72" fmla="*/ 462156 w 790769"/>
                  <a:gd name="connsiteY72" fmla="*/ 419100 h 452438"/>
                  <a:gd name="connsiteX73" fmla="*/ 447869 w 790769"/>
                  <a:gd name="connsiteY73" fmla="*/ 409575 h 452438"/>
                  <a:gd name="connsiteX74" fmla="*/ 440725 w 790769"/>
                  <a:gd name="connsiteY74" fmla="*/ 404813 h 452438"/>
                  <a:gd name="connsiteX75" fmla="*/ 433581 w 790769"/>
                  <a:gd name="connsiteY75" fmla="*/ 402432 h 452438"/>
                  <a:gd name="connsiteX76" fmla="*/ 419294 w 790769"/>
                  <a:gd name="connsiteY76" fmla="*/ 395288 h 452438"/>
                  <a:gd name="connsiteX77" fmla="*/ 405006 w 790769"/>
                  <a:gd name="connsiteY77" fmla="*/ 388144 h 452438"/>
                  <a:gd name="connsiteX78" fmla="*/ 383575 w 790769"/>
                  <a:gd name="connsiteY78" fmla="*/ 378619 h 452438"/>
                  <a:gd name="connsiteX79" fmla="*/ 369288 w 790769"/>
                  <a:gd name="connsiteY79" fmla="*/ 373857 h 452438"/>
                  <a:gd name="connsiteX80" fmla="*/ 362144 w 790769"/>
                  <a:gd name="connsiteY80" fmla="*/ 371475 h 452438"/>
                  <a:gd name="connsiteX81" fmla="*/ 350238 w 790769"/>
                  <a:gd name="connsiteY81" fmla="*/ 369094 h 452438"/>
                  <a:gd name="connsiteX82" fmla="*/ 340713 w 790769"/>
                  <a:gd name="connsiteY82" fmla="*/ 366713 h 452438"/>
                  <a:gd name="connsiteX83" fmla="*/ 326425 w 790769"/>
                  <a:gd name="connsiteY83" fmla="*/ 361950 h 452438"/>
                  <a:gd name="connsiteX84" fmla="*/ 316900 w 790769"/>
                  <a:gd name="connsiteY84" fmla="*/ 359569 h 452438"/>
                  <a:gd name="connsiteX85" fmla="*/ 309756 w 790769"/>
                  <a:gd name="connsiteY85" fmla="*/ 354807 h 452438"/>
                  <a:gd name="connsiteX86" fmla="*/ 285944 w 790769"/>
                  <a:gd name="connsiteY86" fmla="*/ 347663 h 452438"/>
                  <a:gd name="connsiteX87" fmla="*/ 266894 w 790769"/>
                  <a:gd name="connsiteY87" fmla="*/ 345282 h 452438"/>
                  <a:gd name="connsiteX88" fmla="*/ 252606 w 790769"/>
                  <a:gd name="connsiteY88" fmla="*/ 342900 h 452438"/>
                  <a:gd name="connsiteX89" fmla="*/ 240700 w 790769"/>
                  <a:gd name="connsiteY89" fmla="*/ 340519 h 452438"/>
                  <a:gd name="connsiteX90" fmla="*/ 219269 w 790769"/>
                  <a:gd name="connsiteY90" fmla="*/ 338138 h 452438"/>
                  <a:gd name="connsiteX91" fmla="*/ 197838 w 790769"/>
                  <a:gd name="connsiteY91" fmla="*/ 333375 h 452438"/>
                  <a:gd name="connsiteX92" fmla="*/ 164500 w 790769"/>
                  <a:gd name="connsiteY92" fmla="*/ 326232 h 452438"/>
                  <a:gd name="connsiteX93" fmla="*/ 150213 w 790769"/>
                  <a:gd name="connsiteY93" fmla="*/ 323850 h 452438"/>
                  <a:gd name="connsiteX94" fmla="*/ 143069 w 790769"/>
                  <a:gd name="connsiteY94" fmla="*/ 321469 h 452438"/>
                  <a:gd name="connsiteX95" fmla="*/ 88300 w 790769"/>
                  <a:gd name="connsiteY95" fmla="*/ 319088 h 452438"/>
                  <a:gd name="connsiteX96" fmla="*/ 76394 w 790769"/>
                  <a:gd name="connsiteY96" fmla="*/ 316707 h 452438"/>
                  <a:gd name="connsiteX97" fmla="*/ 59725 w 790769"/>
                  <a:gd name="connsiteY97" fmla="*/ 314325 h 452438"/>
                  <a:gd name="connsiteX98" fmla="*/ 52581 w 790769"/>
                  <a:gd name="connsiteY98" fmla="*/ 300038 h 452438"/>
                  <a:gd name="connsiteX99" fmla="*/ 43056 w 790769"/>
                  <a:gd name="connsiteY99" fmla="*/ 285750 h 452438"/>
                  <a:gd name="connsiteX100" fmla="*/ 40675 w 790769"/>
                  <a:gd name="connsiteY100" fmla="*/ 278607 h 452438"/>
                  <a:gd name="connsiteX101" fmla="*/ 38294 w 790769"/>
                  <a:gd name="connsiteY101" fmla="*/ 252413 h 452438"/>
                  <a:gd name="connsiteX102" fmla="*/ 16863 w 790769"/>
                  <a:gd name="connsiteY102" fmla="*/ 235744 h 452438"/>
                  <a:gd name="connsiteX103" fmla="*/ 2575 w 790769"/>
                  <a:gd name="connsiteY103" fmla="*/ 226219 h 452438"/>
                  <a:gd name="connsiteX104" fmla="*/ 2575 w 790769"/>
                  <a:gd name="connsiteY104" fmla="*/ 211932 h 452438"/>
                  <a:gd name="connsiteX105" fmla="*/ 24006 w 790769"/>
                  <a:gd name="connsiteY105" fmla="*/ 204788 h 452438"/>
                  <a:gd name="connsiteX106" fmla="*/ 31150 w 790769"/>
                  <a:gd name="connsiteY106" fmla="*/ 202407 h 452438"/>
                  <a:gd name="connsiteX107" fmla="*/ 38294 w 790769"/>
                  <a:gd name="connsiteY107" fmla="*/ 195263 h 452438"/>
                  <a:gd name="connsiteX108" fmla="*/ 57344 w 790769"/>
                  <a:gd name="connsiteY108" fmla="*/ 178594 h 452438"/>
                  <a:gd name="connsiteX109" fmla="*/ 71631 w 790769"/>
                  <a:gd name="connsiteY109" fmla="*/ 173832 h 452438"/>
                  <a:gd name="connsiteX110" fmla="*/ 76394 w 790769"/>
                  <a:gd name="connsiteY110" fmla="*/ 166688 h 452438"/>
                  <a:gd name="connsiteX111" fmla="*/ 81156 w 790769"/>
                  <a:gd name="connsiteY111" fmla="*/ 135732 h 452438"/>
                  <a:gd name="connsiteX112" fmla="*/ 83538 w 790769"/>
                  <a:gd name="connsiteY112" fmla="*/ 121444 h 452438"/>
                  <a:gd name="connsiteX113" fmla="*/ 81156 w 790769"/>
                  <a:gd name="connsiteY113" fmla="*/ 109538 h 452438"/>
                  <a:gd name="connsiteX114" fmla="*/ 74013 w 790769"/>
                  <a:gd name="connsiteY114" fmla="*/ 95250 h 45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90769" h="452438">
                    <a:moveTo>
                      <a:pt x="74013" y="95250"/>
                    </a:moveTo>
                    <a:cubicBezTo>
                      <a:pt x="74807" y="93266"/>
                      <a:pt x="81993" y="96650"/>
                      <a:pt x="85919" y="97632"/>
                    </a:cubicBezTo>
                    <a:cubicBezTo>
                      <a:pt x="88354" y="98241"/>
                      <a:pt x="90593" y="99564"/>
                      <a:pt x="93063" y="100013"/>
                    </a:cubicBezTo>
                    <a:cubicBezTo>
                      <a:pt x="133941" y="107444"/>
                      <a:pt x="96403" y="98467"/>
                      <a:pt x="121638" y="104775"/>
                    </a:cubicBezTo>
                    <a:cubicBezTo>
                      <a:pt x="127988" y="103981"/>
                      <a:pt x="134289" y="102394"/>
                      <a:pt x="140688" y="102394"/>
                    </a:cubicBezTo>
                    <a:cubicBezTo>
                      <a:pt x="158270" y="102394"/>
                      <a:pt x="191573" y="104588"/>
                      <a:pt x="212125" y="107157"/>
                    </a:cubicBezTo>
                    <a:cubicBezTo>
                      <a:pt x="216916" y="107756"/>
                      <a:pt x="221650" y="108744"/>
                      <a:pt x="226413" y="109538"/>
                    </a:cubicBezTo>
                    <a:cubicBezTo>
                      <a:pt x="251918" y="118040"/>
                      <a:pt x="223579" y="109538"/>
                      <a:pt x="288325" y="109538"/>
                    </a:cubicBezTo>
                    <a:cubicBezTo>
                      <a:pt x="338338" y="109538"/>
                      <a:pt x="388338" y="111125"/>
                      <a:pt x="438344" y="111919"/>
                    </a:cubicBezTo>
                    <a:cubicBezTo>
                      <a:pt x="459058" y="114220"/>
                      <a:pt x="473484" y="117098"/>
                      <a:pt x="495494" y="111919"/>
                    </a:cubicBezTo>
                    <a:cubicBezTo>
                      <a:pt x="498280" y="111264"/>
                      <a:pt x="498232" y="106799"/>
                      <a:pt x="500256" y="104775"/>
                    </a:cubicBezTo>
                    <a:cubicBezTo>
                      <a:pt x="502280" y="102751"/>
                      <a:pt x="505201" y="101845"/>
                      <a:pt x="507400" y="100013"/>
                    </a:cubicBezTo>
                    <a:cubicBezTo>
                      <a:pt x="509987" y="97857"/>
                      <a:pt x="512163" y="95250"/>
                      <a:pt x="514544" y="92869"/>
                    </a:cubicBezTo>
                    <a:cubicBezTo>
                      <a:pt x="515338" y="90488"/>
                      <a:pt x="515706" y="87919"/>
                      <a:pt x="516925" y="85725"/>
                    </a:cubicBezTo>
                    <a:cubicBezTo>
                      <a:pt x="519705" y="80722"/>
                      <a:pt x="523275" y="76200"/>
                      <a:pt x="526450" y="71438"/>
                    </a:cubicBezTo>
                    <a:cubicBezTo>
                      <a:pt x="528038" y="69057"/>
                      <a:pt x="529189" y="66318"/>
                      <a:pt x="531213" y="64294"/>
                    </a:cubicBezTo>
                    <a:lnTo>
                      <a:pt x="538356" y="57150"/>
                    </a:lnTo>
                    <a:cubicBezTo>
                      <a:pt x="539944" y="52388"/>
                      <a:pt x="540335" y="47040"/>
                      <a:pt x="543119" y="42863"/>
                    </a:cubicBezTo>
                    <a:cubicBezTo>
                      <a:pt x="544706" y="40482"/>
                      <a:pt x="546601" y="38279"/>
                      <a:pt x="547881" y="35719"/>
                    </a:cubicBezTo>
                    <a:cubicBezTo>
                      <a:pt x="552223" y="27034"/>
                      <a:pt x="548529" y="21796"/>
                      <a:pt x="559788" y="14288"/>
                    </a:cubicBezTo>
                    <a:cubicBezTo>
                      <a:pt x="562169" y="12700"/>
                      <a:pt x="564316" y="10687"/>
                      <a:pt x="566931" y="9525"/>
                    </a:cubicBezTo>
                    <a:cubicBezTo>
                      <a:pt x="577118" y="4997"/>
                      <a:pt x="581046" y="5153"/>
                      <a:pt x="590744" y="2382"/>
                    </a:cubicBezTo>
                    <a:cubicBezTo>
                      <a:pt x="593158" y="1692"/>
                      <a:pt x="595507" y="794"/>
                      <a:pt x="597888" y="0"/>
                    </a:cubicBezTo>
                    <a:cubicBezTo>
                      <a:pt x="607413" y="794"/>
                      <a:pt x="616979" y="1196"/>
                      <a:pt x="626463" y="2382"/>
                    </a:cubicBezTo>
                    <a:cubicBezTo>
                      <a:pt x="631249" y="2980"/>
                      <a:pt x="638385" y="5562"/>
                      <a:pt x="643131" y="7144"/>
                    </a:cubicBezTo>
                    <a:cubicBezTo>
                      <a:pt x="645512" y="8732"/>
                      <a:pt x="648758" y="9480"/>
                      <a:pt x="650275" y="11907"/>
                    </a:cubicBezTo>
                    <a:cubicBezTo>
                      <a:pt x="652936" y="16164"/>
                      <a:pt x="654054" y="21271"/>
                      <a:pt x="655038" y="26194"/>
                    </a:cubicBezTo>
                    <a:cubicBezTo>
                      <a:pt x="656675" y="34378"/>
                      <a:pt x="657558" y="39778"/>
                      <a:pt x="659800" y="47625"/>
                    </a:cubicBezTo>
                    <a:cubicBezTo>
                      <a:pt x="660490" y="50039"/>
                      <a:pt x="660789" y="52680"/>
                      <a:pt x="662181" y="54769"/>
                    </a:cubicBezTo>
                    <a:cubicBezTo>
                      <a:pt x="666782" y="61670"/>
                      <a:pt x="669349" y="62352"/>
                      <a:pt x="676469" y="64294"/>
                    </a:cubicBezTo>
                    <a:cubicBezTo>
                      <a:pt x="682784" y="66016"/>
                      <a:pt x="695519" y="69057"/>
                      <a:pt x="695519" y="69057"/>
                    </a:cubicBezTo>
                    <a:cubicBezTo>
                      <a:pt x="697900" y="70644"/>
                      <a:pt x="700103" y="72539"/>
                      <a:pt x="702663" y="73819"/>
                    </a:cubicBezTo>
                    <a:cubicBezTo>
                      <a:pt x="711899" y="78437"/>
                      <a:pt x="714549" y="75522"/>
                      <a:pt x="726475" y="73819"/>
                    </a:cubicBezTo>
                    <a:cubicBezTo>
                      <a:pt x="727269" y="70644"/>
                      <a:pt x="726812" y="66850"/>
                      <a:pt x="728856" y="64294"/>
                    </a:cubicBezTo>
                    <a:cubicBezTo>
                      <a:pt x="730424" y="62334"/>
                      <a:pt x="733490" y="61913"/>
                      <a:pt x="736000" y="61913"/>
                    </a:cubicBezTo>
                    <a:cubicBezTo>
                      <a:pt x="749517" y="61913"/>
                      <a:pt x="762987" y="63500"/>
                      <a:pt x="776481" y="64294"/>
                    </a:cubicBezTo>
                    <a:cubicBezTo>
                      <a:pt x="788388" y="68262"/>
                      <a:pt x="782832" y="64294"/>
                      <a:pt x="788388" y="80963"/>
                    </a:cubicBezTo>
                    <a:lnTo>
                      <a:pt x="790769" y="88107"/>
                    </a:lnTo>
                    <a:cubicBezTo>
                      <a:pt x="789317" y="98268"/>
                      <a:pt x="789238" y="111069"/>
                      <a:pt x="781244" y="119063"/>
                    </a:cubicBezTo>
                    <a:cubicBezTo>
                      <a:pt x="779220" y="121087"/>
                      <a:pt x="776481" y="122238"/>
                      <a:pt x="774100" y="123825"/>
                    </a:cubicBezTo>
                    <a:lnTo>
                      <a:pt x="769338" y="147638"/>
                    </a:lnTo>
                    <a:cubicBezTo>
                      <a:pt x="768544" y="151607"/>
                      <a:pt x="768236" y="155704"/>
                      <a:pt x="766956" y="159544"/>
                    </a:cubicBezTo>
                    <a:cubicBezTo>
                      <a:pt x="765369" y="164307"/>
                      <a:pt x="763178" y="168909"/>
                      <a:pt x="762194" y="173832"/>
                    </a:cubicBezTo>
                    <a:cubicBezTo>
                      <a:pt x="760432" y="182643"/>
                      <a:pt x="759487" y="193207"/>
                      <a:pt x="752669" y="200025"/>
                    </a:cubicBezTo>
                    <a:cubicBezTo>
                      <a:pt x="748052" y="204642"/>
                      <a:pt x="744193" y="205232"/>
                      <a:pt x="738381" y="207169"/>
                    </a:cubicBezTo>
                    <a:cubicBezTo>
                      <a:pt x="736000" y="208757"/>
                      <a:pt x="733868" y="210805"/>
                      <a:pt x="731238" y="211932"/>
                    </a:cubicBezTo>
                    <a:cubicBezTo>
                      <a:pt x="728230" y="213221"/>
                      <a:pt x="724860" y="213414"/>
                      <a:pt x="721713" y="214313"/>
                    </a:cubicBezTo>
                    <a:cubicBezTo>
                      <a:pt x="703229" y="219593"/>
                      <a:pt x="729053" y="215246"/>
                      <a:pt x="690756" y="219075"/>
                    </a:cubicBezTo>
                    <a:cubicBezTo>
                      <a:pt x="688375" y="219869"/>
                      <a:pt x="686063" y="220912"/>
                      <a:pt x="683613" y="221457"/>
                    </a:cubicBezTo>
                    <a:cubicBezTo>
                      <a:pt x="678900" y="222505"/>
                      <a:pt x="673644" y="221679"/>
                      <a:pt x="669325" y="223838"/>
                    </a:cubicBezTo>
                    <a:cubicBezTo>
                      <a:pt x="666765" y="225118"/>
                      <a:pt x="666150" y="228601"/>
                      <a:pt x="664563" y="230982"/>
                    </a:cubicBezTo>
                    <a:cubicBezTo>
                      <a:pt x="663769" y="250032"/>
                      <a:pt x="663540" y="269114"/>
                      <a:pt x="662181" y="288132"/>
                    </a:cubicBezTo>
                    <a:cubicBezTo>
                      <a:pt x="660736" y="308366"/>
                      <a:pt x="651302" y="288494"/>
                      <a:pt x="662181" y="323850"/>
                    </a:cubicBezTo>
                    <a:cubicBezTo>
                      <a:pt x="663023" y="326586"/>
                      <a:pt x="666944" y="327025"/>
                      <a:pt x="669325" y="328613"/>
                    </a:cubicBezTo>
                    <a:cubicBezTo>
                      <a:pt x="680242" y="344989"/>
                      <a:pt x="677040" y="337470"/>
                      <a:pt x="681231" y="350044"/>
                    </a:cubicBezTo>
                    <a:cubicBezTo>
                      <a:pt x="680103" y="363587"/>
                      <a:pt x="685069" y="378339"/>
                      <a:pt x="671706" y="385763"/>
                    </a:cubicBezTo>
                    <a:cubicBezTo>
                      <a:pt x="667318" y="388201"/>
                      <a:pt x="662181" y="388938"/>
                      <a:pt x="657419" y="390525"/>
                    </a:cubicBezTo>
                    <a:lnTo>
                      <a:pt x="650275" y="392907"/>
                    </a:lnTo>
                    <a:cubicBezTo>
                      <a:pt x="647894" y="395288"/>
                      <a:pt x="645287" y="397463"/>
                      <a:pt x="643131" y="400050"/>
                    </a:cubicBezTo>
                    <a:cubicBezTo>
                      <a:pt x="641299" y="402249"/>
                      <a:pt x="640393" y="405170"/>
                      <a:pt x="638369" y="407194"/>
                    </a:cubicBezTo>
                    <a:cubicBezTo>
                      <a:pt x="619637" y="425927"/>
                      <a:pt x="643586" y="395694"/>
                      <a:pt x="624081" y="419100"/>
                    </a:cubicBezTo>
                    <a:cubicBezTo>
                      <a:pt x="622249" y="421299"/>
                      <a:pt x="620481" y="423629"/>
                      <a:pt x="619319" y="426244"/>
                    </a:cubicBezTo>
                    <a:cubicBezTo>
                      <a:pt x="617280" y="430832"/>
                      <a:pt x="618733" y="437747"/>
                      <a:pt x="614556" y="440532"/>
                    </a:cubicBezTo>
                    <a:cubicBezTo>
                      <a:pt x="612175" y="442119"/>
                      <a:pt x="609973" y="444014"/>
                      <a:pt x="607413" y="445294"/>
                    </a:cubicBezTo>
                    <a:cubicBezTo>
                      <a:pt x="597134" y="450433"/>
                      <a:pt x="575216" y="449603"/>
                      <a:pt x="569313" y="450057"/>
                    </a:cubicBezTo>
                    <a:cubicBezTo>
                      <a:pt x="566932" y="450851"/>
                      <a:pt x="564679" y="452438"/>
                      <a:pt x="562169" y="452438"/>
                    </a:cubicBezTo>
                    <a:cubicBezTo>
                      <a:pt x="549801" y="452438"/>
                      <a:pt x="542533" y="449068"/>
                      <a:pt x="531213" y="445294"/>
                    </a:cubicBezTo>
                    <a:cubicBezTo>
                      <a:pt x="528832" y="444500"/>
                      <a:pt x="526314" y="444036"/>
                      <a:pt x="524069" y="442913"/>
                    </a:cubicBezTo>
                    <a:cubicBezTo>
                      <a:pt x="520894" y="441325"/>
                      <a:pt x="517969" y="439084"/>
                      <a:pt x="514544" y="438150"/>
                    </a:cubicBezTo>
                    <a:cubicBezTo>
                      <a:pt x="509129" y="436673"/>
                      <a:pt x="503431" y="436563"/>
                      <a:pt x="497875" y="435769"/>
                    </a:cubicBezTo>
                    <a:cubicBezTo>
                      <a:pt x="493113" y="434182"/>
                      <a:pt x="487765" y="433791"/>
                      <a:pt x="483588" y="431007"/>
                    </a:cubicBezTo>
                    <a:cubicBezTo>
                      <a:pt x="478825" y="427832"/>
                      <a:pt x="474730" y="423293"/>
                      <a:pt x="469300" y="421482"/>
                    </a:cubicBezTo>
                    <a:cubicBezTo>
                      <a:pt x="466919" y="420688"/>
                      <a:pt x="464350" y="420319"/>
                      <a:pt x="462156" y="419100"/>
                    </a:cubicBezTo>
                    <a:cubicBezTo>
                      <a:pt x="457153" y="416320"/>
                      <a:pt x="452631" y="412750"/>
                      <a:pt x="447869" y="409575"/>
                    </a:cubicBezTo>
                    <a:cubicBezTo>
                      <a:pt x="445488" y="407988"/>
                      <a:pt x="443440" y="405718"/>
                      <a:pt x="440725" y="404813"/>
                    </a:cubicBezTo>
                    <a:lnTo>
                      <a:pt x="433581" y="402432"/>
                    </a:lnTo>
                    <a:cubicBezTo>
                      <a:pt x="413116" y="388786"/>
                      <a:pt x="439006" y="405144"/>
                      <a:pt x="419294" y="395288"/>
                    </a:cubicBezTo>
                    <a:cubicBezTo>
                      <a:pt x="400829" y="386056"/>
                      <a:pt x="422962" y="394129"/>
                      <a:pt x="405006" y="388144"/>
                    </a:cubicBezTo>
                    <a:cubicBezTo>
                      <a:pt x="393687" y="380598"/>
                      <a:pt x="400577" y="384286"/>
                      <a:pt x="383575" y="378619"/>
                    </a:cubicBezTo>
                    <a:lnTo>
                      <a:pt x="369288" y="373857"/>
                    </a:lnTo>
                    <a:cubicBezTo>
                      <a:pt x="366907" y="373063"/>
                      <a:pt x="364605" y="371967"/>
                      <a:pt x="362144" y="371475"/>
                    </a:cubicBezTo>
                    <a:cubicBezTo>
                      <a:pt x="358175" y="370681"/>
                      <a:pt x="354189" y="369972"/>
                      <a:pt x="350238" y="369094"/>
                    </a:cubicBezTo>
                    <a:cubicBezTo>
                      <a:pt x="347043" y="368384"/>
                      <a:pt x="343848" y="367653"/>
                      <a:pt x="340713" y="366713"/>
                    </a:cubicBezTo>
                    <a:cubicBezTo>
                      <a:pt x="335904" y="365270"/>
                      <a:pt x="331295" y="363167"/>
                      <a:pt x="326425" y="361950"/>
                    </a:cubicBezTo>
                    <a:lnTo>
                      <a:pt x="316900" y="359569"/>
                    </a:lnTo>
                    <a:cubicBezTo>
                      <a:pt x="314519" y="357982"/>
                      <a:pt x="312371" y="355969"/>
                      <a:pt x="309756" y="354807"/>
                    </a:cubicBezTo>
                    <a:cubicBezTo>
                      <a:pt x="305941" y="353111"/>
                      <a:pt x="291488" y="348587"/>
                      <a:pt x="285944" y="347663"/>
                    </a:cubicBezTo>
                    <a:cubicBezTo>
                      <a:pt x="279632" y="346611"/>
                      <a:pt x="273229" y="346187"/>
                      <a:pt x="266894" y="345282"/>
                    </a:cubicBezTo>
                    <a:cubicBezTo>
                      <a:pt x="262114" y="344599"/>
                      <a:pt x="257357" y="343764"/>
                      <a:pt x="252606" y="342900"/>
                    </a:cubicBezTo>
                    <a:cubicBezTo>
                      <a:pt x="248624" y="342176"/>
                      <a:pt x="244707" y="341091"/>
                      <a:pt x="240700" y="340519"/>
                    </a:cubicBezTo>
                    <a:cubicBezTo>
                      <a:pt x="233585" y="339503"/>
                      <a:pt x="226413" y="338932"/>
                      <a:pt x="219269" y="338138"/>
                    </a:cubicBezTo>
                    <a:cubicBezTo>
                      <a:pt x="196040" y="332331"/>
                      <a:pt x="225045" y="339422"/>
                      <a:pt x="197838" y="333375"/>
                    </a:cubicBezTo>
                    <a:cubicBezTo>
                      <a:pt x="178324" y="329038"/>
                      <a:pt x="196804" y="331618"/>
                      <a:pt x="164500" y="326232"/>
                    </a:cubicBezTo>
                    <a:cubicBezTo>
                      <a:pt x="159738" y="325438"/>
                      <a:pt x="154926" y="324897"/>
                      <a:pt x="150213" y="323850"/>
                    </a:cubicBezTo>
                    <a:cubicBezTo>
                      <a:pt x="147763" y="323305"/>
                      <a:pt x="145572" y="321661"/>
                      <a:pt x="143069" y="321469"/>
                    </a:cubicBezTo>
                    <a:cubicBezTo>
                      <a:pt x="124849" y="320068"/>
                      <a:pt x="106556" y="319882"/>
                      <a:pt x="88300" y="319088"/>
                    </a:cubicBezTo>
                    <a:cubicBezTo>
                      <a:pt x="84331" y="318294"/>
                      <a:pt x="80386" y="317372"/>
                      <a:pt x="76394" y="316707"/>
                    </a:cubicBezTo>
                    <a:cubicBezTo>
                      <a:pt x="70858" y="315784"/>
                      <a:pt x="64854" y="316605"/>
                      <a:pt x="59725" y="314325"/>
                    </a:cubicBezTo>
                    <a:cubicBezTo>
                      <a:pt x="55048" y="312246"/>
                      <a:pt x="54572" y="303622"/>
                      <a:pt x="52581" y="300038"/>
                    </a:cubicBezTo>
                    <a:cubicBezTo>
                      <a:pt x="49801" y="295034"/>
                      <a:pt x="43056" y="285750"/>
                      <a:pt x="43056" y="285750"/>
                    </a:cubicBezTo>
                    <a:cubicBezTo>
                      <a:pt x="42262" y="283369"/>
                      <a:pt x="41030" y="281092"/>
                      <a:pt x="40675" y="278607"/>
                    </a:cubicBezTo>
                    <a:cubicBezTo>
                      <a:pt x="39435" y="269928"/>
                      <a:pt x="41632" y="260520"/>
                      <a:pt x="38294" y="252413"/>
                    </a:cubicBezTo>
                    <a:cubicBezTo>
                      <a:pt x="30174" y="232692"/>
                      <a:pt x="27436" y="241618"/>
                      <a:pt x="16863" y="235744"/>
                    </a:cubicBezTo>
                    <a:cubicBezTo>
                      <a:pt x="11859" y="232964"/>
                      <a:pt x="2575" y="226219"/>
                      <a:pt x="2575" y="226219"/>
                    </a:cubicBezTo>
                    <a:cubicBezTo>
                      <a:pt x="1354" y="222556"/>
                      <a:pt x="-2553" y="215595"/>
                      <a:pt x="2575" y="211932"/>
                    </a:cubicBezTo>
                    <a:cubicBezTo>
                      <a:pt x="2576" y="211932"/>
                      <a:pt x="20433" y="205979"/>
                      <a:pt x="24006" y="204788"/>
                    </a:cubicBezTo>
                    <a:lnTo>
                      <a:pt x="31150" y="202407"/>
                    </a:lnTo>
                    <a:cubicBezTo>
                      <a:pt x="33531" y="200026"/>
                      <a:pt x="36138" y="197850"/>
                      <a:pt x="38294" y="195263"/>
                    </a:cubicBezTo>
                    <a:cubicBezTo>
                      <a:pt x="45774" y="186287"/>
                      <a:pt x="41588" y="183845"/>
                      <a:pt x="57344" y="178594"/>
                    </a:cubicBezTo>
                    <a:lnTo>
                      <a:pt x="71631" y="173832"/>
                    </a:lnTo>
                    <a:cubicBezTo>
                      <a:pt x="73219" y="171451"/>
                      <a:pt x="75114" y="169248"/>
                      <a:pt x="76394" y="166688"/>
                    </a:cubicBezTo>
                    <a:cubicBezTo>
                      <a:pt x="80756" y="157964"/>
                      <a:pt x="80246" y="143012"/>
                      <a:pt x="81156" y="135732"/>
                    </a:cubicBezTo>
                    <a:cubicBezTo>
                      <a:pt x="81755" y="130941"/>
                      <a:pt x="82744" y="126207"/>
                      <a:pt x="83538" y="121444"/>
                    </a:cubicBezTo>
                    <a:cubicBezTo>
                      <a:pt x="82744" y="117475"/>
                      <a:pt x="82138" y="113464"/>
                      <a:pt x="81156" y="109538"/>
                    </a:cubicBezTo>
                    <a:cubicBezTo>
                      <a:pt x="78524" y="99011"/>
                      <a:pt x="73219" y="97234"/>
                      <a:pt x="74013" y="9525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1" name="Freeform 200"/>
              <p:cNvSpPr/>
              <p:nvPr/>
            </p:nvSpPr>
            <p:spPr>
              <a:xfrm>
                <a:off x="4255669" y="4822711"/>
                <a:ext cx="948195" cy="495300"/>
              </a:xfrm>
              <a:custGeom>
                <a:avLst/>
                <a:gdLst>
                  <a:gd name="connsiteX0" fmla="*/ 207473 w 948195"/>
                  <a:gd name="connsiteY0" fmla="*/ 0 h 495300"/>
                  <a:gd name="connsiteX1" fmla="*/ 226523 w 948195"/>
                  <a:gd name="connsiteY1" fmla="*/ 2381 h 495300"/>
                  <a:gd name="connsiteX2" fmla="*/ 283673 w 948195"/>
                  <a:gd name="connsiteY2" fmla="*/ 7144 h 495300"/>
                  <a:gd name="connsiteX3" fmla="*/ 288436 w 948195"/>
                  <a:gd name="connsiteY3" fmla="*/ 14287 h 495300"/>
                  <a:gd name="connsiteX4" fmla="*/ 302723 w 948195"/>
                  <a:gd name="connsiteY4" fmla="*/ 23812 h 495300"/>
                  <a:gd name="connsiteX5" fmla="*/ 307486 w 948195"/>
                  <a:gd name="connsiteY5" fmla="*/ 30956 h 495300"/>
                  <a:gd name="connsiteX6" fmla="*/ 321773 w 948195"/>
                  <a:gd name="connsiteY6" fmla="*/ 35719 h 495300"/>
                  <a:gd name="connsiteX7" fmla="*/ 331298 w 948195"/>
                  <a:gd name="connsiteY7" fmla="*/ 21431 h 495300"/>
                  <a:gd name="connsiteX8" fmla="*/ 338442 w 948195"/>
                  <a:gd name="connsiteY8" fmla="*/ 19050 h 495300"/>
                  <a:gd name="connsiteX9" fmla="*/ 407498 w 948195"/>
                  <a:gd name="connsiteY9" fmla="*/ 21431 h 495300"/>
                  <a:gd name="connsiteX10" fmla="*/ 412261 w 948195"/>
                  <a:gd name="connsiteY10" fmla="*/ 28575 h 495300"/>
                  <a:gd name="connsiteX11" fmla="*/ 431311 w 948195"/>
                  <a:gd name="connsiteY11" fmla="*/ 33337 h 495300"/>
                  <a:gd name="connsiteX12" fmla="*/ 433692 w 948195"/>
                  <a:gd name="connsiteY12" fmla="*/ 66675 h 495300"/>
                  <a:gd name="connsiteX13" fmla="*/ 447979 w 948195"/>
                  <a:gd name="connsiteY13" fmla="*/ 71437 h 495300"/>
                  <a:gd name="connsiteX14" fmla="*/ 455123 w 948195"/>
                  <a:gd name="connsiteY14" fmla="*/ 73819 h 495300"/>
                  <a:gd name="connsiteX15" fmla="*/ 467029 w 948195"/>
                  <a:gd name="connsiteY15" fmla="*/ 88106 h 495300"/>
                  <a:gd name="connsiteX16" fmla="*/ 469411 w 948195"/>
                  <a:gd name="connsiteY16" fmla="*/ 95250 h 495300"/>
                  <a:gd name="connsiteX17" fmla="*/ 474173 w 948195"/>
                  <a:gd name="connsiteY17" fmla="*/ 169069 h 495300"/>
                  <a:gd name="connsiteX18" fmla="*/ 476554 w 948195"/>
                  <a:gd name="connsiteY18" fmla="*/ 190500 h 495300"/>
                  <a:gd name="connsiteX19" fmla="*/ 490842 w 948195"/>
                  <a:gd name="connsiteY19" fmla="*/ 197644 h 495300"/>
                  <a:gd name="connsiteX20" fmla="*/ 528942 w 948195"/>
                  <a:gd name="connsiteY20" fmla="*/ 200025 h 495300"/>
                  <a:gd name="connsiteX21" fmla="*/ 550373 w 948195"/>
                  <a:gd name="connsiteY21" fmla="*/ 211931 h 495300"/>
                  <a:gd name="connsiteX22" fmla="*/ 571804 w 948195"/>
                  <a:gd name="connsiteY22" fmla="*/ 221456 h 495300"/>
                  <a:gd name="connsiteX23" fmla="*/ 578948 w 948195"/>
                  <a:gd name="connsiteY23" fmla="*/ 223837 h 495300"/>
                  <a:gd name="connsiteX24" fmla="*/ 593236 w 948195"/>
                  <a:gd name="connsiteY24" fmla="*/ 233362 h 495300"/>
                  <a:gd name="connsiteX25" fmla="*/ 600379 w 948195"/>
                  <a:gd name="connsiteY25" fmla="*/ 238125 h 495300"/>
                  <a:gd name="connsiteX26" fmla="*/ 614667 w 948195"/>
                  <a:gd name="connsiteY26" fmla="*/ 242887 h 495300"/>
                  <a:gd name="connsiteX27" fmla="*/ 655148 w 948195"/>
                  <a:gd name="connsiteY27" fmla="*/ 238125 h 495300"/>
                  <a:gd name="connsiteX28" fmla="*/ 676579 w 948195"/>
                  <a:gd name="connsiteY28" fmla="*/ 230981 h 495300"/>
                  <a:gd name="connsiteX29" fmla="*/ 683723 w 948195"/>
                  <a:gd name="connsiteY29" fmla="*/ 228600 h 495300"/>
                  <a:gd name="connsiteX30" fmla="*/ 755161 w 948195"/>
                  <a:gd name="connsiteY30" fmla="*/ 223837 h 495300"/>
                  <a:gd name="connsiteX31" fmla="*/ 757542 w 948195"/>
                  <a:gd name="connsiteY31" fmla="*/ 216694 h 495300"/>
                  <a:gd name="connsiteX32" fmla="*/ 759923 w 948195"/>
                  <a:gd name="connsiteY32" fmla="*/ 204787 h 495300"/>
                  <a:gd name="connsiteX33" fmla="*/ 767067 w 948195"/>
                  <a:gd name="connsiteY33" fmla="*/ 202406 h 495300"/>
                  <a:gd name="connsiteX34" fmla="*/ 776592 w 948195"/>
                  <a:gd name="connsiteY34" fmla="*/ 200025 h 495300"/>
                  <a:gd name="connsiteX35" fmla="*/ 814692 w 948195"/>
                  <a:gd name="connsiteY35" fmla="*/ 207169 h 495300"/>
                  <a:gd name="connsiteX36" fmla="*/ 817073 w 948195"/>
                  <a:gd name="connsiteY36" fmla="*/ 214312 h 495300"/>
                  <a:gd name="connsiteX37" fmla="*/ 826598 w 948195"/>
                  <a:gd name="connsiteY37" fmla="*/ 235744 h 495300"/>
                  <a:gd name="connsiteX38" fmla="*/ 840886 w 948195"/>
                  <a:gd name="connsiteY38" fmla="*/ 233362 h 495300"/>
                  <a:gd name="connsiteX39" fmla="*/ 857554 w 948195"/>
                  <a:gd name="connsiteY39" fmla="*/ 235744 h 495300"/>
                  <a:gd name="connsiteX40" fmla="*/ 871842 w 948195"/>
                  <a:gd name="connsiteY40" fmla="*/ 247650 h 495300"/>
                  <a:gd name="connsiteX41" fmla="*/ 878986 w 948195"/>
                  <a:gd name="connsiteY41" fmla="*/ 252412 h 495300"/>
                  <a:gd name="connsiteX42" fmla="*/ 883748 w 948195"/>
                  <a:gd name="connsiteY42" fmla="*/ 259556 h 495300"/>
                  <a:gd name="connsiteX43" fmla="*/ 886129 w 948195"/>
                  <a:gd name="connsiteY43" fmla="*/ 278606 h 495300"/>
                  <a:gd name="connsiteX44" fmla="*/ 888511 w 948195"/>
                  <a:gd name="connsiteY44" fmla="*/ 290512 h 495300"/>
                  <a:gd name="connsiteX45" fmla="*/ 893273 w 948195"/>
                  <a:gd name="connsiteY45" fmla="*/ 340519 h 495300"/>
                  <a:gd name="connsiteX46" fmla="*/ 888511 w 948195"/>
                  <a:gd name="connsiteY46" fmla="*/ 423862 h 495300"/>
                  <a:gd name="connsiteX47" fmla="*/ 890892 w 948195"/>
                  <a:gd name="connsiteY47" fmla="*/ 447675 h 495300"/>
                  <a:gd name="connsiteX48" fmla="*/ 893273 w 948195"/>
                  <a:gd name="connsiteY48" fmla="*/ 457200 h 495300"/>
                  <a:gd name="connsiteX49" fmla="*/ 900417 w 948195"/>
                  <a:gd name="connsiteY49" fmla="*/ 461962 h 495300"/>
                  <a:gd name="connsiteX50" fmla="*/ 914704 w 948195"/>
                  <a:gd name="connsiteY50" fmla="*/ 466725 h 495300"/>
                  <a:gd name="connsiteX51" fmla="*/ 928992 w 948195"/>
                  <a:gd name="connsiteY51" fmla="*/ 471487 h 495300"/>
                  <a:gd name="connsiteX52" fmla="*/ 936136 w 948195"/>
                  <a:gd name="connsiteY52" fmla="*/ 473869 h 495300"/>
                  <a:gd name="connsiteX53" fmla="*/ 943279 w 948195"/>
                  <a:gd name="connsiteY53" fmla="*/ 476250 h 495300"/>
                  <a:gd name="connsiteX54" fmla="*/ 948042 w 948195"/>
                  <a:gd name="connsiteY54" fmla="*/ 483394 h 495300"/>
                  <a:gd name="connsiteX55" fmla="*/ 938517 w 948195"/>
                  <a:gd name="connsiteY55" fmla="*/ 492919 h 495300"/>
                  <a:gd name="connsiteX56" fmla="*/ 898036 w 948195"/>
                  <a:gd name="connsiteY56" fmla="*/ 495300 h 495300"/>
                  <a:gd name="connsiteX57" fmla="*/ 888511 w 948195"/>
                  <a:gd name="connsiteY57" fmla="*/ 492919 h 495300"/>
                  <a:gd name="connsiteX58" fmla="*/ 883748 w 948195"/>
                  <a:gd name="connsiteY58" fmla="*/ 485775 h 495300"/>
                  <a:gd name="connsiteX59" fmla="*/ 876604 w 948195"/>
                  <a:gd name="connsiteY59" fmla="*/ 478631 h 495300"/>
                  <a:gd name="connsiteX60" fmla="*/ 871842 w 948195"/>
                  <a:gd name="connsiteY60" fmla="*/ 471487 h 495300"/>
                  <a:gd name="connsiteX61" fmla="*/ 845648 w 948195"/>
                  <a:gd name="connsiteY61" fmla="*/ 466725 h 495300"/>
                  <a:gd name="connsiteX62" fmla="*/ 821836 w 948195"/>
                  <a:gd name="connsiteY62" fmla="*/ 459581 h 495300"/>
                  <a:gd name="connsiteX63" fmla="*/ 757542 w 948195"/>
                  <a:gd name="connsiteY63" fmla="*/ 457200 h 495300"/>
                  <a:gd name="connsiteX64" fmla="*/ 750398 w 948195"/>
                  <a:gd name="connsiteY64" fmla="*/ 452437 h 495300"/>
                  <a:gd name="connsiteX65" fmla="*/ 736111 w 948195"/>
                  <a:gd name="connsiteY65" fmla="*/ 447675 h 495300"/>
                  <a:gd name="connsiteX66" fmla="*/ 721823 w 948195"/>
                  <a:gd name="connsiteY66" fmla="*/ 440531 h 495300"/>
                  <a:gd name="connsiteX67" fmla="*/ 714679 w 948195"/>
                  <a:gd name="connsiteY67" fmla="*/ 435769 h 495300"/>
                  <a:gd name="connsiteX68" fmla="*/ 700392 w 948195"/>
                  <a:gd name="connsiteY68" fmla="*/ 431006 h 495300"/>
                  <a:gd name="connsiteX69" fmla="*/ 686104 w 948195"/>
                  <a:gd name="connsiteY69" fmla="*/ 423862 h 495300"/>
                  <a:gd name="connsiteX70" fmla="*/ 678961 w 948195"/>
                  <a:gd name="connsiteY70" fmla="*/ 419100 h 495300"/>
                  <a:gd name="connsiteX71" fmla="*/ 669436 w 948195"/>
                  <a:gd name="connsiteY71" fmla="*/ 416719 h 495300"/>
                  <a:gd name="connsiteX72" fmla="*/ 655148 w 948195"/>
                  <a:gd name="connsiteY72" fmla="*/ 411956 h 495300"/>
                  <a:gd name="connsiteX73" fmla="*/ 648004 w 948195"/>
                  <a:gd name="connsiteY73" fmla="*/ 409575 h 495300"/>
                  <a:gd name="connsiteX74" fmla="*/ 640861 w 948195"/>
                  <a:gd name="connsiteY74" fmla="*/ 404812 h 495300"/>
                  <a:gd name="connsiteX75" fmla="*/ 624192 w 948195"/>
                  <a:gd name="connsiteY75" fmla="*/ 400050 h 495300"/>
                  <a:gd name="connsiteX76" fmla="*/ 609904 w 948195"/>
                  <a:gd name="connsiteY76" fmla="*/ 395287 h 495300"/>
                  <a:gd name="connsiteX77" fmla="*/ 576567 w 948195"/>
                  <a:gd name="connsiteY77" fmla="*/ 390525 h 495300"/>
                  <a:gd name="connsiteX78" fmla="*/ 533704 w 948195"/>
                  <a:gd name="connsiteY78" fmla="*/ 392906 h 495300"/>
                  <a:gd name="connsiteX79" fmla="*/ 526561 w 948195"/>
                  <a:gd name="connsiteY79" fmla="*/ 395287 h 495300"/>
                  <a:gd name="connsiteX80" fmla="*/ 512273 w 948195"/>
                  <a:gd name="connsiteY80" fmla="*/ 397669 h 495300"/>
                  <a:gd name="connsiteX81" fmla="*/ 505129 w 948195"/>
                  <a:gd name="connsiteY81" fmla="*/ 400050 h 495300"/>
                  <a:gd name="connsiteX82" fmla="*/ 495604 w 948195"/>
                  <a:gd name="connsiteY82" fmla="*/ 402431 h 495300"/>
                  <a:gd name="connsiteX83" fmla="*/ 481317 w 948195"/>
                  <a:gd name="connsiteY83" fmla="*/ 411956 h 495300"/>
                  <a:gd name="connsiteX84" fmla="*/ 447979 w 948195"/>
                  <a:gd name="connsiteY84" fmla="*/ 419100 h 495300"/>
                  <a:gd name="connsiteX85" fmla="*/ 386067 w 948195"/>
                  <a:gd name="connsiteY85" fmla="*/ 416719 h 495300"/>
                  <a:gd name="connsiteX86" fmla="*/ 371779 w 948195"/>
                  <a:gd name="connsiteY86" fmla="*/ 414337 h 495300"/>
                  <a:gd name="connsiteX87" fmla="*/ 362254 w 948195"/>
                  <a:gd name="connsiteY87" fmla="*/ 409575 h 495300"/>
                  <a:gd name="connsiteX88" fmla="*/ 355111 w 948195"/>
                  <a:gd name="connsiteY88" fmla="*/ 407194 h 495300"/>
                  <a:gd name="connsiteX89" fmla="*/ 347967 w 948195"/>
                  <a:gd name="connsiteY89" fmla="*/ 402431 h 495300"/>
                  <a:gd name="connsiteX90" fmla="*/ 331298 w 948195"/>
                  <a:gd name="connsiteY90" fmla="*/ 397669 h 495300"/>
                  <a:gd name="connsiteX91" fmla="*/ 293198 w 948195"/>
                  <a:gd name="connsiteY91" fmla="*/ 392906 h 495300"/>
                  <a:gd name="connsiteX92" fmla="*/ 128892 w 948195"/>
                  <a:gd name="connsiteY92" fmla="*/ 388144 h 495300"/>
                  <a:gd name="connsiteX93" fmla="*/ 102698 w 948195"/>
                  <a:gd name="connsiteY93" fmla="*/ 376237 h 495300"/>
                  <a:gd name="connsiteX94" fmla="*/ 90792 w 948195"/>
                  <a:gd name="connsiteY94" fmla="*/ 366712 h 495300"/>
                  <a:gd name="connsiteX95" fmla="*/ 66979 w 948195"/>
                  <a:gd name="connsiteY95" fmla="*/ 364331 h 495300"/>
                  <a:gd name="connsiteX96" fmla="*/ 12211 w 948195"/>
                  <a:gd name="connsiteY96" fmla="*/ 361950 h 495300"/>
                  <a:gd name="connsiteX97" fmla="*/ 304 w 948195"/>
                  <a:gd name="connsiteY97" fmla="*/ 359569 h 495300"/>
                  <a:gd name="connsiteX98" fmla="*/ 7448 w 948195"/>
                  <a:gd name="connsiteY98" fmla="*/ 357187 h 495300"/>
                  <a:gd name="connsiteX99" fmla="*/ 21736 w 948195"/>
                  <a:gd name="connsiteY99" fmla="*/ 354806 h 495300"/>
                  <a:gd name="connsiteX100" fmla="*/ 38404 w 948195"/>
                  <a:gd name="connsiteY100" fmla="*/ 335756 h 495300"/>
                  <a:gd name="connsiteX101" fmla="*/ 43167 w 948195"/>
                  <a:gd name="connsiteY101" fmla="*/ 328612 h 495300"/>
                  <a:gd name="connsiteX102" fmla="*/ 47929 w 948195"/>
                  <a:gd name="connsiteY102" fmla="*/ 321469 h 495300"/>
                  <a:gd name="connsiteX103" fmla="*/ 62217 w 948195"/>
                  <a:gd name="connsiteY103" fmla="*/ 311944 h 495300"/>
                  <a:gd name="connsiteX104" fmla="*/ 78886 w 948195"/>
                  <a:gd name="connsiteY104" fmla="*/ 304800 h 495300"/>
                  <a:gd name="connsiteX105" fmla="*/ 86029 w 948195"/>
                  <a:gd name="connsiteY105" fmla="*/ 297656 h 495300"/>
                  <a:gd name="connsiteX106" fmla="*/ 93173 w 948195"/>
                  <a:gd name="connsiteY106" fmla="*/ 292894 h 495300"/>
                  <a:gd name="connsiteX107" fmla="*/ 97936 w 948195"/>
                  <a:gd name="connsiteY107" fmla="*/ 285750 h 495300"/>
                  <a:gd name="connsiteX108" fmla="*/ 102698 w 948195"/>
                  <a:gd name="connsiteY108" fmla="*/ 266700 h 495300"/>
                  <a:gd name="connsiteX109" fmla="*/ 97936 w 948195"/>
                  <a:gd name="connsiteY109" fmla="*/ 250031 h 495300"/>
                  <a:gd name="connsiteX110" fmla="*/ 83648 w 948195"/>
                  <a:gd name="connsiteY110" fmla="*/ 233362 h 495300"/>
                  <a:gd name="connsiteX111" fmla="*/ 78886 w 948195"/>
                  <a:gd name="connsiteY111" fmla="*/ 219075 h 495300"/>
                  <a:gd name="connsiteX112" fmla="*/ 76504 w 948195"/>
                  <a:gd name="connsiteY112" fmla="*/ 211931 h 495300"/>
                  <a:gd name="connsiteX113" fmla="*/ 78886 w 948195"/>
                  <a:gd name="connsiteY113" fmla="*/ 147637 h 495300"/>
                  <a:gd name="connsiteX114" fmla="*/ 83648 w 948195"/>
                  <a:gd name="connsiteY114" fmla="*/ 138112 h 495300"/>
                  <a:gd name="connsiteX115" fmla="*/ 95554 w 948195"/>
                  <a:gd name="connsiteY115" fmla="*/ 135731 h 495300"/>
                  <a:gd name="connsiteX116" fmla="*/ 126511 w 948195"/>
                  <a:gd name="connsiteY116" fmla="*/ 133350 h 495300"/>
                  <a:gd name="connsiteX117" fmla="*/ 140798 w 948195"/>
                  <a:gd name="connsiteY117" fmla="*/ 128587 h 495300"/>
                  <a:gd name="connsiteX118" fmla="*/ 147942 w 948195"/>
                  <a:gd name="connsiteY118" fmla="*/ 126206 h 495300"/>
                  <a:gd name="connsiteX119" fmla="*/ 155086 w 948195"/>
                  <a:gd name="connsiteY119" fmla="*/ 121444 h 495300"/>
                  <a:gd name="connsiteX120" fmla="*/ 162229 w 948195"/>
                  <a:gd name="connsiteY120" fmla="*/ 119062 h 495300"/>
                  <a:gd name="connsiteX121" fmla="*/ 176517 w 948195"/>
                  <a:gd name="connsiteY121" fmla="*/ 109537 h 495300"/>
                  <a:gd name="connsiteX122" fmla="*/ 183661 w 948195"/>
                  <a:gd name="connsiteY122" fmla="*/ 95250 h 495300"/>
                  <a:gd name="connsiteX123" fmla="*/ 188423 w 948195"/>
                  <a:gd name="connsiteY123" fmla="*/ 85725 h 495300"/>
                  <a:gd name="connsiteX124" fmla="*/ 193186 w 948195"/>
                  <a:gd name="connsiteY124" fmla="*/ 71437 h 495300"/>
                  <a:gd name="connsiteX125" fmla="*/ 197948 w 948195"/>
                  <a:gd name="connsiteY125" fmla="*/ 35719 h 495300"/>
                  <a:gd name="connsiteX126" fmla="*/ 202711 w 948195"/>
                  <a:gd name="connsiteY126" fmla="*/ 26194 h 495300"/>
                  <a:gd name="connsiteX127" fmla="*/ 207473 w 948195"/>
                  <a:gd name="connsiteY127" fmla="*/ 11906 h 495300"/>
                  <a:gd name="connsiteX128" fmla="*/ 209854 w 948195"/>
                  <a:gd name="connsiteY128" fmla="*/ 4762 h 495300"/>
                  <a:gd name="connsiteX129" fmla="*/ 207473 w 948195"/>
                  <a:gd name="connsiteY129"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948195" h="495300">
                    <a:moveTo>
                      <a:pt x="207473" y="0"/>
                    </a:moveTo>
                    <a:cubicBezTo>
                      <a:pt x="213823" y="794"/>
                      <a:pt x="220140" y="1925"/>
                      <a:pt x="226523" y="2381"/>
                    </a:cubicBezTo>
                    <a:cubicBezTo>
                      <a:pt x="283520" y="6452"/>
                      <a:pt x="257471" y="592"/>
                      <a:pt x="283673" y="7144"/>
                    </a:cubicBezTo>
                    <a:cubicBezTo>
                      <a:pt x="285261" y="9525"/>
                      <a:pt x="286282" y="12403"/>
                      <a:pt x="288436" y="14287"/>
                    </a:cubicBezTo>
                    <a:cubicBezTo>
                      <a:pt x="292744" y="18056"/>
                      <a:pt x="302723" y="23812"/>
                      <a:pt x="302723" y="23812"/>
                    </a:cubicBezTo>
                    <a:cubicBezTo>
                      <a:pt x="304311" y="26193"/>
                      <a:pt x="305059" y="29439"/>
                      <a:pt x="307486" y="30956"/>
                    </a:cubicBezTo>
                    <a:cubicBezTo>
                      <a:pt x="311743" y="33617"/>
                      <a:pt x="321773" y="35719"/>
                      <a:pt x="321773" y="35719"/>
                    </a:cubicBezTo>
                    <a:cubicBezTo>
                      <a:pt x="324269" y="28229"/>
                      <a:pt x="323653" y="26527"/>
                      <a:pt x="331298" y="21431"/>
                    </a:cubicBezTo>
                    <a:cubicBezTo>
                      <a:pt x="333387" y="20039"/>
                      <a:pt x="336061" y="19844"/>
                      <a:pt x="338442" y="19050"/>
                    </a:cubicBezTo>
                    <a:cubicBezTo>
                      <a:pt x="361461" y="19844"/>
                      <a:pt x="384655" y="18484"/>
                      <a:pt x="407498" y="21431"/>
                    </a:cubicBezTo>
                    <a:cubicBezTo>
                      <a:pt x="410337" y="21797"/>
                      <a:pt x="410026" y="26787"/>
                      <a:pt x="412261" y="28575"/>
                    </a:cubicBezTo>
                    <a:cubicBezTo>
                      <a:pt x="414702" y="30528"/>
                      <a:pt x="430718" y="33219"/>
                      <a:pt x="431311" y="33337"/>
                    </a:cubicBezTo>
                    <a:cubicBezTo>
                      <a:pt x="432105" y="44450"/>
                      <a:pt x="429227" y="56468"/>
                      <a:pt x="433692" y="66675"/>
                    </a:cubicBezTo>
                    <a:cubicBezTo>
                      <a:pt x="435704" y="71274"/>
                      <a:pt x="443217" y="69850"/>
                      <a:pt x="447979" y="71437"/>
                    </a:cubicBezTo>
                    <a:lnTo>
                      <a:pt x="455123" y="73819"/>
                    </a:lnTo>
                    <a:cubicBezTo>
                      <a:pt x="460392" y="79088"/>
                      <a:pt x="463712" y="81473"/>
                      <a:pt x="467029" y="88106"/>
                    </a:cubicBezTo>
                    <a:cubicBezTo>
                      <a:pt x="468152" y="90351"/>
                      <a:pt x="468617" y="92869"/>
                      <a:pt x="469411" y="95250"/>
                    </a:cubicBezTo>
                    <a:cubicBezTo>
                      <a:pt x="473103" y="183878"/>
                      <a:pt x="468779" y="125909"/>
                      <a:pt x="474173" y="169069"/>
                    </a:cubicBezTo>
                    <a:cubicBezTo>
                      <a:pt x="475064" y="176201"/>
                      <a:pt x="474098" y="183745"/>
                      <a:pt x="476554" y="190500"/>
                    </a:cubicBezTo>
                    <a:cubicBezTo>
                      <a:pt x="477544" y="193222"/>
                      <a:pt x="488213" y="197367"/>
                      <a:pt x="490842" y="197644"/>
                    </a:cubicBezTo>
                    <a:cubicBezTo>
                      <a:pt x="503497" y="198976"/>
                      <a:pt x="516242" y="199231"/>
                      <a:pt x="528942" y="200025"/>
                    </a:cubicBezTo>
                    <a:cubicBezTo>
                      <a:pt x="545318" y="210942"/>
                      <a:pt x="537799" y="207740"/>
                      <a:pt x="550373" y="211931"/>
                    </a:cubicBezTo>
                    <a:cubicBezTo>
                      <a:pt x="561693" y="219479"/>
                      <a:pt x="554802" y="215789"/>
                      <a:pt x="571804" y="221456"/>
                    </a:cubicBezTo>
                    <a:lnTo>
                      <a:pt x="578948" y="223837"/>
                    </a:lnTo>
                    <a:lnTo>
                      <a:pt x="593236" y="233362"/>
                    </a:lnTo>
                    <a:cubicBezTo>
                      <a:pt x="595617" y="234949"/>
                      <a:pt x="597664" y="237220"/>
                      <a:pt x="600379" y="238125"/>
                    </a:cubicBezTo>
                    <a:lnTo>
                      <a:pt x="614667" y="242887"/>
                    </a:lnTo>
                    <a:cubicBezTo>
                      <a:pt x="635011" y="241322"/>
                      <a:pt x="639971" y="242678"/>
                      <a:pt x="655148" y="238125"/>
                    </a:cubicBezTo>
                    <a:cubicBezTo>
                      <a:pt x="662361" y="235961"/>
                      <a:pt x="669435" y="233362"/>
                      <a:pt x="676579" y="230981"/>
                    </a:cubicBezTo>
                    <a:cubicBezTo>
                      <a:pt x="678960" y="230187"/>
                      <a:pt x="681228" y="228877"/>
                      <a:pt x="683723" y="228600"/>
                    </a:cubicBezTo>
                    <a:cubicBezTo>
                      <a:pt x="721740" y="224376"/>
                      <a:pt x="697975" y="226561"/>
                      <a:pt x="755161" y="223837"/>
                    </a:cubicBezTo>
                    <a:cubicBezTo>
                      <a:pt x="755955" y="221456"/>
                      <a:pt x="756933" y="219129"/>
                      <a:pt x="757542" y="216694"/>
                    </a:cubicBezTo>
                    <a:cubicBezTo>
                      <a:pt x="758524" y="212767"/>
                      <a:pt x="757678" y="208155"/>
                      <a:pt x="759923" y="204787"/>
                    </a:cubicBezTo>
                    <a:cubicBezTo>
                      <a:pt x="761315" y="202698"/>
                      <a:pt x="764653" y="203096"/>
                      <a:pt x="767067" y="202406"/>
                    </a:cubicBezTo>
                    <a:cubicBezTo>
                      <a:pt x="770214" y="201507"/>
                      <a:pt x="773417" y="200819"/>
                      <a:pt x="776592" y="200025"/>
                    </a:cubicBezTo>
                    <a:cubicBezTo>
                      <a:pt x="782076" y="200447"/>
                      <a:pt x="806771" y="197268"/>
                      <a:pt x="814692" y="207169"/>
                    </a:cubicBezTo>
                    <a:cubicBezTo>
                      <a:pt x="816260" y="209129"/>
                      <a:pt x="816279" y="211931"/>
                      <a:pt x="817073" y="214312"/>
                    </a:cubicBezTo>
                    <a:cubicBezTo>
                      <a:pt x="817990" y="220734"/>
                      <a:pt x="815737" y="234537"/>
                      <a:pt x="826598" y="235744"/>
                    </a:cubicBezTo>
                    <a:cubicBezTo>
                      <a:pt x="831397" y="236277"/>
                      <a:pt x="836123" y="234156"/>
                      <a:pt x="840886" y="233362"/>
                    </a:cubicBezTo>
                    <a:cubicBezTo>
                      <a:pt x="846442" y="234156"/>
                      <a:pt x="852178" y="234131"/>
                      <a:pt x="857554" y="235744"/>
                    </a:cubicBezTo>
                    <a:cubicBezTo>
                      <a:pt x="863099" y="237408"/>
                      <a:pt x="867853" y="244326"/>
                      <a:pt x="871842" y="247650"/>
                    </a:cubicBezTo>
                    <a:cubicBezTo>
                      <a:pt x="874041" y="249482"/>
                      <a:pt x="876605" y="250825"/>
                      <a:pt x="878986" y="252412"/>
                    </a:cubicBezTo>
                    <a:cubicBezTo>
                      <a:pt x="880573" y="254793"/>
                      <a:pt x="882995" y="256795"/>
                      <a:pt x="883748" y="259556"/>
                    </a:cubicBezTo>
                    <a:cubicBezTo>
                      <a:pt x="885432" y="265730"/>
                      <a:pt x="885156" y="272281"/>
                      <a:pt x="886129" y="278606"/>
                    </a:cubicBezTo>
                    <a:cubicBezTo>
                      <a:pt x="886744" y="282606"/>
                      <a:pt x="887717" y="286543"/>
                      <a:pt x="888511" y="290512"/>
                    </a:cubicBezTo>
                    <a:cubicBezTo>
                      <a:pt x="890098" y="307181"/>
                      <a:pt x="894557" y="323824"/>
                      <a:pt x="893273" y="340519"/>
                    </a:cubicBezTo>
                    <a:cubicBezTo>
                      <a:pt x="889551" y="388904"/>
                      <a:pt x="891362" y="361137"/>
                      <a:pt x="888511" y="423862"/>
                    </a:cubicBezTo>
                    <a:cubicBezTo>
                      <a:pt x="889305" y="431800"/>
                      <a:pt x="889764" y="439778"/>
                      <a:pt x="890892" y="447675"/>
                    </a:cubicBezTo>
                    <a:cubicBezTo>
                      <a:pt x="891355" y="450915"/>
                      <a:pt x="891458" y="454477"/>
                      <a:pt x="893273" y="457200"/>
                    </a:cubicBezTo>
                    <a:cubicBezTo>
                      <a:pt x="894861" y="459581"/>
                      <a:pt x="897802" y="460800"/>
                      <a:pt x="900417" y="461962"/>
                    </a:cubicBezTo>
                    <a:cubicBezTo>
                      <a:pt x="905004" y="464001"/>
                      <a:pt x="909942" y="465137"/>
                      <a:pt x="914704" y="466725"/>
                    </a:cubicBezTo>
                    <a:lnTo>
                      <a:pt x="928992" y="471487"/>
                    </a:lnTo>
                    <a:lnTo>
                      <a:pt x="936136" y="473869"/>
                    </a:lnTo>
                    <a:lnTo>
                      <a:pt x="943279" y="476250"/>
                    </a:lnTo>
                    <a:cubicBezTo>
                      <a:pt x="944867" y="478631"/>
                      <a:pt x="947571" y="480571"/>
                      <a:pt x="948042" y="483394"/>
                    </a:cubicBezTo>
                    <a:cubicBezTo>
                      <a:pt x="949187" y="490263"/>
                      <a:pt x="943721" y="492399"/>
                      <a:pt x="938517" y="492919"/>
                    </a:cubicBezTo>
                    <a:cubicBezTo>
                      <a:pt x="925067" y="494264"/>
                      <a:pt x="911530" y="494506"/>
                      <a:pt x="898036" y="495300"/>
                    </a:cubicBezTo>
                    <a:cubicBezTo>
                      <a:pt x="894861" y="494506"/>
                      <a:pt x="891234" y="494734"/>
                      <a:pt x="888511" y="492919"/>
                    </a:cubicBezTo>
                    <a:cubicBezTo>
                      <a:pt x="886130" y="491331"/>
                      <a:pt x="885580" y="487974"/>
                      <a:pt x="883748" y="485775"/>
                    </a:cubicBezTo>
                    <a:cubicBezTo>
                      <a:pt x="881592" y="483188"/>
                      <a:pt x="878760" y="481218"/>
                      <a:pt x="876604" y="478631"/>
                    </a:cubicBezTo>
                    <a:cubicBezTo>
                      <a:pt x="874772" y="476432"/>
                      <a:pt x="874327" y="472907"/>
                      <a:pt x="871842" y="471487"/>
                    </a:cubicBezTo>
                    <a:cubicBezTo>
                      <a:pt x="870458" y="470696"/>
                      <a:pt x="845727" y="466745"/>
                      <a:pt x="845648" y="466725"/>
                    </a:cubicBezTo>
                    <a:cubicBezTo>
                      <a:pt x="842516" y="465942"/>
                      <a:pt x="826935" y="459910"/>
                      <a:pt x="821836" y="459581"/>
                    </a:cubicBezTo>
                    <a:cubicBezTo>
                      <a:pt x="800434" y="458200"/>
                      <a:pt x="778973" y="457994"/>
                      <a:pt x="757542" y="457200"/>
                    </a:cubicBezTo>
                    <a:cubicBezTo>
                      <a:pt x="755161" y="455612"/>
                      <a:pt x="753013" y="453599"/>
                      <a:pt x="750398" y="452437"/>
                    </a:cubicBezTo>
                    <a:cubicBezTo>
                      <a:pt x="745811" y="450398"/>
                      <a:pt x="736111" y="447675"/>
                      <a:pt x="736111" y="447675"/>
                    </a:cubicBezTo>
                    <a:cubicBezTo>
                      <a:pt x="715646" y="434031"/>
                      <a:pt x="741533" y="450385"/>
                      <a:pt x="721823" y="440531"/>
                    </a:cubicBezTo>
                    <a:cubicBezTo>
                      <a:pt x="719263" y="439251"/>
                      <a:pt x="717294" y="436931"/>
                      <a:pt x="714679" y="435769"/>
                    </a:cubicBezTo>
                    <a:cubicBezTo>
                      <a:pt x="710092" y="433730"/>
                      <a:pt x="704569" y="433790"/>
                      <a:pt x="700392" y="431006"/>
                    </a:cubicBezTo>
                    <a:cubicBezTo>
                      <a:pt x="679914" y="417356"/>
                      <a:pt x="705826" y="433724"/>
                      <a:pt x="686104" y="423862"/>
                    </a:cubicBezTo>
                    <a:cubicBezTo>
                      <a:pt x="683545" y="422582"/>
                      <a:pt x="681591" y="420227"/>
                      <a:pt x="678961" y="419100"/>
                    </a:cubicBezTo>
                    <a:cubicBezTo>
                      <a:pt x="675953" y="417811"/>
                      <a:pt x="672571" y="417659"/>
                      <a:pt x="669436" y="416719"/>
                    </a:cubicBezTo>
                    <a:cubicBezTo>
                      <a:pt x="664627" y="415276"/>
                      <a:pt x="659911" y="413544"/>
                      <a:pt x="655148" y="411956"/>
                    </a:cubicBezTo>
                    <a:lnTo>
                      <a:pt x="648004" y="409575"/>
                    </a:lnTo>
                    <a:cubicBezTo>
                      <a:pt x="645623" y="407987"/>
                      <a:pt x="643421" y="406092"/>
                      <a:pt x="640861" y="404812"/>
                    </a:cubicBezTo>
                    <a:cubicBezTo>
                      <a:pt x="636861" y="402812"/>
                      <a:pt x="628004" y="401194"/>
                      <a:pt x="624192" y="400050"/>
                    </a:cubicBezTo>
                    <a:cubicBezTo>
                      <a:pt x="619383" y="398607"/>
                      <a:pt x="614886" y="395910"/>
                      <a:pt x="609904" y="395287"/>
                    </a:cubicBezTo>
                    <a:cubicBezTo>
                      <a:pt x="586063" y="392307"/>
                      <a:pt x="597166" y="393958"/>
                      <a:pt x="576567" y="390525"/>
                    </a:cubicBezTo>
                    <a:cubicBezTo>
                      <a:pt x="562279" y="391319"/>
                      <a:pt x="547949" y="391549"/>
                      <a:pt x="533704" y="392906"/>
                    </a:cubicBezTo>
                    <a:cubicBezTo>
                      <a:pt x="531206" y="393144"/>
                      <a:pt x="529011" y="394742"/>
                      <a:pt x="526561" y="395287"/>
                    </a:cubicBezTo>
                    <a:cubicBezTo>
                      <a:pt x="521848" y="396335"/>
                      <a:pt x="516986" y="396622"/>
                      <a:pt x="512273" y="397669"/>
                    </a:cubicBezTo>
                    <a:cubicBezTo>
                      <a:pt x="509823" y="398214"/>
                      <a:pt x="507543" y="399360"/>
                      <a:pt x="505129" y="400050"/>
                    </a:cubicBezTo>
                    <a:cubicBezTo>
                      <a:pt x="501982" y="400949"/>
                      <a:pt x="498779" y="401637"/>
                      <a:pt x="495604" y="402431"/>
                    </a:cubicBezTo>
                    <a:cubicBezTo>
                      <a:pt x="490842" y="405606"/>
                      <a:pt x="486747" y="410146"/>
                      <a:pt x="481317" y="411956"/>
                    </a:cubicBezTo>
                    <a:cubicBezTo>
                      <a:pt x="460958" y="418743"/>
                      <a:pt x="472011" y="416096"/>
                      <a:pt x="447979" y="419100"/>
                    </a:cubicBezTo>
                    <a:cubicBezTo>
                      <a:pt x="427342" y="418306"/>
                      <a:pt x="406679" y="418007"/>
                      <a:pt x="386067" y="416719"/>
                    </a:cubicBezTo>
                    <a:cubicBezTo>
                      <a:pt x="381248" y="416418"/>
                      <a:pt x="376404" y="415724"/>
                      <a:pt x="371779" y="414337"/>
                    </a:cubicBezTo>
                    <a:cubicBezTo>
                      <a:pt x="368379" y="413317"/>
                      <a:pt x="365517" y="410973"/>
                      <a:pt x="362254" y="409575"/>
                    </a:cubicBezTo>
                    <a:cubicBezTo>
                      <a:pt x="359947" y="408586"/>
                      <a:pt x="357492" y="407988"/>
                      <a:pt x="355111" y="407194"/>
                    </a:cubicBezTo>
                    <a:cubicBezTo>
                      <a:pt x="352730" y="405606"/>
                      <a:pt x="350527" y="403711"/>
                      <a:pt x="347967" y="402431"/>
                    </a:cubicBezTo>
                    <a:cubicBezTo>
                      <a:pt x="344941" y="400918"/>
                      <a:pt x="333840" y="398178"/>
                      <a:pt x="331298" y="397669"/>
                    </a:cubicBezTo>
                    <a:cubicBezTo>
                      <a:pt x="320323" y="395474"/>
                      <a:pt x="303341" y="393291"/>
                      <a:pt x="293198" y="392906"/>
                    </a:cubicBezTo>
                    <a:lnTo>
                      <a:pt x="128892" y="388144"/>
                    </a:lnTo>
                    <a:cubicBezTo>
                      <a:pt x="114149" y="385194"/>
                      <a:pt x="116429" y="387222"/>
                      <a:pt x="102698" y="376237"/>
                    </a:cubicBezTo>
                    <a:cubicBezTo>
                      <a:pt x="98729" y="373062"/>
                      <a:pt x="95614" y="368319"/>
                      <a:pt x="90792" y="366712"/>
                    </a:cubicBezTo>
                    <a:cubicBezTo>
                      <a:pt x="83224" y="364189"/>
                      <a:pt x="74942" y="364814"/>
                      <a:pt x="66979" y="364331"/>
                    </a:cubicBezTo>
                    <a:cubicBezTo>
                      <a:pt x="48739" y="363226"/>
                      <a:pt x="30467" y="362744"/>
                      <a:pt x="12211" y="361950"/>
                    </a:cubicBezTo>
                    <a:cubicBezTo>
                      <a:pt x="8242" y="361156"/>
                      <a:pt x="3166" y="362431"/>
                      <a:pt x="304" y="359569"/>
                    </a:cubicBezTo>
                    <a:cubicBezTo>
                      <a:pt x="-1471" y="357794"/>
                      <a:pt x="4998" y="357732"/>
                      <a:pt x="7448" y="357187"/>
                    </a:cubicBezTo>
                    <a:cubicBezTo>
                      <a:pt x="12161" y="356140"/>
                      <a:pt x="16973" y="355600"/>
                      <a:pt x="21736" y="354806"/>
                    </a:cubicBezTo>
                    <a:cubicBezTo>
                      <a:pt x="33642" y="346869"/>
                      <a:pt x="27291" y="352425"/>
                      <a:pt x="38404" y="335756"/>
                    </a:cubicBezTo>
                    <a:lnTo>
                      <a:pt x="43167" y="328612"/>
                    </a:lnTo>
                    <a:cubicBezTo>
                      <a:pt x="44754" y="326231"/>
                      <a:pt x="45548" y="323056"/>
                      <a:pt x="47929" y="321469"/>
                    </a:cubicBezTo>
                    <a:cubicBezTo>
                      <a:pt x="52692" y="318294"/>
                      <a:pt x="56787" y="313755"/>
                      <a:pt x="62217" y="311944"/>
                    </a:cubicBezTo>
                    <a:cubicBezTo>
                      <a:pt x="72728" y="308439"/>
                      <a:pt x="67116" y="310685"/>
                      <a:pt x="78886" y="304800"/>
                    </a:cubicBezTo>
                    <a:cubicBezTo>
                      <a:pt x="81267" y="302419"/>
                      <a:pt x="83442" y="299812"/>
                      <a:pt x="86029" y="297656"/>
                    </a:cubicBezTo>
                    <a:cubicBezTo>
                      <a:pt x="88228" y="295824"/>
                      <a:pt x="91149" y="294918"/>
                      <a:pt x="93173" y="292894"/>
                    </a:cubicBezTo>
                    <a:cubicBezTo>
                      <a:pt x="95197" y="290870"/>
                      <a:pt x="96348" y="288131"/>
                      <a:pt x="97936" y="285750"/>
                    </a:cubicBezTo>
                    <a:cubicBezTo>
                      <a:pt x="99523" y="279400"/>
                      <a:pt x="104285" y="273050"/>
                      <a:pt x="102698" y="266700"/>
                    </a:cubicBezTo>
                    <a:cubicBezTo>
                      <a:pt x="102183" y="264639"/>
                      <a:pt x="99454" y="252687"/>
                      <a:pt x="97936" y="250031"/>
                    </a:cubicBezTo>
                    <a:cubicBezTo>
                      <a:pt x="93864" y="242904"/>
                      <a:pt x="89277" y="238991"/>
                      <a:pt x="83648" y="233362"/>
                    </a:cubicBezTo>
                    <a:lnTo>
                      <a:pt x="78886" y="219075"/>
                    </a:lnTo>
                    <a:lnTo>
                      <a:pt x="76504" y="211931"/>
                    </a:lnTo>
                    <a:cubicBezTo>
                      <a:pt x="77298" y="190500"/>
                      <a:pt x="76820" y="168983"/>
                      <a:pt x="78886" y="147637"/>
                    </a:cubicBezTo>
                    <a:cubicBezTo>
                      <a:pt x="79228" y="144104"/>
                      <a:pt x="80760" y="140175"/>
                      <a:pt x="83648" y="138112"/>
                    </a:cubicBezTo>
                    <a:cubicBezTo>
                      <a:pt x="86941" y="135760"/>
                      <a:pt x="91531" y="136178"/>
                      <a:pt x="95554" y="135731"/>
                    </a:cubicBezTo>
                    <a:cubicBezTo>
                      <a:pt x="105840" y="134588"/>
                      <a:pt x="116192" y="134144"/>
                      <a:pt x="126511" y="133350"/>
                    </a:cubicBezTo>
                    <a:lnTo>
                      <a:pt x="140798" y="128587"/>
                    </a:lnTo>
                    <a:cubicBezTo>
                      <a:pt x="143179" y="127793"/>
                      <a:pt x="145853" y="127598"/>
                      <a:pt x="147942" y="126206"/>
                    </a:cubicBezTo>
                    <a:cubicBezTo>
                      <a:pt x="150323" y="124619"/>
                      <a:pt x="152526" y="122724"/>
                      <a:pt x="155086" y="121444"/>
                    </a:cubicBezTo>
                    <a:cubicBezTo>
                      <a:pt x="157331" y="120321"/>
                      <a:pt x="160035" y="120281"/>
                      <a:pt x="162229" y="119062"/>
                    </a:cubicBezTo>
                    <a:cubicBezTo>
                      <a:pt x="167233" y="116282"/>
                      <a:pt x="176517" y="109537"/>
                      <a:pt x="176517" y="109537"/>
                    </a:cubicBezTo>
                    <a:cubicBezTo>
                      <a:pt x="185666" y="95814"/>
                      <a:pt x="177747" y="109049"/>
                      <a:pt x="183661" y="95250"/>
                    </a:cubicBezTo>
                    <a:cubicBezTo>
                      <a:pt x="185059" y="91987"/>
                      <a:pt x="187105" y="89021"/>
                      <a:pt x="188423" y="85725"/>
                    </a:cubicBezTo>
                    <a:cubicBezTo>
                      <a:pt x="190287" y="81064"/>
                      <a:pt x="193186" y="71437"/>
                      <a:pt x="193186" y="71437"/>
                    </a:cubicBezTo>
                    <a:cubicBezTo>
                      <a:pt x="193931" y="63242"/>
                      <a:pt x="194162" y="45814"/>
                      <a:pt x="197948" y="35719"/>
                    </a:cubicBezTo>
                    <a:cubicBezTo>
                      <a:pt x="199194" y="32395"/>
                      <a:pt x="201393" y="29490"/>
                      <a:pt x="202711" y="26194"/>
                    </a:cubicBezTo>
                    <a:cubicBezTo>
                      <a:pt x="204575" y="21533"/>
                      <a:pt x="205886" y="16669"/>
                      <a:pt x="207473" y="11906"/>
                    </a:cubicBezTo>
                    <a:cubicBezTo>
                      <a:pt x="208267" y="9525"/>
                      <a:pt x="207344" y="4762"/>
                      <a:pt x="209854" y="4762"/>
                    </a:cubicBezTo>
                    <a:lnTo>
                      <a:pt x="207473"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2" name="Freeform 201"/>
              <p:cNvSpPr/>
              <p:nvPr/>
            </p:nvSpPr>
            <p:spPr>
              <a:xfrm>
                <a:off x="4729842" y="4841761"/>
                <a:ext cx="342900" cy="104775"/>
              </a:xfrm>
              <a:custGeom>
                <a:avLst/>
                <a:gdLst>
                  <a:gd name="connsiteX0" fmla="*/ 50006 w 342900"/>
                  <a:gd name="connsiteY0" fmla="*/ 9525 h 104775"/>
                  <a:gd name="connsiteX1" fmla="*/ 38100 w 342900"/>
                  <a:gd name="connsiteY1" fmla="*/ 11906 h 104775"/>
                  <a:gd name="connsiteX2" fmla="*/ 4763 w 342900"/>
                  <a:gd name="connsiteY2" fmla="*/ 14287 h 104775"/>
                  <a:gd name="connsiteX3" fmla="*/ 0 w 342900"/>
                  <a:gd name="connsiteY3" fmla="*/ 28575 h 104775"/>
                  <a:gd name="connsiteX4" fmla="*/ 2381 w 342900"/>
                  <a:gd name="connsiteY4" fmla="*/ 42862 h 104775"/>
                  <a:gd name="connsiteX5" fmla="*/ 7144 w 342900"/>
                  <a:gd name="connsiteY5" fmla="*/ 57150 h 104775"/>
                  <a:gd name="connsiteX6" fmla="*/ 9525 w 342900"/>
                  <a:gd name="connsiteY6" fmla="*/ 64294 h 104775"/>
                  <a:gd name="connsiteX7" fmla="*/ 16669 w 342900"/>
                  <a:gd name="connsiteY7" fmla="*/ 78581 h 104775"/>
                  <a:gd name="connsiteX8" fmla="*/ 23813 w 342900"/>
                  <a:gd name="connsiteY8" fmla="*/ 80962 h 104775"/>
                  <a:gd name="connsiteX9" fmla="*/ 66675 w 342900"/>
                  <a:gd name="connsiteY9" fmla="*/ 83344 h 104775"/>
                  <a:gd name="connsiteX10" fmla="*/ 80963 w 342900"/>
                  <a:gd name="connsiteY10" fmla="*/ 90487 h 104775"/>
                  <a:gd name="connsiteX11" fmla="*/ 107156 w 342900"/>
                  <a:gd name="connsiteY11" fmla="*/ 97631 h 104775"/>
                  <a:gd name="connsiteX12" fmla="*/ 152400 w 342900"/>
                  <a:gd name="connsiteY12" fmla="*/ 100012 h 104775"/>
                  <a:gd name="connsiteX13" fmla="*/ 171450 w 342900"/>
                  <a:gd name="connsiteY13" fmla="*/ 102394 h 104775"/>
                  <a:gd name="connsiteX14" fmla="*/ 185738 w 342900"/>
                  <a:gd name="connsiteY14" fmla="*/ 104775 h 104775"/>
                  <a:gd name="connsiteX15" fmla="*/ 200025 w 342900"/>
                  <a:gd name="connsiteY15" fmla="*/ 102394 h 104775"/>
                  <a:gd name="connsiteX16" fmla="*/ 207169 w 342900"/>
                  <a:gd name="connsiteY16" fmla="*/ 88106 h 104775"/>
                  <a:gd name="connsiteX17" fmla="*/ 219075 w 342900"/>
                  <a:gd name="connsiteY17" fmla="*/ 73819 h 104775"/>
                  <a:gd name="connsiteX18" fmla="*/ 245269 w 342900"/>
                  <a:gd name="connsiteY18" fmla="*/ 76200 h 104775"/>
                  <a:gd name="connsiteX19" fmla="*/ 252413 w 342900"/>
                  <a:gd name="connsiteY19" fmla="*/ 78581 h 104775"/>
                  <a:gd name="connsiteX20" fmla="*/ 269081 w 342900"/>
                  <a:gd name="connsiteY20" fmla="*/ 76200 h 104775"/>
                  <a:gd name="connsiteX21" fmla="*/ 276225 w 342900"/>
                  <a:gd name="connsiteY21" fmla="*/ 69056 h 104775"/>
                  <a:gd name="connsiteX22" fmla="*/ 280988 w 342900"/>
                  <a:gd name="connsiteY22" fmla="*/ 54769 h 104775"/>
                  <a:gd name="connsiteX23" fmla="*/ 288131 w 342900"/>
                  <a:gd name="connsiteY23" fmla="*/ 50006 h 104775"/>
                  <a:gd name="connsiteX24" fmla="*/ 302419 w 342900"/>
                  <a:gd name="connsiteY24" fmla="*/ 45244 h 104775"/>
                  <a:gd name="connsiteX25" fmla="*/ 342900 w 342900"/>
                  <a:gd name="connsiteY25" fmla="*/ 40481 h 104775"/>
                  <a:gd name="connsiteX26" fmla="*/ 338138 w 342900"/>
                  <a:gd name="connsiteY26" fmla="*/ 33337 h 104775"/>
                  <a:gd name="connsiteX27" fmla="*/ 330994 w 342900"/>
                  <a:gd name="connsiteY27" fmla="*/ 30956 h 104775"/>
                  <a:gd name="connsiteX28" fmla="*/ 316706 w 342900"/>
                  <a:gd name="connsiteY28" fmla="*/ 23812 h 104775"/>
                  <a:gd name="connsiteX29" fmla="*/ 304800 w 342900"/>
                  <a:gd name="connsiteY29" fmla="*/ 9525 h 104775"/>
                  <a:gd name="connsiteX30" fmla="*/ 297656 w 342900"/>
                  <a:gd name="connsiteY30" fmla="*/ 7144 h 104775"/>
                  <a:gd name="connsiteX31" fmla="*/ 283369 w 342900"/>
                  <a:gd name="connsiteY31" fmla="*/ 0 h 104775"/>
                  <a:gd name="connsiteX32" fmla="*/ 276225 w 342900"/>
                  <a:gd name="connsiteY32" fmla="*/ 2381 h 104775"/>
                  <a:gd name="connsiteX33" fmla="*/ 269081 w 342900"/>
                  <a:gd name="connsiteY33" fmla="*/ 7144 h 104775"/>
                  <a:gd name="connsiteX34" fmla="*/ 266700 w 342900"/>
                  <a:gd name="connsiteY34" fmla="*/ 14287 h 104775"/>
                  <a:gd name="connsiteX35" fmla="*/ 254794 w 342900"/>
                  <a:gd name="connsiteY35" fmla="*/ 28575 h 104775"/>
                  <a:gd name="connsiteX36" fmla="*/ 245269 w 342900"/>
                  <a:gd name="connsiteY36" fmla="*/ 30956 h 104775"/>
                  <a:gd name="connsiteX37" fmla="*/ 230981 w 342900"/>
                  <a:gd name="connsiteY37" fmla="*/ 28575 h 104775"/>
                  <a:gd name="connsiteX38" fmla="*/ 202406 w 342900"/>
                  <a:gd name="connsiteY38" fmla="*/ 14287 h 104775"/>
                  <a:gd name="connsiteX39" fmla="*/ 114300 w 342900"/>
                  <a:gd name="connsiteY39" fmla="*/ 11906 h 104775"/>
                  <a:gd name="connsiteX40" fmla="*/ 107156 w 342900"/>
                  <a:gd name="connsiteY40" fmla="*/ 9525 h 104775"/>
                  <a:gd name="connsiteX41" fmla="*/ 69056 w 342900"/>
                  <a:gd name="connsiteY41" fmla="*/ 4762 h 104775"/>
                  <a:gd name="connsiteX42" fmla="*/ 57150 w 342900"/>
                  <a:gd name="connsiteY42" fmla="*/ 2381 h 104775"/>
                  <a:gd name="connsiteX43" fmla="*/ 50006 w 342900"/>
                  <a:gd name="connsiteY43" fmla="*/ 95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900" h="104775">
                    <a:moveTo>
                      <a:pt x="50006" y="9525"/>
                    </a:moveTo>
                    <a:cubicBezTo>
                      <a:pt x="46831" y="11112"/>
                      <a:pt x="42125" y="11482"/>
                      <a:pt x="38100" y="11906"/>
                    </a:cubicBezTo>
                    <a:cubicBezTo>
                      <a:pt x="27021" y="13072"/>
                      <a:pt x="14970" y="9822"/>
                      <a:pt x="4763" y="14287"/>
                    </a:cubicBezTo>
                    <a:cubicBezTo>
                      <a:pt x="164" y="16299"/>
                      <a:pt x="0" y="28575"/>
                      <a:pt x="0" y="28575"/>
                    </a:cubicBezTo>
                    <a:cubicBezTo>
                      <a:pt x="794" y="33337"/>
                      <a:pt x="1210" y="38178"/>
                      <a:pt x="2381" y="42862"/>
                    </a:cubicBezTo>
                    <a:cubicBezTo>
                      <a:pt x="3599" y="47732"/>
                      <a:pt x="5556" y="52387"/>
                      <a:pt x="7144" y="57150"/>
                    </a:cubicBezTo>
                    <a:lnTo>
                      <a:pt x="9525" y="64294"/>
                    </a:lnTo>
                    <a:cubicBezTo>
                      <a:pt x="11094" y="69000"/>
                      <a:pt x="12472" y="75224"/>
                      <a:pt x="16669" y="78581"/>
                    </a:cubicBezTo>
                    <a:cubicBezTo>
                      <a:pt x="18629" y="80149"/>
                      <a:pt x="21314" y="80724"/>
                      <a:pt x="23813" y="80962"/>
                    </a:cubicBezTo>
                    <a:cubicBezTo>
                      <a:pt x="38058" y="82319"/>
                      <a:pt x="52388" y="82550"/>
                      <a:pt x="66675" y="83344"/>
                    </a:cubicBezTo>
                    <a:cubicBezTo>
                      <a:pt x="92715" y="92023"/>
                      <a:pt x="53282" y="78184"/>
                      <a:pt x="80963" y="90487"/>
                    </a:cubicBezTo>
                    <a:cubicBezTo>
                      <a:pt x="86771" y="93069"/>
                      <a:pt x="100259" y="97056"/>
                      <a:pt x="107156" y="97631"/>
                    </a:cubicBezTo>
                    <a:cubicBezTo>
                      <a:pt x="122206" y="98885"/>
                      <a:pt x="137319" y="99218"/>
                      <a:pt x="152400" y="100012"/>
                    </a:cubicBezTo>
                    <a:lnTo>
                      <a:pt x="171450" y="102394"/>
                    </a:lnTo>
                    <a:cubicBezTo>
                      <a:pt x="176230" y="103077"/>
                      <a:pt x="180910" y="104775"/>
                      <a:pt x="185738" y="104775"/>
                    </a:cubicBezTo>
                    <a:cubicBezTo>
                      <a:pt x="190566" y="104775"/>
                      <a:pt x="195263" y="103188"/>
                      <a:pt x="200025" y="102394"/>
                    </a:cubicBezTo>
                    <a:cubicBezTo>
                      <a:pt x="213669" y="81929"/>
                      <a:pt x="197315" y="107816"/>
                      <a:pt x="207169" y="88106"/>
                    </a:cubicBezTo>
                    <a:cubicBezTo>
                      <a:pt x="210485" y="81473"/>
                      <a:pt x="213807" y="79087"/>
                      <a:pt x="219075" y="73819"/>
                    </a:cubicBezTo>
                    <a:cubicBezTo>
                      <a:pt x="227806" y="74613"/>
                      <a:pt x="236590" y="74960"/>
                      <a:pt x="245269" y="76200"/>
                    </a:cubicBezTo>
                    <a:cubicBezTo>
                      <a:pt x="247754" y="76555"/>
                      <a:pt x="249903" y="78581"/>
                      <a:pt x="252413" y="78581"/>
                    </a:cubicBezTo>
                    <a:cubicBezTo>
                      <a:pt x="258025" y="78581"/>
                      <a:pt x="263525" y="76994"/>
                      <a:pt x="269081" y="76200"/>
                    </a:cubicBezTo>
                    <a:cubicBezTo>
                      <a:pt x="271462" y="73819"/>
                      <a:pt x="274589" y="72000"/>
                      <a:pt x="276225" y="69056"/>
                    </a:cubicBezTo>
                    <a:cubicBezTo>
                      <a:pt x="278663" y="64668"/>
                      <a:pt x="276811" y="57554"/>
                      <a:pt x="280988" y="54769"/>
                    </a:cubicBezTo>
                    <a:cubicBezTo>
                      <a:pt x="283369" y="53181"/>
                      <a:pt x="285516" y="51168"/>
                      <a:pt x="288131" y="50006"/>
                    </a:cubicBezTo>
                    <a:cubicBezTo>
                      <a:pt x="292719" y="47967"/>
                      <a:pt x="297656" y="46832"/>
                      <a:pt x="302419" y="45244"/>
                    </a:cubicBezTo>
                    <a:cubicBezTo>
                      <a:pt x="320138" y="39338"/>
                      <a:pt x="307031" y="43043"/>
                      <a:pt x="342900" y="40481"/>
                    </a:cubicBezTo>
                    <a:cubicBezTo>
                      <a:pt x="341313" y="38100"/>
                      <a:pt x="340373" y="35125"/>
                      <a:pt x="338138" y="33337"/>
                    </a:cubicBezTo>
                    <a:cubicBezTo>
                      <a:pt x="336178" y="31769"/>
                      <a:pt x="333239" y="32078"/>
                      <a:pt x="330994" y="30956"/>
                    </a:cubicBezTo>
                    <a:cubicBezTo>
                      <a:pt x="312521" y="21721"/>
                      <a:pt x="334670" y="29802"/>
                      <a:pt x="316706" y="23812"/>
                    </a:cubicBezTo>
                    <a:cubicBezTo>
                      <a:pt x="313192" y="18541"/>
                      <a:pt x="310300" y="13192"/>
                      <a:pt x="304800" y="9525"/>
                    </a:cubicBezTo>
                    <a:cubicBezTo>
                      <a:pt x="302711" y="8133"/>
                      <a:pt x="300037" y="7938"/>
                      <a:pt x="297656" y="7144"/>
                    </a:cubicBezTo>
                    <a:cubicBezTo>
                      <a:pt x="294043" y="4735"/>
                      <a:pt x="288300" y="0"/>
                      <a:pt x="283369" y="0"/>
                    </a:cubicBezTo>
                    <a:cubicBezTo>
                      <a:pt x="280859" y="0"/>
                      <a:pt x="278606" y="1587"/>
                      <a:pt x="276225" y="2381"/>
                    </a:cubicBezTo>
                    <a:cubicBezTo>
                      <a:pt x="273844" y="3969"/>
                      <a:pt x="270869" y="4909"/>
                      <a:pt x="269081" y="7144"/>
                    </a:cubicBezTo>
                    <a:cubicBezTo>
                      <a:pt x="267513" y="9104"/>
                      <a:pt x="267822" y="12042"/>
                      <a:pt x="266700" y="14287"/>
                    </a:cubicBezTo>
                    <a:cubicBezTo>
                      <a:pt x="264727" y="18233"/>
                      <a:pt x="258482" y="26468"/>
                      <a:pt x="254794" y="28575"/>
                    </a:cubicBezTo>
                    <a:cubicBezTo>
                      <a:pt x="251952" y="30199"/>
                      <a:pt x="248444" y="30162"/>
                      <a:pt x="245269" y="30956"/>
                    </a:cubicBezTo>
                    <a:cubicBezTo>
                      <a:pt x="240506" y="30162"/>
                      <a:pt x="235438" y="30432"/>
                      <a:pt x="230981" y="28575"/>
                    </a:cubicBezTo>
                    <a:cubicBezTo>
                      <a:pt x="218342" y="23309"/>
                      <a:pt x="217014" y="14682"/>
                      <a:pt x="202406" y="14287"/>
                    </a:cubicBezTo>
                    <a:lnTo>
                      <a:pt x="114300" y="11906"/>
                    </a:lnTo>
                    <a:cubicBezTo>
                      <a:pt x="111919" y="11112"/>
                      <a:pt x="109606" y="10069"/>
                      <a:pt x="107156" y="9525"/>
                    </a:cubicBezTo>
                    <a:cubicBezTo>
                      <a:pt x="92356" y="6237"/>
                      <a:pt x="85518" y="6957"/>
                      <a:pt x="69056" y="4762"/>
                    </a:cubicBezTo>
                    <a:cubicBezTo>
                      <a:pt x="65044" y="4227"/>
                      <a:pt x="61194" y="2537"/>
                      <a:pt x="57150" y="2381"/>
                    </a:cubicBezTo>
                    <a:cubicBezTo>
                      <a:pt x="40494" y="1740"/>
                      <a:pt x="53181" y="7938"/>
                      <a:pt x="50006" y="9525"/>
                    </a:cubicBezTo>
                    <a:close/>
                  </a:path>
                </a:pathLst>
              </a:custGeom>
              <a:grpFill/>
              <a:ln w="25400" cap="flat" cmpd="sng" algn="ctr">
                <a:solidFill>
                  <a:srgbClr val="1F497D">
                    <a:lumMod val="75000"/>
                  </a:srgbClr>
                </a:solidFill>
                <a:prstDash val="solid"/>
              </a:ln>
              <a:effectLst/>
            </p:spPr>
            <p:txBody>
              <a:bodyPr rtlCol="0" anchor="ctr"/>
              <a:lstStyle/>
              <a:p>
                <a:pPr marL="342900" indent="-342900" algn="ctr" defTabSz="914400">
                  <a:buFont typeface="+mj-lt"/>
                  <a:buAutoNum type="arabicPeriod"/>
                  <a:defRPr/>
                </a:pPr>
                <a:endParaRPr lang="id-ID" sz="1800" kern="0">
                  <a:solidFill>
                    <a:sysClr val="window" lastClr="FFFFFF"/>
                  </a:solidFill>
                  <a:latin typeface="Calibri"/>
                </a:endParaRPr>
              </a:p>
            </p:txBody>
          </p:sp>
          <p:sp>
            <p:nvSpPr>
              <p:cNvPr id="203" name="Freeform 202"/>
              <p:cNvSpPr/>
              <p:nvPr/>
            </p:nvSpPr>
            <p:spPr>
              <a:xfrm>
                <a:off x="5160383" y="5148942"/>
                <a:ext cx="305265" cy="157163"/>
              </a:xfrm>
              <a:custGeom>
                <a:avLst/>
                <a:gdLst>
                  <a:gd name="connsiteX0" fmla="*/ 38565 w 305265"/>
                  <a:gd name="connsiteY0" fmla="*/ 16669 h 157163"/>
                  <a:gd name="connsiteX1" fmla="*/ 26659 w 305265"/>
                  <a:gd name="connsiteY1" fmla="*/ 14288 h 157163"/>
                  <a:gd name="connsiteX2" fmla="*/ 19515 w 305265"/>
                  <a:gd name="connsiteY2" fmla="*/ 11906 h 157163"/>
                  <a:gd name="connsiteX3" fmla="*/ 2847 w 305265"/>
                  <a:gd name="connsiteY3" fmla="*/ 14288 h 157163"/>
                  <a:gd name="connsiteX4" fmla="*/ 2847 w 305265"/>
                  <a:gd name="connsiteY4" fmla="*/ 40481 h 157163"/>
                  <a:gd name="connsiteX5" fmla="*/ 5228 w 305265"/>
                  <a:gd name="connsiteY5" fmla="*/ 47625 h 157163"/>
                  <a:gd name="connsiteX6" fmla="*/ 12372 w 305265"/>
                  <a:gd name="connsiteY6" fmla="*/ 52388 h 157163"/>
                  <a:gd name="connsiteX7" fmla="*/ 17134 w 305265"/>
                  <a:gd name="connsiteY7" fmla="*/ 59531 h 157163"/>
                  <a:gd name="connsiteX8" fmla="*/ 31422 w 305265"/>
                  <a:gd name="connsiteY8" fmla="*/ 66675 h 157163"/>
                  <a:gd name="connsiteX9" fmla="*/ 38565 w 305265"/>
                  <a:gd name="connsiteY9" fmla="*/ 71438 h 157163"/>
                  <a:gd name="connsiteX10" fmla="*/ 48090 w 305265"/>
                  <a:gd name="connsiteY10" fmla="*/ 73819 h 157163"/>
                  <a:gd name="connsiteX11" fmla="*/ 74284 w 305265"/>
                  <a:gd name="connsiteY11" fmla="*/ 78581 h 157163"/>
                  <a:gd name="connsiteX12" fmla="*/ 83809 w 305265"/>
                  <a:gd name="connsiteY12" fmla="*/ 80963 h 157163"/>
                  <a:gd name="connsiteX13" fmla="*/ 98097 w 305265"/>
                  <a:gd name="connsiteY13" fmla="*/ 90488 h 157163"/>
                  <a:gd name="connsiteX14" fmla="*/ 112384 w 305265"/>
                  <a:gd name="connsiteY14" fmla="*/ 100013 h 157163"/>
                  <a:gd name="connsiteX15" fmla="*/ 124290 w 305265"/>
                  <a:gd name="connsiteY15" fmla="*/ 111919 h 157163"/>
                  <a:gd name="connsiteX16" fmla="*/ 136197 w 305265"/>
                  <a:gd name="connsiteY16" fmla="*/ 123825 h 157163"/>
                  <a:gd name="connsiteX17" fmla="*/ 148103 w 305265"/>
                  <a:gd name="connsiteY17" fmla="*/ 135731 h 157163"/>
                  <a:gd name="connsiteX18" fmla="*/ 160009 w 305265"/>
                  <a:gd name="connsiteY18" fmla="*/ 150019 h 157163"/>
                  <a:gd name="connsiteX19" fmla="*/ 174297 w 305265"/>
                  <a:gd name="connsiteY19" fmla="*/ 157163 h 157163"/>
                  <a:gd name="connsiteX20" fmla="*/ 210015 w 305265"/>
                  <a:gd name="connsiteY20" fmla="*/ 154781 h 157163"/>
                  <a:gd name="connsiteX21" fmla="*/ 224303 w 305265"/>
                  <a:gd name="connsiteY21" fmla="*/ 133350 h 157163"/>
                  <a:gd name="connsiteX22" fmla="*/ 238590 w 305265"/>
                  <a:gd name="connsiteY22" fmla="*/ 123825 h 157163"/>
                  <a:gd name="connsiteX23" fmla="*/ 255259 w 305265"/>
                  <a:gd name="connsiteY23" fmla="*/ 111919 h 157163"/>
                  <a:gd name="connsiteX24" fmla="*/ 283834 w 305265"/>
                  <a:gd name="connsiteY24" fmla="*/ 107156 h 157163"/>
                  <a:gd name="connsiteX25" fmla="*/ 298122 w 305265"/>
                  <a:gd name="connsiteY25" fmla="*/ 97631 h 157163"/>
                  <a:gd name="connsiteX26" fmla="*/ 305265 w 305265"/>
                  <a:gd name="connsiteY26" fmla="*/ 92869 h 157163"/>
                  <a:gd name="connsiteX27" fmla="*/ 295740 w 305265"/>
                  <a:gd name="connsiteY27" fmla="*/ 73819 h 157163"/>
                  <a:gd name="connsiteX28" fmla="*/ 290978 w 305265"/>
                  <a:gd name="connsiteY28" fmla="*/ 66675 h 157163"/>
                  <a:gd name="connsiteX29" fmla="*/ 276690 w 305265"/>
                  <a:gd name="connsiteY29" fmla="*/ 57150 h 157163"/>
                  <a:gd name="connsiteX30" fmla="*/ 269547 w 305265"/>
                  <a:gd name="connsiteY30" fmla="*/ 52388 h 157163"/>
                  <a:gd name="connsiteX31" fmla="*/ 252878 w 305265"/>
                  <a:gd name="connsiteY31" fmla="*/ 30956 h 157163"/>
                  <a:gd name="connsiteX32" fmla="*/ 238590 w 305265"/>
                  <a:gd name="connsiteY32" fmla="*/ 26194 h 157163"/>
                  <a:gd name="connsiteX33" fmla="*/ 221922 w 305265"/>
                  <a:gd name="connsiteY33" fmla="*/ 19050 h 157163"/>
                  <a:gd name="connsiteX34" fmla="*/ 198109 w 305265"/>
                  <a:gd name="connsiteY34" fmla="*/ 2381 h 157163"/>
                  <a:gd name="connsiteX35" fmla="*/ 186203 w 305265"/>
                  <a:gd name="connsiteY35" fmla="*/ 0 h 157163"/>
                  <a:gd name="connsiteX36" fmla="*/ 152865 w 305265"/>
                  <a:gd name="connsiteY36" fmla="*/ 2381 h 157163"/>
                  <a:gd name="connsiteX37" fmla="*/ 136197 w 305265"/>
                  <a:gd name="connsiteY37" fmla="*/ 21431 h 157163"/>
                  <a:gd name="connsiteX38" fmla="*/ 121909 w 305265"/>
                  <a:gd name="connsiteY38" fmla="*/ 28575 h 157163"/>
                  <a:gd name="connsiteX39" fmla="*/ 83809 w 305265"/>
                  <a:gd name="connsiteY39" fmla="*/ 26194 h 157163"/>
                  <a:gd name="connsiteX40" fmla="*/ 69522 w 305265"/>
                  <a:gd name="connsiteY40" fmla="*/ 19050 h 157163"/>
                  <a:gd name="connsiteX41" fmla="*/ 38565 w 305265"/>
                  <a:gd name="connsiteY41" fmla="*/ 16669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5265" h="157163">
                    <a:moveTo>
                      <a:pt x="38565" y="16669"/>
                    </a:moveTo>
                    <a:cubicBezTo>
                      <a:pt x="31421" y="15875"/>
                      <a:pt x="30585" y="15270"/>
                      <a:pt x="26659" y="14288"/>
                    </a:cubicBezTo>
                    <a:cubicBezTo>
                      <a:pt x="24224" y="13679"/>
                      <a:pt x="22025" y="11906"/>
                      <a:pt x="19515" y="11906"/>
                    </a:cubicBezTo>
                    <a:cubicBezTo>
                      <a:pt x="13903" y="11906"/>
                      <a:pt x="8403" y="13494"/>
                      <a:pt x="2847" y="14288"/>
                    </a:cubicBezTo>
                    <a:cubicBezTo>
                      <a:pt x="-1249" y="26571"/>
                      <a:pt x="-638" y="21315"/>
                      <a:pt x="2847" y="40481"/>
                    </a:cubicBezTo>
                    <a:cubicBezTo>
                      <a:pt x="3296" y="42951"/>
                      <a:pt x="3660" y="45665"/>
                      <a:pt x="5228" y="47625"/>
                    </a:cubicBezTo>
                    <a:cubicBezTo>
                      <a:pt x="7016" y="49860"/>
                      <a:pt x="9991" y="50800"/>
                      <a:pt x="12372" y="52388"/>
                    </a:cubicBezTo>
                    <a:cubicBezTo>
                      <a:pt x="13959" y="54769"/>
                      <a:pt x="15111" y="57508"/>
                      <a:pt x="17134" y="59531"/>
                    </a:cubicBezTo>
                    <a:cubicBezTo>
                      <a:pt x="21751" y="64148"/>
                      <a:pt x="25610" y="64738"/>
                      <a:pt x="31422" y="66675"/>
                    </a:cubicBezTo>
                    <a:cubicBezTo>
                      <a:pt x="33803" y="68263"/>
                      <a:pt x="35935" y="70311"/>
                      <a:pt x="38565" y="71438"/>
                    </a:cubicBezTo>
                    <a:cubicBezTo>
                      <a:pt x="41573" y="72727"/>
                      <a:pt x="44895" y="73109"/>
                      <a:pt x="48090" y="73819"/>
                    </a:cubicBezTo>
                    <a:cubicBezTo>
                      <a:pt x="71117" y="78935"/>
                      <a:pt x="48388" y="73401"/>
                      <a:pt x="74284" y="78581"/>
                    </a:cubicBezTo>
                    <a:cubicBezTo>
                      <a:pt x="77493" y="79223"/>
                      <a:pt x="80634" y="80169"/>
                      <a:pt x="83809" y="80963"/>
                    </a:cubicBezTo>
                    <a:cubicBezTo>
                      <a:pt x="88572" y="84138"/>
                      <a:pt x="94050" y="86441"/>
                      <a:pt x="98097" y="90488"/>
                    </a:cubicBezTo>
                    <a:cubicBezTo>
                      <a:pt x="107015" y="99406"/>
                      <a:pt x="102046" y="96566"/>
                      <a:pt x="112384" y="100013"/>
                    </a:cubicBezTo>
                    <a:cubicBezTo>
                      <a:pt x="125088" y="119065"/>
                      <a:pt x="108413" y="96040"/>
                      <a:pt x="124290" y="111919"/>
                    </a:cubicBezTo>
                    <a:cubicBezTo>
                      <a:pt x="140158" y="127788"/>
                      <a:pt x="117155" y="111132"/>
                      <a:pt x="136197" y="123825"/>
                    </a:cubicBezTo>
                    <a:cubicBezTo>
                      <a:pt x="144927" y="136922"/>
                      <a:pt x="136197" y="125810"/>
                      <a:pt x="148103" y="135731"/>
                    </a:cubicBezTo>
                    <a:cubicBezTo>
                      <a:pt x="171511" y="155237"/>
                      <a:pt x="141277" y="131287"/>
                      <a:pt x="160009" y="150019"/>
                    </a:cubicBezTo>
                    <a:cubicBezTo>
                      <a:pt x="164623" y="154633"/>
                      <a:pt x="168489" y="155226"/>
                      <a:pt x="174297" y="157163"/>
                    </a:cubicBezTo>
                    <a:lnTo>
                      <a:pt x="210015" y="154781"/>
                    </a:lnTo>
                    <a:cubicBezTo>
                      <a:pt x="223317" y="149880"/>
                      <a:pt x="215270" y="139372"/>
                      <a:pt x="224303" y="133350"/>
                    </a:cubicBezTo>
                    <a:lnTo>
                      <a:pt x="238590" y="123825"/>
                    </a:lnTo>
                    <a:cubicBezTo>
                      <a:pt x="242070" y="113389"/>
                      <a:pt x="239571" y="114534"/>
                      <a:pt x="255259" y="111919"/>
                    </a:cubicBezTo>
                    <a:lnTo>
                      <a:pt x="283834" y="107156"/>
                    </a:lnTo>
                    <a:lnTo>
                      <a:pt x="298122" y="97631"/>
                    </a:lnTo>
                    <a:lnTo>
                      <a:pt x="305265" y="92869"/>
                    </a:lnTo>
                    <a:cubicBezTo>
                      <a:pt x="301158" y="68224"/>
                      <a:pt x="307646" y="85725"/>
                      <a:pt x="295740" y="73819"/>
                    </a:cubicBezTo>
                    <a:cubicBezTo>
                      <a:pt x="293716" y="71795"/>
                      <a:pt x="293132" y="68560"/>
                      <a:pt x="290978" y="66675"/>
                    </a:cubicBezTo>
                    <a:cubicBezTo>
                      <a:pt x="286670" y="62906"/>
                      <a:pt x="281453" y="60325"/>
                      <a:pt x="276690" y="57150"/>
                    </a:cubicBezTo>
                    <a:lnTo>
                      <a:pt x="269547" y="52388"/>
                    </a:lnTo>
                    <a:cubicBezTo>
                      <a:pt x="267105" y="48725"/>
                      <a:pt x="258803" y="34247"/>
                      <a:pt x="252878" y="30956"/>
                    </a:cubicBezTo>
                    <a:cubicBezTo>
                      <a:pt x="248489" y="28518"/>
                      <a:pt x="243080" y="28439"/>
                      <a:pt x="238590" y="26194"/>
                    </a:cubicBezTo>
                    <a:cubicBezTo>
                      <a:pt x="226820" y="20308"/>
                      <a:pt x="232433" y="22554"/>
                      <a:pt x="221922" y="19050"/>
                    </a:cubicBezTo>
                    <a:cubicBezTo>
                      <a:pt x="218166" y="16233"/>
                      <a:pt x="200776" y="2914"/>
                      <a:pt x="198109" y="2381"/>
                    </a:cubicBezTo>
                    <a:lnTo>
                      <a:pt x="186203" y="0"/>
                    </a:lnTo>
                    <a:cubicBezTo>
                      <a:pt x="175090" y="794"/>
                      <a:pt x="163836" y="445"/>
                      <a:pt x="152865" y="2381"/>
                    </a:cubicBezTo>
                    <a:cubicBezTo>
                      <a:pt x="143424" y="4047"/>
                      <a:pt x="142382" y="17307"/>
                      <a:pt x="136197" y="21431"/>
                    </a:cubicBezTo>
                    <a:cubicBezTo>
                      <a:pt x="126965" y="27586"/>
                      <a:pt x="131768" y="25289"/>
                      <a:pt x="121909" y="28575"/>
                    </a:cubicBezTo>
                    <a:cubicBezTo>
                      <a:pt x="109209" y="27781"/>
                      <a:pt x="96464" y="27526"/>
                      <a:pt x="83809" y="26194"/>
                    </a:cubicBezTo>
                    <a:cubicBezTo>
                      <a:pt x="75270" y="25295"/>
                      <a:pt x="77248" y="22484"/>
                      <a:pt x="69522" y="19050"/>
                    </a:cubicBezTo>
                    <a:cubicBezTo>
                      <a:pt x="54879" y="12542"/>
                      <a:pt x="45709" y="17463"/>
                      <a:pt x="38565" y="166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4" name="Freeform 203"/>
              <p:cNvSpPr/>
              <p:nvPr/>
            </p:nvSpPr>
            <p:spPr>
              <a:xfrm>
                <a:off x="5489337" y="5179898"/>
                <a:ext cx="231261" cy="180863"/>
              </a:xfrm>
              <a:custGeom>
                <a:avLst/>
                <a:gdLst>
                  <a:gd name="connsiteX0" fmla="*/ 102518 w 231261"/>
                  <a:gd name="connsiteY0" fmla="*/ 4763 h 180863"/>
                  <a:gd name="connsiteX1" fmla="*/ 90611 w 231261"/>
                  <a:gd name="connsiteY1" fmla="*/ 9525 h 180863"/>
                  <a:gd name="connsiteX2" fmla="*/ 76324 w 231261"/>
                  <a:gd name="connsiteY2" fmla="*/ 26194 h 180863"/>
                  <a:gd name="connsiteX3" fmla="*/ 64418 w 231261"/>
                  <a:gd name="connsiteY3" fmla="*/ 40482 h 180863"/>
                  <a:gd name="connsiteX4" fmla="*/ 59655 w 231261"/>
                  <a:gd name="connsiteY4" fmla="*/ 54769 h 180863"/>
                  <a:gd name="connsiteX5" fmla="*/ 54893 w 231261"/>
                  <a:gd name="connsiteY5" fmla="*/ 61913 h 180863"/>
                  <a:gd name="connsiteX6" fmla="*/ 50130 w 231261"/>
                  <a:gd name="connsiteY6" fmla="*/ 76200 h 180863"/>
                  <a:gd name="connsiteX7" fmla="*/ 52511 w 231261"/>
                  <a:gd name="connsiteY7" fmla="*/ 102394 h 180863"/>
                  <a:gd name="connsiteX8" fmla="*/ 57274 w 231261"/>
                  <a:gd name="connsiteY8" fmla="*/ 109538 h 180863"/>
                  <a:gd name="connsiteX9" fmla="*/ 47749 w 231261"/>
                  <a:gd name="connsiteY9" fmla="*/ 140494 h 180863"/>
                  <a:gd name="connsiteX10" fmla="*/ 12030 w 231261"/>
                  <a:gd name="connsiteY10" fmla="*/ 142875 h 180863"/>
                  <a:gd name="connsiteX11" fmla="*/ 124 w 231261"/>
                  <a:gd name="connsiteY11" fmla="*/ 152400 h 180863"/>
                  <a:gd name="connsiteX12" fmla="*/ 7268 w 231261"/>
                  <a:gd name="connsiteY12" fmla="*/ 157163 h 180863"/>
                  <a:gd name="connsiteX13" fmla="*/ 21555 w 231261"/>
                  <a:gd name="connsiteY13" fmla="*/ 161925 h 180863"/>
                  <a:gd name="connsiteX14" fmla="*/ 28699 w 231261"/>
                  <a:gd name="connsiteY14" fmla="*/ 169069 h 180863"/>
                  <a:gd name="connsiteX15" fmla="*/ 35843 w 231261"/>
                  <a:gd name="connsiteY15" fmla="*/ 171450 h 180863"/>
                  <a:gd name="connsiteX16" fmla="*/ 71561 w 231261"/>
                  <a:gd name="connsiteY16" fmla="*/ 176213 h 180863"/>
                  <a:gd name="connsiteX17" fmla="*/ 126330 w 231261"/>
                  <a:gd name="connsiteY17" fmla="*/ 176213 h 180863"/>
                  <a:gd name="connsiteX18" fmla="*/ 133474 w 231261"/>
                  <a:gd name="connsiteY18" fmla="*/ 171450 h 180863"/>
                  <a:gd name="connsiteX19" fmla="*/ 142999 w 231261"/>
                  <a:gd name="connsiteY19" fmla="*/ 166688 h 180863"/>
                  <a:gd name="connsiteX20" fmla="*/ 157286 w 231261"/>
                  <a:gd name="connsiteY20" fmla="*/ 161925 h 180863"/>
                  <a:gd name="connsiteX21" fmla="*/ 171574 w 231261"/>
                  <a:gd name="connsiteY21" fmla="*/ 157163 h 180863"/>
                  <a:gd name="connsiteX22" fmla="*/ 185861 w 231261"/>
                  <a:gd name="connsiteY22" fmla="*/ 152400 h 180863"/>
                  <a:gd name="connsiteX23" fmla="*/ 193005 w 231261"/>
                  <a:gd name="connsiteY23" fmla="*/ 147638 h 180863"/>
                  <a:gd name="connsiteX24" fmla="*/ 204911 w 231261"/>
                  <a:gd name="connsiteY24" fmla="*/ 133350 h 180863"/>
                  <a:gd name="connsiteX25" fmla="*/ 214436 w 231261"/>
                  <a:gd name="connsiteY25" fmla="*/ 119063 h 180863"/>
                  <a:gd name="connsiteX26" fmla="*/ 226343 w 231261"/>
                  <a:gd name="connsiteY26" fmla="*/ 102394 h 180863"/>
                  <a:gd name="connsiteX27" fmla="*/ 228724 w 231261"/>
                  <a:gd name="connsiteY27" fmla="*/ 66675 h 180863"/>
                  <a:gd name="connsiteX28" fmla="*/ 223961 w 231261"/>
                  <a:gd name="connsiteY28" fmla="*/ 30957 h 180863"/>
                  <a:gd name="connsiteX29" fmla="*/ 221580 w 231261"/>
                  <a:gd name="connsiteY29" fmla="*/ 23813 h 180863"/>
                  <a:gd name="connsiteX30" fmla="*/ 207293 w 231261"/>
                  <a:gd name="connsiteY30" fmla="*/ 14288 h 180863"/>
                  <a:gd name="connsiteX31" fmla="*/ 200149 w 231261"/>
                  <a:gd name="connsiteY31" fmla="*/ 7144 h 180863"/>
                  <a:gd name="connsiteX32" fmla="*/ 193005 w 231261"/>
                  <a:gd name="connsiteY32" fmla="*/ 4763 h 180863"/>
                  <a:gd name="connsiteX33" fmla="*/ 152524 w 231261"/>
                  <a:gd name="connsiteY33" fmla="*/ 0 h 180863"/>
                  <a:gd name="connsiteX34" fmla="*/ 92993 w 231261"/>
                  <a:gd name="connsiteY34" fmla="*/ 2382 h 180863"/>
                  <a:gd name="connsiteX35" fmla="*/ 85849 w 231261"/>
                  <a:gd name="connsiteY35" fmla="*/ 4763 h 180863"/>
                  <a:gd name="connsiteX36" fmla="*/ 83468 w 231261"/>
                  <a:gd name="connsiteY36" fmla="*/ 11907 h 180863"/>
                  <a:gd name="connsiteX37" fmla="*/ 102518 w 231261"/>
                  <a:gd name="connsiteY37" fmla="*/ 4763 h 18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31261" h="180863">
                    <a:moveTo>
                      <a:pt x="102518" y="4763"/>
                    </a:moveTo>
                    <a:cubicBezTo>
                      <a:pt x="103708" y="4366"/>
                      <a:pt x="94236" y="7259"/>
                      <a:pt x="90611" y="9525"/>
                    </a:cubicBezTo>
                    <a:cubicBezTo>
                      <a:pt x="85160" y="12932"/>
                      <a:pt x="80187" y="21688"/>
                      <a:pt x="76324" y="26194"/>
                    </a:cubicBezTo>
                    <a:cubicBezTo>
                      <a:pt x="71146" y="32235"/>
                      <a:pt x="67658" y="33193"/>
                      <a:pt x="64418" y="40482"/>
                    </a:cubicBezTo>
                    <a:cubicBezTo>
                      <a:pt x="62379" y="45069"/>
                      <a:pt x="62439" y="50592"/>
                      <a:pt x="59655" y="54769"/>
                    </a:cubicBezTo>
                    <a:cubicBezTo>
                      <a:pt x="58068" y="57150"/>
                      <a:pt x="56055" y="59298"/>
                      <a:pt x="54893" y="61913"/>
                    </a:cubicBezTo>
                    <a:cubicBezTo>
                      <a:pt x="52854" y="66500"/>
                      <a:pt x="50130" y="76200"/>
                      <a:pt x="50130" y="76200"/>
                    </a:cubicBezTo>
                    <a:cubicBezTo>
                      <a:pt x="50924" y="84931"/>
                      <a:pt x="50674" y="93821"/>
                      <a:pt x="52511" y="102394"/>
                    </a:cubicBezTo>
                    <a:cubicBezTo>
                      <a:pt x="53111" y="105193"/>
                      <a:pt x="57070" y="106683"/>
                      <a:pt x="57274" y="109538"/>
                    </a:cubicBezTo>
                    <a:cubicBezTo>
                      <a:pt x="57732" y="115952"/>
                      <a:pt x="61177" y="138256"/>
                      <a:pt x="47749" y="140494"/>
                    </a:cubicBezTo>
                    <a:cubicBezTo>
                      <a:pt x="35979" y="142456"/>
                      <a:pt x="23936" y="142081"/>
                      <a:pt x="12030" y="142875"/>
                    </a:cubicBezTo>
                    <a:cubicBezTo>
                      <a:pt x="8751" y="143968"/>
                      <a:pt x="-1223" y="145669"/>
                      <a:pt x="124" y="152400"/>
                    </a:cubicBezTo>
                    <a:cubicBezTo>
                      <a:pt x="685" y="155206"/>
                      <a:pt x="4653" y="156001"/>
                      <a:pt x="7268" y="157163"/>
                    </a:cubicBezTo>
                    <a:cubicBezTo>
                      <a:pt x="11855" y="159202"/>
                      <a:pt x="21555" y="161925"/>
                      <a:pt x="21555" y="161925"/>
                    </a:cubicBezTo>
                    <a:cubicBezTo>
                      <a:pt x="23936" y="164306"/>
                      <a:pt x="25897" y="167201"/>
                      <a:pt x="28699" y="169069"/>
                    </a:cubicBezTo>
                    <a:cubicBezTo>
                      <a:pt x="30788" y="170461"/>
                      <a:pt x="33382" y="170958"/>
                      <a:pt x="35843" y="171450"/>
                    </a:cubicBezTo>
                    <a:cubicBezTo>
                      <a:pt x="41337" y="172549"/>
                      <a:pt x="66906" y="175631"/>
                      <a:pt x="71561" y="176213"/>
                    </a:cubicBezTo>
                    <a:cubicBezTo>
                      <a:pt x="92411" y="183162"/>
                      <a:pt x="84895" y="181618"/>
                      <a:pt x="126330" y="176213"/>
                    </a:cubicBezTo>
                    <a:cubicBezTo>
                      <a:pt x="129168" y="175843"/>
                      <a:pt x="130989" y="172870"/>
                      <a:pt x="133474" y="171450"/>
                    </a:cubicBezTo>
                    <a:cubicBezTo>
                      <a:pt x="136556" y="169689"/>
                      <a:pt x="139703" y="168006"/>
                      <a:pt x="142999" y="166688"/>
                    </a:cubicBezTo>
                    <a:cubicBezTo>
                      <a:pt x="147660" y="164824"/>
                      <a:pt x="152524" y="163513"/>
                      <a:pt x="157286" y="161925"/>
                    </a:cubicBezTo>
                    <a:lnTo>
                      <a:pt x="171574" y="157163"/>
                    </a:lnTo>
                    <a:cubicBezTo>
                      <a:pt x="171579" y="157161"/>
                      <a:pt x="185856" y="152404"/>
                      <a:pt x="185861" y="152400"/>
                    </a:cubicBezTo>
                    <a:lnTo>
                      <a:pt x="193005" y="147638"/>
                    </a:lnTo>
                    <a:cubicBezTo>
                      <a:pt x="210027" y="122106"/>
                      <a:pt x="183518" y="160856"/>
                      <a:pt x="204911" y="133350"/>
                    </a:cubicBezTo>
                    <a:cubicBezTo>
                      <a:pt x="208425" y="128832"/>
                      <a:pt x="211261" y="123825"/>
                      <a:pt x="214436" y="119063"/>
                    </a:cubicBezTo>
                    <a:cubicBezTo>
                      <a:pt x="221399" y="108619"/>
                      <a:pt x="217484" y="114206"/>
                      <a:pt x="226343" y="102394"/>
                    </a:cubicBezTo>
                    <a:cubicBezTo>
                      <a:pt x="233460" y="81042"/>
                      <a:pt x="231542" y="93448"/>
                      <a:pt x="228724" y="66675"/>
                    </a:cubicBezTo>
                    <a:cubicBezTo>
                      <a:pt x="227100" y="51242"/>
                      <a:pt x="227320" y="44390"/>
                      <a:pt x="223961" y="30957"/>
                    </a:cubicBezTo>
                    <a:cubicBezTo>
                      <a:pt x="223352" y="28522"/>
                      <a:pt x="223355" y="25588"/>
                      <a:pt x="221580" y="23813"/>
                    </a:cubicBezTo>
                    <a:cubicBezTo>
                      <a:pt x="217533" y="19766"/>
                      <a:pt x="211340" y="18335"/>
                      <a:pt x="207293" y="14288"/>
                    </a:cubicBezTo>
                    <a:cubicBezTo>
                      <a:pt x="204912" y="11907"/>
                      <a:pt x="202951" y="9012"/>
                      <a:pt x="200149" y="7144"/>
                    </a:cubicBezTo>
                    <a:cubicBezTo>
                      <a:pt x="198060" y="5752"/>
                      <a:pt x="195466" y="5255"/>
                      <a:pt x="193005" y="4763"/>
                    </a:cubicBezTo>
                    <a:cubicBezTo>
                      <a:pt x="182483" y="2659"/>
                      <a:pt x="161961" y="944"/>
                      <a:pt x="152524" y="0"/>
                    </a:cubicBezTo>
                    <a:cubicBezTo>
                      <a:pt x="132680" y="794"/>
                      <a:pt x="112802" y="967"/>
                      <a:pt x="92993" y="2382"/>
                    </a:cubicBezTo>
                    <a:cubicBezTo>
                      <a:pt x="90489" y="2561"/>
                      <a:pt x="87624" y="2988"/>
                      <a:pt x="85849" y="4763"/>
                    </a:cubicBezTo>
                    <a:cubicBezTo>
                      <a:pt x="84074" y="6538"/>
                      <a:pt x="84077" y="9472"/>
                      <a:pt x="83468" y="11907"/>
                    </a:cubicBezTo>
                    <a:cubicBezTo>
                      <a:pt x="79374" y="28280"/>
                      <a:pt x="101328" y="5160"/>
                      <a:pt x="102518" y="476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5" name="Freeform 204"/>
              <p:cNvSpPr/>
              <p:nvPr/>
            </p:nvSpPr>
            <p:spPr>
              <a:xfrm>
                <a:off x="5715680" y="5227523"/>
                <a:ext cx="381000" cy="190500"/>
              </a:xfrm>
              <a:custGeom>
                <a:avLst/>
                <a:gdLst>
                  <a:gd name="connsiteX0" fmla="*/ 180975 w 381000"/>
                  <a:gd name="connsiteY0" fmla="*/ 2382 h 190500"/>
                  <a:gd name="connsiteX1" fmla="*/ 157162 w 381000"/>
                  <a:gd name="connsiteY1" fmla="*/ 4763 h 190500"/>
                  <a:gd name="connsiteX2" fmla="*/ 123825 w 381000"/>
                  <a:gd name="connsiteY2" fmla="*/ 9525 h 190500"/>
                  <a:gd name="connsiteX3" fmla="*/ 85725 w 381000"/>
                  <a:gd name="connsiteY3" fmla="*/ 11907 h 190500"/>
                  <a:gd name="connsiteX4" fmla="*/ 78581 w 381000"/>
                  <a:gd name="connsiteY4" fmla="*/ 16669 h 190500"/>
                  <a:gd name="connsiteX5" fmla="*/ 71437 w 381000"/>
                  <a:gd name="connsiteY5" fmla="*/ 19050 h 190500"/>
                  <a:gd name="connsiteX6" fmla="*/ 64293 w 381000"/>
                  <a:gd name="connsiteY6" fmla="*/ 26194 h 190500"/>
                  <a:gd name="connsiteX7" fmla="*/ 54768 w 381000"/>
                  <a:gd name="connsiteY7" fmla="*/ 40482 h 190500"/>
                  <a:gd name="connsiteX8" fmla="*/ 47625 w 381000"/>
                  <a:gd name="connsiteY8" fmla="*/ 45244 h 190500"/>
                  <a:gd name="connsiteX9" fmla="*/ 26193 w 381000"/>
                  <a:gd name="connsiteY9" fmla="*/ 50007 h 190500"/>
                  <a:gd name="connsiteX10" fmla="*/ 19050 w 381000"/>
                  <a:gd name="connsiteY10" fmla="*/ 73819 h 190500"/>
                  <a:gd name="connsiteX11" fmla="*/ 14287 w 381000"/>
                  <a:gd name="connsiteY11" fmla="*/ 80963 h 190500"/>
                  <a:gd name="connsiteX12" fmla="*/ 9525 w 381000"/>
                  <a:gd name="connsiteY12" fmla="*/ 100013 h 190500"/>
                  <a:gd name="connsiteX13" fmla="*/ 0 w 381000"/>
                  <a:gd name="connsiteY13" fmla="*/ 114300 h 190500"/>
                  <a:gd name="connsiteX14" fmla="*/ 4762 w 381000"/>
                  <a:gd name="connsiteY14" fmla="*/ 159544 h 190500"/>
                  <a:gd name="connsiteX15" fmla="*/ 14287 w 381000"/>
                  <a:gd name="connsiteY15" fmla="*/ 176213 h 190500"/>
                  <a:gd name="connsiteX16" fmla="*/ 50006 w 381000"/>
                  <a:gd name="connsiteY16" fmla="*/ 178594 h 190500"/>
                  <a:gd name="connsiteX17" fmla="*/ 64293 w 381000"/>
                  <a:gd name="connsiteY17" fmla="*/ 183357 h 190500"/>
                  <a:gd name="connsiteX18" fmla="*/ 71437 w 381000"/>
                  <a:gd name="connsiteY18" fmla="*/ 185738 h 190500"/>
                  <a:gd name="connsiteX19" fmla="*/ 90487 w 381000"/>
                  <a:gd name="connsiteY19" fmla="*/ 190500 h 190500"/>
                  <a:gd name="connsiteX20" fmla="*/ 114300 w 381000"/>
                  <a:gd name="connsiteY20" fmla="*/ 188119 h 190500"/>
                  <a:gd name="connsiteX21" fmla="*/ 116681 w 381000"/>
                  <a:gd name="connsiteY21" fmla="*/ 180975 h 190500"/>
                  <a:gd name="connsiteX22" fmla="*/ 123825 w 381000"/>
                  <a:gd name="connsiteY22" fmla="*/ 176213 h 190500"/>
                  <a:gd name="connsiteX23" fmla="*/ 138112 w 381000"/>
                  <a:gd name="connsiteY23" fmla="*/ 178594 h 190500"/>
                  <a:gd name="connsiteX24" fmla="*/ 145256 w 381000"/>
                  <a:gd name="connsiteY24" fmla="*/ 183357 h 190500"/>
                  <a:gd name="connsiteX25" fmla="*/ 159543 w 381000"/>
                  <a:gd name="connsiteY25" fmla="*/ 185738 h 190500"/>
                  <a:gd name="connsiteX26" fmla="*/ 185737 w 381000"/>
                  <a:gd name="connsiteY26" fmla="*/ 180975 h 190500"/>
                  <a:gd name="connsiteX27" fmla="*/ 192881 w 381000"/>
                  <a:gd name="connsiteY27" fmla="*/ 178594 h 190500"/>
                  <a:gd name="connsiteX28" fmla="*/ 200025 w 381000"/>
                  <a:gd name="connsiteY28" fmla="*/ 173832 h 190500"/>
                  <a:gd name="connsiteX29" fmla="*/ 202406 w 381000"/>
                  <a:gd name="connsiteY29" fmla="*/ 166688 h 190500"/>
                  <a:gd name="connsiteX30" fmla="*/ 226218 w 381000"/>
                  <a:gd name="connsiteY30" fmla="*/ 159544 h 190500"/>
                  <a:gd name="connsiteX31" fmla="*/ 261937 w 381000"/>
                  <a:gd name="connsiteY31" fmla="*/ 157163 h 190500"/>
                  <a:gd name="connsiteX32" fmla="*/ 295275 w 381000"/>
                  <a:gd name="connsiteY32" fmla="*/ 147638 h 190500"/>
                  <a:gd name="connsiteX33" fmla="*/ 333375 w 381000"/>
                  <a:gd name="connsiteY33" fmla="*/ 145257 h 190500"/>
                  <a:gd name="connsiteX34" fmla="*/ 340518 w 381000"/>
                  <a:gd name="connsiteY34" fmla="*/ 142875 h 190500"/>
                  <a:gd name="connsiteX35" fmla="*/ 352425 w 381000"/>
                  <a:gd name="connsiteY35" fmla="*/ 121444 h 190500"/>
                  <a:gd name="connsiteX36" fmla="*/ 354806 w 381000"/>
                  <a:gd name="connsiteY36" fmla="*/ 102394 h 190500"/>
                  <a:gd name="connsiteX37" fmla="*/ 361950 w 381000"/>
                  <a:gd name="connsiteY37" fmla="*/ 100013 h 190500"/>
                  <a:gd name="connsiteX38" fmla="*/ 381000 w 381000"/>
                  <a:gd name="connsiteY38" fmla="*/ 97632 h 190500"/>
                  <a:gd name="connsiteX39" fmla="*/ 378618 w 381000"/>
                  <a:gd name="connsiteY39" fmla="*/ 83344 h 190500"/>
                  <a:gd name="connsiteX40" fmla="*/ 373856 w 381000"/>
                  <a:gd name="connsiteY40" fmla="*/ 76200 h 190500"/>
                  <a:gd name="connsiteX41" fmla="*/ 352425 w 381000"/>
                  <a:gd name="connsiteY41" fmla="*/ 64294 h 190500"/>
                  <a:gd name="connsiteX42" fmla="*/ 319087 w 381000"/>
                  <a:gd name="connsiteY42" fmla="*/ 66675 h 190500"/>
                  <a:gd name="connsiteX43" fmla="*/ 311943 w 381000"/>
                  <a:gd name="connsiteY43" fmla="*/ 73819 h 190500"/>
                  <a:gd name="connsiteX44" fmla="*/ 297656 w 381000"/>
                  <a:gd name="connsiteY44" fmla="*/ 76200 h 190500"/>
                  <a:gd name="connsiteX45" fmla="*/ 266700 w 381000"/>
                  <a:gd name="connsiteY45" fmla="*/ 73819 h 190500"/>
                  <a:gd name="connsiteX46" fmla="*/ 261937 w 381000"/>
                  <a:gd name="connsiteY46" fmla="*/ 66675 h 190500"/>
                  <a:gd name="connsiteX47" fmla="*/ 259556 w 381000"/>
                  <a:gd name="connsiteY47" fmla="*/ 45244 h 190500"/>
                  <a:gd name="connsiteX48" fmla="*/ 238125 w 381000"/>
                  <a:gd name="connsiteY48" fmla="*/ 33338 h 190500"/>
                  <a:gd name="connsiteX49" fmla="*/ 223837 w 381000"/>
                  <a:gd name="connsiteY49" fmla="*/ 26194 h 190500"/>
                  <a:gd name="connsiteX50" fmla="*/ 216693 w 381000"/>
                  <a:gd name="connsiteY50" fmla="*/ 21432 h 190500"/>
                  <a:gd name="connsiteX51" fmla="*/ 202406 w 381000"/>
                  <a:gd name="connsiteY51" fmla="*/ 16669 h 190500"/>
                  <a:gd name="connsiteX52" fmla="*/ 188118 w 381000"/>
                  <a:gd name="connsiteY52" fmla="*/ 7144 h 190500"/>
                  <a:gd name="connsiteX53" fmla="*/ 180975 w 381000"/>
                  <a:gd name="connsiteY53" fmla="*/ 2382 h 190500"/>
                  <a:gd name="connsiteX54" fmla="*/ 173831 w 381000"/>
                  <a:gd name="connsiteY54" fmla="*/ 0 h 190500"/>
                  <a:gd name="connsiteX55" fmla="*/ 180975 w 381000"/>
                  <a:gd name="connsiteY55" fmla="*/ 238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81000" h="190500">
                    <a:moveTo>
                      <a:pt x="180975" y="2382"/>
                    </a:moveTo>
                    <a:cubicBezTo>
                      <a:pt x="178197" y="3176"/>
                      <a:pt x="165078" y="3774"/>
                      <a:pt x="157162" y="4763"/>
                    </a:cubicBezTo>
                    <a:cubicBezTo>
                      <a:pt x="146024" y="6155"/>
                      <a:pt x="135028" y="8825"/>
                      <a:pt x="123825" y="9525"/>
                    </a:cubicBezTo>
                    <a:lnTo>
                      <a:pt x="85725" y="11907"/>
                    </a:lnTo>
                    <a:cubicBezTo>
                      <a:pt x="83344" y="13494"/>
                      <a:pt x="81141" y="15389"/>
                      <a:pt x="78581" y="16669"/>
                    </a:cubicBezTo>
                    <a:cubicBezTo>
                      <a:pt x="76336" y="17791"/>
                      <a:pt x="73526" y="17658"/>
                      <a:pt x="71437" y="19050"/>
                    </a:cubicBezTo>
                    <a:cubicBezTo>
                      <a:pt x="68635" y="20918"/>
                      <a:pt x="66361" y="23536"/>
                      <a:pt x="64293" y="26194"/>
                    </a:cubicBezTo>
                    <a:cubicBezTo>
                      <a:pt x="60779" y="30712"/>
                      <a:pt x="59531" y="37307"/>
                      <a:pt x="54768" y="40482"/>
                    </a:cubicBezTo>
                    <a:cubicBezTo>
                      <a:pt x="52387" y="42069"/>
                      <a:pt x="50185" y="43964"/>
                      <a:pt x="47625" y="45244"/>
                    </a:cubicBezTo>
                    <a:cubicBezTo>
                      <a:pt x="41765" y="48174"/>
                      <a:pt x="31677" y="49093"/>
                      <a:pt x="26193" y="50007"/>
                    </a:cubicBezTo>
                    <a:cubicBezTo>
                      <a:pt x="24862" y="55331"/>
                      <a:pt x="21369" y="70341"/>
                      <a:pt x="19050" y="73819"/>
                    </a:cubicBezTo>
                    <a:lnTo>
                      <a:pt x="14287" y="80963"/>
                    </a:lnTo>
                    <a:cubicBezTo>
                      <a:pt x="12700" y="87313"/>
                      <a:pt x="13156" y="94567"/>
                      <a:pt x="9525" y="100013"/>
                    </a:cubicBezTo>
                    <a:lnTo>
                      <a:pt x="0" y="114300"/>
                    </a:lnTo>
                    <a:cubicBezTo>
                      <a:pt x="683" y="121130"/>
                      <a:pt x="3674" y="151931"/>
                      <a:pt x="4762" y="159544"/>
                    </a:cubicBezTo>
                    <a:cubicBezTo>
                      <a:pt x="5755" y="166499"/>
                      <a:pt x="5154" y="174691"/>
                      <a:pt x="14287" y="176213"/>
                    </a:cubicBezTo>
                    <a:cubicBezTo>
                      <a:pt x="26057" y="178175"/>
                      <a:pt x="38100" y="177800"/>
                      <a:pt x="50006" y="178594"/>
                    </a:cubicBezTo>
                    <a:lnTo>
                      <a:pt x="64293" y="183357"/>
                    </a:lnTo>
                    <a:cubicBezTo>
                      <a:pt x="66674" y="184151"/>
                      <a:pt x="69002" y="185129"/>
                      <a:pt x="71437" y="185738"/>
                    </a:cubicBezTo>
                    <a:lnTo>
                      <a:pt x="90487" y="190500"/>
                    </a:lnTo>
                    <a:cubicBezTo>
                      <a:pt x="98425" y="189706"/>
                      <a:pt x="106803" y="190845"/>
                      <a:pt x="114300" y="188119"/>
                    </a:cubicBezTo>
                    <a:cubicBezTo>
                      <a:pt x="116659" y="187261"/>
                      <a:pt x="115113" y="182935"/>
                      <a:pt x="116681" y="180975"/>
                    </a:cubicBezTo>
                    <a:cubicBezTo>
                      <a:pt x="118469" y="178740"/>
                      <a:pt x="121444" y="177800"/>
                      <a:pt x="123825" y="176213"/>
                    </a:cubicBezTo>
                    <a:cubicBezTo>
                      <a:pt x="128587" y="177007"/>
                      <a:pt x="133532" y="177067"/>
                      <a:pt x="138112" y="178594"/>
                    </a:cubicBezTo>
                    <a:cubicBezTo>
                      <a:pt x="140827" y="179499"/>
                      <a:pt x="142541" y="182452"/>
                      <a:pt x="145256" y="183357"/>
                    </a:cubicBezTo>
                    <a:cubicBezTo>
                      <a:pt x="149836" y="184884"/>
                      <a:pt x="154781" y="184944"/>
                      <a:pt x="159543" y="185738"/>
                    </a:cubicBezTo>
                    <a:cubicBezTo>
                      <a:pt x="168274" y="184150"/>
                      <a:pt x="177059" y="182835"/>
                      <a:pt x="185737" y="180975"/>
                    </a:cubicBezTo>
                    <a:cubicBezTo>
                      <a:pt x="188191" y="180449"/>
                      <a:pt x="190636" y="179716"/>
                      <a:pt x="192881" y="178594"/>
                    </a:cubicBezTo>
                    <a:cubicBezTo>
                      <a:pt x="195441" y="177314"/>
                      <a:pt x="197644" y="175419"/>
                      <a:pt x="200025" y="173832"/>
                    </a:cubicBezTo>
                    <a:cubicBezTo>
                      <a:pt x="200819" y="171451"/>
                      <a:pt x="200838" y="168648"/>
                      <a:pt x="202406" y="166688"/>
                    </a:cubicBezTo>
                    <a:cubicBezTo>
                      <a:pt x="207829" y="159909"/>
                      <a:pt x="219249" y="160177"/>
                      <a:pt x="226218" y="159544"/>
                    </a:cubicBezTo>
                    <a:cubicBezTo>
                      <a:pt x="238102" y="158464"/>
                      <a:pt x="250031" y="157957"/>
                      <a:pt x="261937" y="157163"/>
                    </a:cubicBezTo>
                    <a:cubicBezTo>
                      <a:pt x="269735" y="154563"/>
                      <a:pt x="287911" y="148098"/>
                      <a:pt x="295275" y="147638"/>
                    </a:cubicBezTo>
                    <a:lnTo>
                      <a:pt x="333375" y="145257"/>
                    </a:lnTo>
                    <a:cubicBezTo>
                      <a:pt x="335756" y="144463"/>
                      <a:pt x="338743" y="144650"/>
                      <a:pt x="340518" y="142875"/>
                    </a:cubicBezTo>
                    <a:cubicBezTo>
                      <a:pt x="348705" y="134687"/>
                      <a:pt x="349430" y="130427"/>
                      <a:pt x="352425" y="121444"/>
                    </a:cubicBezTo>
                    <a:cubicBezTo>
                      <a:pt x="353219" y="115094"/>
                      <a:pt x="352207" y="108242"/>
                      <a:pt x="354806" y="102394"/>
                    </a:cubicBezTo>
                    <a:cubicBezTo>
                      <a:pt x="355825" y="100100"/>
                      <a:pt x="359480" y="100462"/>
                      <a:pt x="361950" y="100013"/>
                    </a:cubicBezTo>
                    <a:cubicBezTo>
                      <a:pt x="368246" y="98868"/>
                      <a:pt x="374650" y="98426"/>
                      <a:pt x="381000" y="97632"/>
                    </a:cubicBezTo>
                    <a:cubicBezTo>
                      <a:pt x="380206" y="92869"/>
                      <a:pt x="380145" y="87925"/>
                      <a:pt x="378618" y="83344"/>
                    </a:cubicBezTo>
                    <a:cubicBezTo>
                      <a:pt x="377713" y="80629"/>
                      <a:pt x="376010" y="78085"/>
                      <a:pt x="373856" y="76200"/>
                    </a:cubicBezTo>
                    <a:cubicBezTo>
                      <a:pt x="363779" y="67383"/>
                      <a:pt x="362236" y="67564"/>
                      <a:pt x="352425" y="64294"/>
                    </a:cubicBezTo>
                    <a:cubicBezTo>
                      <a:pt x="341312" y="65088"/>
                      <a:pt x="329932" y="64123"/>
                      <a:pt x="319087" y="66675"/>
                    </a:cubicBezTo>
                    <a:cubicBezTo>
                      <a:pt x="315809" y="67446"/>
                      <a:pt x="315020" y="72451"/>
                      <a:pt x="311943" y="73819"/>
                    </a:cubicBezTo>
                    <a:cubicBezTo>
                      <a:pt x="307531" y="75780"/>
                      <a:pt x="302418" y="75406"/>
                      <a:pt x="297656" y="76200"/>
                    </a:cubicBezTo>
                    <a:cubicBezTo>
                      <a:pt x="287337" y="75406"/>
                      <a:pt x="276700" y="76486"/>
                      <a:pt x="266700" y="73819"/>
                    </a:cubicBezTo>
                    <a:cubicBezTo>
                      <a:pt x="263935" y="73082"/>
                      <a:pt x="262631" y="69452"/>
                      <a:pt x="261937" y="66675"/>
                    </a:cubicBezTo>
                    <a:cubicBezTo>
                      <a:pt x="260194" y="59702"/>
                      <a:pt x="262964" y="51572"/>
                      <a:pt x="259556" y="45244"/>
                    </a:cubicBezTo>
                    <a:cubicBezTo>
                      <a:pt x="255974" y="38592"/>
                      <a:pt x="245088" y="35659"/>
                      <a:pt x="238125" y="33338"/>
                    </a:cubicBezTo>
                    <a:cubicBezTo>
                      <a:pt x="217660" y="19694"/>
                      <a:pt x="243547" y="36048"/>
                      <a:pt x="223837" y="26194"/>
                    </a:cubicBezTo>
                    <a:cubicBezTo>
                      <a:pt x="221277" y="24914"/>
                      <a:pt x="219308" y="22594"/>
                      <a:pt x="216693" y="21432"/>
                    </a:cubicBezTo>
                    <a:cubicBezTo>
                      <a:pt x="212106" y="19393"/>
                      <a:pt x="206583" y="19454"/>
                      <a:pt x="202406" y="16669"/>
                    </a:cubicBezTo>
                    <a:lnTo>
                      <a:pt x="188118" y="7144"/>
                    </a:lnTo>
                    <a:cubicBezTo>
                      <a:pt x="185737" y="5557"/>
                      <a:pt x="183690" y="3287"/>
                      <a:pt x="180975" y="2382"/>
                    </a:cubicBezTo>
                    <a:lnTo>
                      <a:pt x="173831" y="0"/>
                    </a:lnTo>
                    <a:cubicBezTo>
                      <a:pt x="103199" y="2944"/>
                      <a:pt x="183753" y="1588"/>
                      <a:pt x="180975" y="238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6" name="Freeform 205"/>
              <p:cNvSpPr/>
              <p:nvPr/>
            </p:nvSpPr>
            <p:spPr>
              <a:xfrm>
                <a:off x="5949042" y="5140127"/>
                <a:ext cx="383381" cy="213603"/>
              </a:xfrm>
              <a:custGeom>
                <a:avLst/>
                <a:gdLst>
                  <a:gd name="connsiteX0" fmla="*/ 19050 w 383381"/>
                  <a:gd name="connsiteY0" fmla="*/ 11196 h 213603"/>
                  <a:gd name="connsiteX1" fmla="*/ 9525 w 383381"/>
                  <a:gd name="connsiteY1" fmla="*/ 27865 h 213603"/>
                  <a:gd name="connsiteX2" fmla="*/ 0 w 383381"/>
                  <a:gd name="connsiteY2" fmla="*/ 42153 h 213603"/>
                  <a:gd name="connsiteX3" fmla="*/ 2381 w 383381"/>
                  <a:gd name="connsiteY3" fmla="*/ 56440 h 213603"/>
                  <a:gd name="connsiteX4" fmla="*/ 9525 w 383381"/>
                  <a:gd name="connsiteY4" fmla="*/ 58821 h 213603"/>
                  <a:gd name="connsiteX5" fmla="*/ 33338 w 383381"/>
                  <a:gd name="connsiteY5" fmla="*/ 61203 h 213603"/>
                  <a:gd name="connsiteX6" fmla="*/ 40481 w 383381"/>
                  <a:gd name="connsiteY6" fmla="*/ 75490 h 213603"/>
                  <a:gd name="connsiteX7" fmla="*/ 42863 w 383381"/>
                  <a:gd name="connsiteY7" fmla="*/ 82634 h 213603"/>
                  <a:gd name="connsiteX8" fmla="*/ 59531 w 383381"/>
                  <a:gd name="connsiteY8" fmla="*/ 101684 h 213603"/>
                  <a:gd name="connsiteX9" fmla="*/ 66675 w 383381"/>
                  <a:gd name="connsiteY9" fmla="*/ 104065 h 213603"/>
                  <a:gd name="connsiteX10" fmla="*/ 73819 w 383381"/>
                  <a:gd name="connsiteY10" fmla="*/ 108828 h 213603"/>
                  <a:gd name="connsiteX11" fmla="*/ 88106 w 383381"/>
                  <a:gd name="connsiteY11" fmla="*/ 113590 h 213603"/>
                  <a:gd name="connsiteX12" fmla="*/ 95250 w 383381"/>
                  <a:gd name="connsiteY12" fmla="*/ 115971 h 213603"/>
                  <a:gd name="connsiteX13" fmla="*/ 138113 w 383381"/>
                  <a:gd name="connsiteY13" fmla="*/ 120734 h 213603"/>
                  <a:gd name="connsiteX14" fmla="*/ 150019 w 383381"/>
                  <a:gd name="connsiteY14" fmla="*/ 123115 h 213603"/>
                  <a:gd name="connsiteX15" fmla="*/ 164306 w 383381"/>
                  <a:gd name="connsiteY15" fmla="*/ 127878 h 213603"/>
                  <a:gd name="connsiteX16" fmla="*/ 166688 w 383381"/>
                  <a:gd name="connsiteY16" fmla="*/ 151690 h 213603"/>
                  <a:gd name="connsiteX17" fmla="*/ 171450 w 383381"/>
                  <a:gd name="connsiteY17" fmla="*/ 165978 h 213603"/>
                  <a:gd name="connsiteX18" fmla="*/ 183356 w 383381"/>
                  <a:gd name="connsiteY18" fmla="*/ 163596 h 213603"/>
                  <a:gd name="connsiteX19" fmla="*/ 188119 w 383381"/>
                  <a:gd name="connsiteY19" fmla="*/ 170740 h 213603"/>
                  <a:gd name="connsiteX20" fmla="*/ 192881 w 383381"/>
                  <a:gd name="connsiteY20" fmla="*/ 187409 h 213603"/>
                  <a:gd name="connsiteX21" fmla="*/ 195263 w 383381"/>
                  <a:gd name="connsiteY21" fmla="*/ 204078 h 213603"/>
                  <a:gd name="connsiteX22" fmla="*/ 202406 w 383381"/>
                  <a:gd name="connsiteY22" fmla="*/ 208840 h 213603"/>
                  <a:gd name="connsiteX23" fmla="*/ 230981 w 383381"/>
                  <a:gd name="connsiteY23" fmla="*/ 213603 h 213603"/>
                  <a:gd name="connsiteX24" fmla="*/ 259556 w 383381"/>
                  <a:gd name="connsiteY24" fmla="*/ 211221 h 213603"/>
                  <a:gd name="connsiteX25" fmla="*/ 273844 w 383381"/>
                  <a:gd name="connsiteY25" fmla="*/ 206459 h 213603"/>
                  <a:gd name="connsiteX26" fmla="*/ 280988 w 383381"/>
                  <a:gd name="connsiteY26" fmla="*/ 204078 h 213603"/>
                  <a:gd name="connsiteX27" fmla="*/ 288131 w 383381"/>
                  <a:gd name="connsiteY27" fmla="*/ 196934 h 213603"/>
                  <a:gd name="connsiteX28" fmla="*/ 292894 w 383381"/>
                  <a:gd name="connsiteY28" fmla="*/ 189790 h 213603"/>
                  <a:gd name="connsiteX29" fmla="*/ 307181 w 383381"/>
                  <a:gd name="connsiteY29" fmla="*/ 177884 h 213603"/>
                  <a:gd name="connsiteX30" fmla="*/ 321469 w 383381"/>
                  <a:gd name="connsiteY30" fmla="*/ 173121 h 213603"/>
                  <a:gd name="connsiteX31" fmla="*/ 342900 w 383381"/>
                  <a:gd name="connsiteY31" fmla="*/ 177884 h 213603"/>
                  <a:gd name="connsiteX32" fmla="*/ 350044 w 383381"/>
                  <a:gd name="connsiteY32" fmla="*/ 182646 h 213603"/>
                  <a:gd name="connsiteX33" fmla="*/ 357188 w 383381"/>
                  <a:gd name="connsiteY33" fmla="*/ 185028 h 213603"/>
                  <a:gd name="connsiteX34" fmla="*/ 378619 w 383381"/>
                  <a:gd name="connsiteY34" fmla="*/ 177884 h 213603"/>
                  <a:gd name="connsiteX35" fmla="*/ 383381 w 383381"/>
                  <a:gd name="connsiteY35" fmla="*/ 168359 h 213603"/>
                  <a:gd name="connsiteX36" fmla="*/ 381000 w 383381"/>
                  <a:gd name="connsiteY36" fmla="*/ 154071 h 213603"/>
                  <a:gd name="connsiteX37" fmla="*/ 378619 w 383381"/>
                  <a:gd name="connsiteY37" fmla="*/ 146928 h 213603"/>
                  <a:gd name="connsiteX38" fmla="*/ 371475 w 383381"/>
                  <a:gd name="connsiteY38" fmla="*/ 144546 h 213603"/>
                  <a:gd name="connsiteX39" fmla="*/ 359569 w 383381"/>
                  <a:gd name="connsiteY39" fmla="*/ 130259 h 213603"/>
                  <a:gd name="connsiteX40" fmla="*/ 357188 w 383381"/>
                  <a:gd name="connsiteY40" fmla="*/ 123115 h 213603"/>
                  <a:gd name="connsiteX41" fmla="*/ 352425 w 383381"/>
                  <a:gd name="connsiteY41" fmla="*/ 99303 h 213603"/>
                  <a:gd name="connsiteX42" fmla="*/ 347663 w 383381"/>
                  <a:gd name="connsiteY42" fmla="*/ 85015 h 213603"/>
                  <a:gd name="connsiteX43" fmla="*/ 345281 w 383381"/>
                  <a:gd name="connsiteY43" fmla="*/ 77871 h 213603"/>
                  <a:gd name="connsiteX44" fmla="*/ 335756 w 383381"/>
                  <a:gd name="connsiteY44" fmla="*/ 63584 h 213603"/>
                  <a:gd name="connsiteX45" fmla="*/ 330994 w 383381"/>
                  <a:gd name="connsiteY45" fmla="*/ 56440 h 213603"/>
                  <a:gd name="connsiteX46" fmla="*/ 316706 w 383381"/>
                  <a:gd name="connsiteY46" fmla="*/ 49296 h 213603"/>
                  <a:gd name="connsiteX47" fmla="*/ 283369 w 383381"/>
                  <a:gd name="connsiteY47" fmla="*/ 51678 h 213603"/>
                  <a:gd name="connsiteX48" fmla="*/ 269081 w 383381"/>
                  <a:gd name="connsiteY48" fmla="*/ 56440 h 213603"/>
                  <a:gd name="connsiteX49" fmla="*/ 254794 w 383381"/>
                  <a:gd name="connsiteY49" fmla="*/ 68346 h 213603"/>
                  <a:gd name="connsiteX50" fmla="*/ 247650 w 383381"/>
                  <a:gd name="connsiteY50" fmla="*/ 70728 h 213603"/>
                  <a:gd name="connsiteX51" fmla="*/ 242888 w 383381"/>
                  <a:gd name="connsiteY51" fmla="*/ 63584 h 213603"/>
                  <a:gd name="connsiteX52" fmla="*/ 204788 w 383381"/>
                  <a:gd name="connsiteY52" fmla="*/ 61203 h 213603"/>
                  <a:gd name="connsiteX53" fmla="*/ 185738 w 383381"/>
                  <a:gd name="connsiteY53" fmla="*/ 65965 h 213603"/>
                  <a:gd name="connsiteX54" fmla="*/ 159544 w 383381"/>
                  <a:gd name="connsiteY54" fmla="*/ 70728 h 213603"/>
                  <a:gd name="connsiteX55" fmla="*/ 138113 w 383381"/>
                  <a:gd name="connsiteY55" fmla="*/ 68346 h 213603"/>
                  <a:gd name="connsiteX56" fmla="*/ 126206 w 383381"/>
                  <a:gd name="connsiteY56" fmla="*/ 54059 h 213603"/>
                  <a:gd name="connsiteX57" fmla="*/ 121444 w 383381"/>
                  <a:gd name="connsiteY57" fmla="*/ 37390 h 213603"/>
                  <a:gd name="connsiteX58" fmla="*/ 111919 w 383381"/>
                  <a:gd name="connsiteY58" fmla="*/ 23103 h 213603"/>
                  <a:gd name="connsiteX59" fmla="*/ 104775 w 383381"/>
                  <a:gd name="connsiteY59" fmla="*/ 18340 h 213603"/>
                  <a:gd name="connsiteX60" fmla="*/ 85725 w 383381"/>
                  <a:gd name="connsiteY60" fmla="*/ 6434 h 213603"/>
                  <a:gd name="connsiteX61" fmla="*/ 78581 w 383381"/>
                  <a:gd name="connsiteY61" fmla="*/ 4053 h 213603"/>
                  <a:gd name="connsiteX62" fmla="*/ 9525 w 383381"/>
                  <a:gd name="connsiteY62" fmla="*/ 13578 h 213603"/>
                  <a:gd name="connsiteX63" fmla="*/ 19050 w 383381"/>
                  <a:gd name="connsiteY63" fmla="*/ 11196 h 21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3381" h="213603">
                    <a:moveTo>
                      <a:pt x="19050" y="11196"/>
                    </a:moveTo>
                    <a:cubicBezTo>
                      <a:pt x="19050" y="13577"/>
                      <a:pt x="21335" y="14368"/>
                      <a:pt x="9525" y="27865"/>
                    </a:cubicBezTo>
                    <a:cubicBezTo>
                      <a:pt x="5756" y="32173"/>
                      <a:pt x="0" y="42153"/>
                      <a:pt x="0" y="42153"/>
                    </a:cubicBezTo>
                    <a:cubicBezTo>
                      <a:pt x="794" y="46915"/>
                      <a:pt x="-14" y="52248"/>
                      <a:pt x="2381" y="56440"/>
                    </a:cubicBezTo>
                    <a:cubicBezTo>
                      <a:pt x="3626" y="58619"/>
                      <a:pt x="7044" y="58439"/>
                      <a:pt x="9525" y="58821"/>
                    </a:cubicBezTo>
                    <a:cubicBezTo>
                      <a:pt x="17410" y="60034"/>
                      <a:pt x="25400" y="60409"/>
                      <a:pt x="33338" y="61203"/>
                    </a:cubicBezTo>
                    <a:cubicBezTo>
                      <a:pt x="39321" y="79153"/>
                      <a:pt x="31251" y="57030"/>
                      <a:pt x="40481" y="75490"/>
                    </a:cubicBezTo>
                    <a:cubicBezTo>
                      <a:pt x="41604" y="77735"/>
                      <a:pt x="41644" y="80440"/>
                      <a:pt x="42863" y="82634"/>
                    </a:cubicBezTo>
                    <a:cubicBezTo>
                      <a:pt x="48356" y="92522"/>
                      <a:pt x="50435" y="97136"/>
                      <a:pt x="59531" y="101684"/>
                    </a:cubicBezTo>
                    <a:cubicBezTo>
                      <a:pt x="61776" y="102807"/>
                      <a:pt x="64294" y="103271"/>
                      <a:pt x="66675" y="104065"/>
                    </a:cubicBezTo>
                    <a:cubicBezTo>
                      <a:pt x="69056" y="105653"/>
                      <a:pt x="71204" y="107666"/>
                      <a:pt x="73819" y="108828"/>
                    </a:cubicBezTo>
                    <a:cubicBezTo>
                      <a:pt x="78406" y="110867"/>
                      <a:pt x="83344" y="112003"/>
                      <a:pt x="88106" y="113590"/>
                    </a:cubicBezTo>
                    <a:cubicBezTo>
                      <a:pt x="90487" y="114384"/>
                      <a:pt x="92759" y="115660"/>
                      <a:pt x="95250" y="115971"/>
                    </a:cubicBezTo>
                    <a:cubicBezTo>
                      <a:pt x="122216" y="119343"/>
                      <a:pt x="107932" y="117716"/>
                      <a:pt x="138113" y="120734"/>
                    </a:cubicBezTo>
                    <a:cubicBezTo>
                      <a:pt x="142082" y="121528"/>
                      <a:pt x="146114" y="122050"/>
                      <a:pt x="150019" y="123115"/>
                    </a:cubicBezTo>
                    <a:cubicBezTo>
                      <a:pt x="154862" y="124436"/>
                      <a:pt x="164306" y="127878"/>
                      <a:pt x="164306" y="127878"/>
                    </a:cubicBezTo>
                    <a:cubicBezTo>
                      <a:pt x="165100" y="135815"/>
                      <a:pt x="165218" y="143850"/>
                      <a:pt x="166688" y="151690"/>
                    </a:cubicBezTo>
                    <a:cubicBezTo>
                      <a:pt x="167613" y="156624"/>
                      <a:pt x="171450" y="165978"/>
                      <a:pt x="171450" y="165978"/>
                    </a:cubicBezTo>
                    <a:cubicBezTo>
                      <a:pt x="175419" y="165184"/>
                      <a:pt x="179464" y="162484"/>
                      <a:pt x="183356" y="163596"/>
                    </a:cubicBezTo>
                    <a:cubicBezTo>
                      <a:pt x="186108" y="164382"/>
                      <a:pt x="186839" y="168180"/>
                      <a:pt x="188119" y="170740"/>
                    </a:cubicBezTo>
                    <a:cubicBezTo>
                      <a:pt x="189576" y="173654"/>
                      <a:pt x="192445" y="185012"/>
                      <a:pt x="192881" y="187409"/>
                    </a:cubicBezTo>
                    <a:cubicBezTo>
                      <a:pt x="193885" y="192931"/>
                      <a:pt x="192983" y="198949"/>
                      <a:pt x="195263" y="204078"/>
                    </a:cubicBezTo>
                    <a:cubicBezTo>
                      <a:pt x="196425" y="206693"/>
                      <a:pt x="199846" y="207560"/>
                      <a:pt x="202406" y="208840"/>
                    </a:cubicBezTo>
                    <a:cubicBezTo>
                      <a:pt x="210383" y="212828"/>
                      <a:pt x="224195" y="212849"/>
                      <a:pt x="230981" y="213603"/>
                    </a:cubicBezTo>
                    <a:cubicBezTo>
                      <a:pt x="240506" y="212809"/>
                      <a:pt x="250128" y="212792"/>
                      <a:pt x="259556" y="211221"/>
                    </a:cubicBezTo>
                    <a:cubicBezTo>
                      <a:pt x="264508" y="210396"/>
                      <a:pt x="269081" y="208046"/>
                      <a:pt x="273844" y="206459"/>
                    </a:cubicBezTo>
                    <a:lnTo>
                      <a:pt x="280988" y="204078"/>
                    </a:lnTo>
                    <a:cubicBezTo>
                      <a:pt x="283369" y="201697"/>
                      <a:pt x="285975" y="199521"/>
                      <a:pt x="288131" y="196934"/>
                    </a:cubicBezTo>
                    <a:cubicBezTo>
                      <a:pt x="289963" y="194735"/>
                      <a:pt x="291062" y="191989"/>
                      <a:pt x="292894" y="189790"/>
                    </a:cubicBezTo>
                    <a:cubicBezTo>
                      <a:pt x="296193" y="185832"/>
                      <a:pt x="302223" y="180088"/>
                      <a:pt x="307181" y="177884"/>
                    </a:cubicBezTo>
                    <a:cubicBezTo>
                      <a:pt x="311769" y="175845"/>
                      <a:pt x="321469" y="173121"/>
                      <a:pt x="321469" y="173121"/>
                    </a:cubicBezTo>
                    <a:cubicBezTo>
                      <a:pt x="323583" y="173544"/>
                      <a:pt x="339961" y="176625"/>
                      <a:pt x="342900" y="177884"/>
                    </a:cubicBezTo>
                    <a:cubicBezTo>
                      <a:pt x="345531" y="179011"/>
                      <a:pt x="347484" y="181366"/>
                      <a:pt x="350044" y="182646"/>
                    </a:cubicBezTo>
                    <a:cubicBezTo>
                      <a:pt x="352289" y="183769"/>
                      <a:pt x="354807" y="184234"/>
                      <a:pt x="357188" y="185028"/>
                    </a:cubicBezTo>
                    <a:cubicBezTo>
                      <a:pt x="364577" y="183796"/>
                      <a:pt x="373220" y="184363"/>
                      <a:pt x="378619" y="177884"/>
                    </a:cubicBezTo>
                    <a:cubicBezTo>
                      <a:pt x="380891" y="175157"/>
                      <a:pt x="381794" y="171534"/>
                      <a:pt x="383381" y="168359"/>
                    </a:cubicBezTo>
                    <a:cubicBezTo>
                      <a:pt x="382587" y="163596"/>
                      <a:pt x="382047" y="158784"/>
                      <a:pt x="381000" y="154071"/>
                    </a:cubicBezTo>
                    <a:cubicBezTo>
                      <a:pt x="380456" y="151621"/>
                      <a:pt x="380394" y="148703"/>
                      <a:pt x="378619" y="146928"/>
                    </a:cubicBezTo>
                    <a:cubicBezTo>
                      <a:pt x="376844" y="145153"/>
                      <a:pt x="373856" y="145340"/>
                      <a:pt x="371475" y="144546"/>
                    </a:cubicBezTo>
                    <a:cubicBezTo>
                      <a:pt x="366207" y="139278"/>
                      <a:pt x="362885" y="136892"/>
                      <a:pt x="359569" y="130259"/>
                    </a:cubicBezTo>
                    <a:cubicBezTo>
                      <a:pt x="358447" y="128014"/>
                      <a:pt x="357752" y="125561"/>
                      <a:pt x="357188" y="123115"/>
                    </a:cubicBezTo>
                    <a:cubicBezTo>
                      <a:pt x="355368" y="115228"/>
                      <a:pt x="354984" y="106982"/>
                      <a:pt x="352425" y="99303"/>
                    </a:cubicBezTo>
                    <a:lnTo>
                      <a:pt x="347663" y="85015"/>
                    </a:lnTo>
                    <a:cubicBezTo>
                      <a:pt x="346869" y="82634"/>
                      <a:pt x="346673" y="79960"/>
                      <a:pt x="345281" y="77871"/>
                    </a:cubicBezTo>
                    <a:lnTo>
                      <a:pt x="335756" y="63584"/>
                    </a:lnTo>
                    <a:cubicBezTo>
                      <a:pt x="334169" y="61203"/>
                      <a:pt x="333375" y="58027"/>
                      <a:pt x="330994" y="56440"/>
                    </a:cubicBezTo>
                    <a:cubicBezTo>
                      <a:pt x="321761" y="50286"/>
                      <a:pt x="326565" y="52583"/>
                      <a:pt x="316706" y="49296"/>
                    </a:cubicBezTo>
                    <a:cubicBezTo>
                      <a:pt x="305594" y="50090"/>
                      <a:pt x="294386" y="50025"/>
                      <a:pt x="283369" y="51678"/>
                    </a:cubicBezTo>
                    <a:cubicBezTo>
                      <a:pt x="278404" y="52423"/>
                      <a:pt x="269081" y="56440"/>
                      <a:pt x="269081" y="56440"/>
                    </a:cubicBezTo>
                    <a:cubicBezTo>
                      <a:pt x="263812" y="61709"/>
                      <a:pt x="261427" y="65029"/>
                      <a:pt x="254794" y="68346"/>
                    </a:cubicBezTo>
                    <a:cubicBezTo>
                      <a:pt x="252549" y="69469"/>
                      <a:pt x="250031" y="69934"/>
                      <a:pt x="247650" y="70728"/>
                    </a:cubicBezTo>
                    <a:cubicBezTo>
                      <a:pt x="246063" y="68347"/>
                      <a:pt x="244912" y="65608"/>
                      <a:pt x="242888" y="63584"/>
                    </a:cubicBezTo>
                    <a:cubicBezTo>
                      <a:pt x="232010" y="52705"/>
                      <a:pt x="220964" y="59958"/>
                      <a:pt x="204788" y="61203"/>
                    </a:cubicBezTo>
                    <a:cubicBezTo>
                      <a:pt x="198438" y="62790"/>
                      <a:pt x="192156" y="64682"/>
                      <a:pt x="185738" y="65965"/>
                    </a:cubicBezTo>
                    <a:cubicBezTo>
                      <a:pt x="169097" y="69293"/>
                      <a:pt x="177823" y="67680"/>
                      <a:pt x="159544" y="70728"/>
                    </a:cubicBezTo>
                    <a:cubicBezTo>
                      <a:pt x="152400" y="69934"/>
                      <a:pt x="144932" y="70619"/>
                      <a:pt x="138113" y="68346"/>
                    </a:cubicBezTo>
                    <a:cubicBezTo>
                      <a:pt x="134183" y="67036"/>
                      <a:pt x="128385" y="57327"/>
                      <a:pt x="126206" y="54059"/>
                    </a:cubicBezTo>
                    <a:cubicBezTo>
                      <a:pt x="125646" y="51818"/>
                      <a:pt x="122996" y="40184"/>
                      <a:pt x="121444" y="37390"/>
                    </a:cubicBezTo>
                    <a:cubicBezTo>
                      <a:pt x="118664" y="32387"/>
                      <a:pt x="116681" y="26278"/>
                      <a:pt x="111919" y="23103"/>
                    </a:cubicBezTo>
                    <a:lnTo>
                      <a:pt x="104775" y="18340"/>
                    </a:lnTo>
                    <a:cubicBezTo>
                      <a:pt x="97229" y="7019"/>
                      <a:pt x="102728" y="12101"/>
                      <a:pt x="85725" y="6434"/>
                    </a:cubicBezTo>
                    <a:lnTo>
                      <a:pt x="78581" y="4053"/>
                    </a:lnTo>
                    <a:cubicBezTo>
                      <a:pt x="24196" y="6067"/>
                      <a:pt x="24480" y="-11346"/>
                      <a:pt x="9525" y="13578"/>
                    </a:cubicBezTo>
                    <a:cubicBezTo>
                      <a:pt x="8612" y="15100"/>
                      <a:pt x="19050" y="8815"/>
                      <a:pt x="19050" y="1119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7" name="Freeform 206"/>
              <p:cNvSpPr/>
              <p:nvPr/>
            </p:nvSpPr>
            <p:spPr>
              <a:xfrm>
                <a:off x="6266626" y="5460886"/>
                <a:ext cx="465932" cy="259831"/>
              </a:xfrm>
              <a:custGeom>
                <a:avLst/>
                <a:gdLst>
                  <a:gd name="connsiteX0" fmla="*/ 215816 w 465932"/>
                  <a:gd name="connsiteY0" fmla="*/ 23812 h 259831"/>
                  <a:gd name="connsiteX1" fmla="*/ 187241 w 465932"/>
                  <a:gd name="connsiteY1" fmla="*/ 21431 h 259831"/>
                  <a:gd name="connsiteX2" fmla="*/ 170572 w 465932"/>
                  <a:gd name="connsiteY2" fmla="*/ 16669 h 259831"/>
                  <a:gd name="connsiteX3" fmla="*/ 120566 w 465932"/>
                  <a:gd name="connsiteY3" fmla="*/ 9525 h 259831"/>
                  <a:gd name="connsiteX4" fmla="*/ 106279 w 465932"/>
                  <a:gd name="connsiteY4" fmla="*/ 4762 h 259831"/>
                  <a:gd name="connsiteX5" fmla="*/ 99135 w 465932"/>
                  <a:gd name="connsiteY5" fmla="*/ 2381 h 259831"/>
                  <a:gd name="connsiteX6" fmla="*/ 91991 w 465932"/>
                  <a:gd name="connsiteY6" fmla="*/ 0 h 259831"/>
                  <a:gd name="connsiteX7" fmla="*/ 51510 w 465932"/>
                  <a:gd name="connsiteY7" fmla="*/ 4762 h 259831"/>
                  <a:gd name="connsiteX8" fmla="*/ 44366 w 465932"/>
                  <a:gd name="connsiteY8" fmla="*/ 9525 h 259831"/>
                  <a:gd name="connsiteX9" fmla="*/ 41985 w 465932"/>
                  <a:gd name="connsiteY9" fmla="*/ 16669 h 259831"/>
                  <a:gd name="connsiteX10" fmla="*/ 27697 w 465932"/>
                  <a:gd name="connsiteY10" fmla="*/ 30956 h 259831"/>
                  <a:gd name="connsiteX11" fmla="*/ 3885 w 465932"/>
                  <a:gd name="connsiteY11" fmla="*/ 38100 h 259831"/>
                  <a:gd name="connsiteX12" fmla="*/ 3885 w 465932"/>
                  <a:gd name="connsiteY12" fmla="*/ 73819 h 259831"/>
                  <a:gd name="connsiteX13" fmla="*/ 18172 w 465932"/>
                  <a:gd name="connsiteY13" fmla="*/ 85725 h 259831"/>
                  <a:gd name="connsiteX14" fmla="*/ 32460 w 465932"/>
                  <a:gd name="connsiteY14" fmla="*/ 100012 h 259831"/>
                  <a:gd name="connsiteX15" fmla="*/ 37222 w 465932"/>
                  <a:gd name="connsiteY15" fmla="*/ 107156 h 259831"/>
                  <a:gd name="connsiteX16" fmla="*/ 51510 w 465932"/>
                  <a:gd name="connsiteY16" fmla="*/ 121444 h 259831"/>
                  <a:gd name="connsiteX17" fmla="*/ 65797 w 465932"/>
                  <a:gd name="connsiteY17" fmla="*/ 126206 h 259831"/>
                  <a:gd name="connsiteX18" fmla="*/ 72941 w 465932"/>
                  <a:gd name="connsiteY18" fmla="*/ 128587 h 259831"/>
                  <a:gd name="connsiteX19" fmla="*/ 132472 w 465932"/>
                  <a:gd name="connsiteY19" fmla="*/ 126206 h 259831"/>
                  <a:gd name="connsiteX20" fmla="*/ 139616 w 465932"/>
                  <a:gd name="connsiteY20" fmla="*/ 123825 h 259831"/>
                  <a:gd name="connsiteX21" fmla="*/ 149141 w 465932"/>
                  <a:gd name="connsiteY21" fmla="*/ 121444 h 259831"/>
                  <a:gd name="connsiteX22" fmla="*/ 182479 w 465932"/>
                  <a:gd name="connsiteY22" fmla="*/ 123825 h 259831"/>
                  <a:gd name="connsiteX23" fmla="*/ 196766 w 465932"/>
                  <a:gd name="connsiteY23" fmla="*/ 128587 h 259831"/>
                  <a:gd name="connsiteX24" fmla="*/ 203910 w 465932"/>
                  <a:gd name="connsiteY24" fmla="*/ 133350 h 259831"/>
                  <a:gd name="connsiteX25" fmla="*/ 211054 w 465932"/>
                  <a:gd name="connsiteY25" fmla="*/ 135731 h 259831"/>
                  <a:gd name="connsiteX26" fmla="*/ 215816 w 465932"/>
                  <a:gd name="connsiteY26" fmla="*/ 142875 h 259831"/>
                  <a:gd name="connsiteX27" fmla="*/ 230104 w 465932"/>
                  <a:gd name="connsiteY27" fmla="*/ 152400 h 259831"/>
                  <a:gd name="connsiteX28" fmla="*/ 242010 w 465932"/>
                  <a:gd name="connsiteY28" fmla="*/ 166687 h 259831"/>
                  <a:gd name="connsiteX29" fmla="*/ 251535 w 465932"/>
                  <a:gd name="connsiteY29" fmla="*/ 180975 h 259831"/>
                  <a:gd name="connsiteX30" fmla="*/ 263441 w 465932"/>
                  <a:gd name="connsiteY30" fmla="*/ 204787 h 259831"/>
                  <a:gd name="connsiteX31" fmla="*/ 268204 w 465932"/>
                  <a:gd name="connsiteY31" fmla="*/ 211931 h 259831"/>
                  <a:gd name="connsiteX32" fmla="*/ 275347 w 465932"/>
                  <a:gd name="connsiteY32" fmla="*/ 216694 h 259831"/>
                  <a:gd name="connsiteX33" fmla="*/ 289635 w 465932"/>
                  <a:gd name="connsiteY33" fmla="*/ 230981 h 259831"/>
                  <a:gd name="connsiteX34" fmla="*/ 311066 w 465932"/>
                  <a:gd name="connsiteY34" fmla="*/ 245269 h 259831"/>
                  <a:gd name="connsiteX35" fmla="*/ 318210 w 465932"/>
                  <a:gd name="connsiteY35" fmla="*/ 250031 h 259831"/>
                  <a:gd name="connsiteX36" fmla="*/ 325354 w 465932"/>
                  <a:gd name="connsiteY36" fmla="*/ 252412 h 259831"/>
                  <a:gd name="connsiteX37" fmla="*/ 332497 w 465932"/>
                  <a:gd name="connsiteY37" fmla="*/ 257175 h 259831"/>
                  <a:gd name="connsiteX38" fmla="*/ 384885 w 465932"/>
                  <a:gd name="connsiteY38" fmla="*/ 257175 h 259831"/>
                  <a:gd name="connsiteX39" fmla="*/ 389647 w 465932"/>
                  <a:gd name="connsiteY39" fmla="*/ 240506 h 259831"/>
                  <a:gd name="connsiteX40" fmla="*/ 396791 w 465932"/>
                  <a:gd name="connsiteY40" fmla="*/ 235744 h 259831"/>
                  <a:gd name="connsiteX41" fmla="*/ 403935 w 465932"/>
                  <a:gd name="connsiteY41" fmla="*/ 233362 h 259831"/>
                  <a:gd name="connsiteX42" fmla="*/ 449179 w 465932"/>
                  <a:gd name="connsiteY42" fmla="*/ 230981 h 259831"/>
                  <a:gd name="connsiteX43" fmla="*/ 463466 w 465932"/>
                  <a:gd name="connsiteY43" fmla="*/ 223837 h 259831"/>
                  <a:gd name="connsiteX44" fmla="*/ 465847 w 465932"/>
                  <a:gd name="connsiteY44" fmla="*/ 216694 h 259831"/>
                  <a:gd name="connsiteX45" fmla="*/ 461085 w 465932"/>
                  <a:gd name="connsiteY45" fmla="*/ 169069 h 259831"/>
                  <a:gd name="connsiteX46" fmla="*/ 442035 w 465932"/>
                  <a:gd name="connsiteY46" fmla="*/ 147637 h 259831"/>
                  <a:gd name="connsiteX47" fmla="*/ 434891 w 465932"/>
                  <a:gd name="connsiteY47" fmla="*/ 140494 h 259831"/>
                  <a:gd name="connsiteX48" fmla="*/ 425366 w 465932"/>
                  <a:gd name="connsiteY48" fmla="*/ 130969 h 259831"/>
                  <a:gd name="connsiteX49" fmla="*/ 420604 w 465932"/>
                  <a:gd name="connsiteY49" fmla="*/ 123825 h 259831"/>
                  <a:gd name="connsiteX50" fmla="*/ 406316 w 465932"/>
                  <a:gd name="connsiteY50" fmla="*/ 114300 h 259831"/>
                  <a:gd name="connsiteX51" fmla="*/ 399172 w 465932"/>
                  <a:gd name="connsiteY51" fmla="*/ 107156 h 259831"/>
                  <a:gd name="connsiteX52" fmla="*/ 389647 w 465932"/>
                  <a:gd name="connsiteY52" fmla="*/ 104775 h 259831"/>
                  <a:gd name="connsiteX53" fmla="*/ 380122 w 465932"/>
                  <a:gd name="connsiteY53" fmla="*/ 97631 h 259831"/>
                  <a:gd name="connsiteX54" fmla="*/ 358691 w 465932"/>
                  <a:gd name="connsiteY54" fmla="*/ 85725 h 259831"/>
                  <a:gd name="connsiteX55" fmla="*/ 344404 w 465932"/>
                  <a:gd name="connsiteY55" fmla="*/ 71437 h 259831"/>
                  <a:gd name="connsiteX56" fmla="*/ 339641 w 465932"/>
                  <a:gd name="connsiteY56" fmla="*/ 64294 h 259831"/>
                  <a:gd name="connsiteX57" fmla="*/ 332497 w 465932"/>
                  <a:gd name="connsiteY57" fmla="*/ 57150 h 259831"/>
                  <a:gd name="connsiteX58" fmla="*/ 327735 w 465932"/>
                  <a:gd name="connsiteY58" fmla="*/ 50006 h 259831"/>
                  <a:gd name="connsiteX59" fmla="*/ 313447 w 465932"/>
                  <a:gd name="connsiteY59" fmla="*/ 45244 h 259831"/>
                  <a:gd name="connsiteX60" fmla="*/ 299160 w 465932"/>
                  <a:gd name="connsiteY60" fmla="*/ 40481 h 259831"/>
                  <a:gd name="connsiteX61" fmla="*/ 280110 w 465932"/>
                  <a:gd name="connsiteY61" fmla="*/ 38100 h 259831"/>
                  <a:gd name="connsiteX62" fmla="*/ 272966 w 465932"/>
                  <a:gd name="connsiteY62" fmla="*/ 35719 h 259831"/>
                  <a:gd name="connsiteX63" fmla="*/ 268204 w 465932"/>
                  <a:gd name="connsiteY63" fmla="*/ 21431 h 259831"/>
                  <a:gd name="connsiteX64" fmla="*/ 253916 w 465932"/>
                  <a:gd name="connsiteY64" fmla="*/ 14287 h 259831"/>
                  <a:gd name="connsiteX65" fmla="*/ 230104 w 465932"/>
                  <a:gd name="connsiteY65" fmla="*/ 16669 h 259831"/>
                  <a:gd name="connsiteX66" fmla="*/ 222960 w 465932"/>
                  <a:gd name="connsiteY66" fmla="*/ 19050 h 259831"/>
                  <a:gd name="connsiteX67" fmla="*/ 215816 w 465932"/>
                  <a:gd name="connsiteY67" fmla="*/ 23812 h 25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65932" h="259831">
                    <a:moveTo>
                      <a:pt x="215816" y="23812"/>
                    </a:moveTo>
                    <a:cubicBezTo>
                      <a:pt x="209863" y="24209"/>
                      <a:pt x="196725" y="22616"/>
                      <a:pt x="187241" y="21431"/>
                    </a:cubicBezTo>
                    <a:cubicBezTo>
                      <a:pt x="182457" y="20833"/>
                      <a:pt x="175317" y="18250"/>
                      <a:pt x="170572" y="16669"/>
                    </a:cubicBezTo>
                    <a:cubicBezTo>
                      <a:pt x="150351" y="3186"/>
                      <a:pt x="172147" y="15973"/>
                      <a:pt x="120566" y="9525"/>
                    </a:cubicBezTo>
                    <a:cubicBezTo>
                      <a:pt x="115585" y="8902"/>
                      <a:pt x="111041" y="6350"/>
                      <a:pt x="106279" y="4762"/>
                    </a:cubicBezTo>
                    <a:lnTo>
                      <a:pt x="99135" y="2381"/>
                    </a:lnTo>
                    <a:lnTo>
                      <a:pt x="91991" y="0"/>
                    </a:lnTo>
                    <a:cubicBezTo>
                      <a:pt x="86731" y="376"/>
                      <a:pt x="62333" y="-649"/>
                      <a:pt x="51510" y="4762"/>
                    </a:cubicBezTo>
                    <a:cubicBezTo>
                      <a:pt x="48950" y="6042"/>
                      <a:pt x="46747" y="7937"/>
                      <a:pt x="44366" y="9525"/>
                    </a:cubicBezTo>
                    <a:cubicBezTo>
                      <a:pt x="43572" y="11906"/>
                      <a:pt x="43526" y="14688"/>
                      <a:pt x="41985" y="16669"/>
                    </a:cubicBezTo>
                    <a:cubicBezTo>
                      <a:pt x="37850" y="21985"/>
                      <a:pt x="34086" y="28826"/>
                      <a:pt x="27697" y="30956"/>
                    </a:cubicBezTo>
                    <a:cubicBezTo>
                      <a:pt x="10305" y="36754"/>
                      <a:pt x="18280" y="34502"/>
                      <a:pt x="3885" y="38100"/>
                    </a:cubicBezTo>
                    <a:cubicBezTo>
                      <a:pt x="-687" y="51818"/>
                      <a:pt x="-1870" y="52240"/>
                      <a:pt x="3885" y="73819"/>
                    </a:cubicBezTo>
                    <a:cubicBezTo>
                      <a:pt x="5149" y="78559"/>
                      <a:pt x="14944" y="82856"/>
                      <a:pt x="18172" y="85725"/>
                    </a:cubicBezTo>
                    <a:cubicBezTo>
                      <a:pt x="23206" y="90200"/>
                      <a:pt x="28724" y="94408"/>
                      <a:pt x="32460" y="100012"/>
                    </a:cubicBezTo>
                    <a:cubicBezTo>
                      <a:pt x="34047" y="102393"/>
                      <a:pt x="35321" y="105017"/>
                      <a:pt x="37222" y="107156"/>
                    </a:cubicBezTo>
                    <a:cubicBezTo>
                      <a:pt x="41697" y="112190"/>
                      <a:pt x="45120" y="119314"/>
                      <a:pt x="51510" y="121444"/>
                    </a:cubicBezTo>
                    <a:lnTo>
                      <a:pt x="65797" y="126206"/>
                    </a:lnTo>
                    <a:lnTo>
                      <a:pt x="72941" y="128587"/>
                    </a:lnTo>
                    <a:cubicBezTo>
                      <a:pt x="92785" y="127793"/>
                      <a:pt x="112663" y="127621"/>
                      <a:pt x="132472" y="126206"/>
                    </a:cubicBezTo>
                    <a:cubicBezTo>
                      <a:pt x="134976" y="126027"/>
                      <a:pt x="137202" y="124515"/>
                      <a:pt x="139616" y="123825"/>
                    </a:cubicBezTo>
                    <a:cubicBezTo>
                      <a:pt x="142763" y="122926"/>
                      <a:pt x="145966" y="122238"/>
                      <a:pt x="149141" y="121444"/>
                    </a:cubicBezTo>
                    <a:cubicBezTo>
                      <a:pt x="160254" y="122238"/>
                      <a:pt x="171461" y="122173"/>
                      <a:pt x="182479" y="123825"/>
                    </a:cubicBezTo>
                    <a:cubicBezTo>
                      <a:pt x="187443" y="124570"/>
                      <a:pt x="196766" y="128587"/>
                      <a:pt x="196766" y="128587"/>
                    </a:cubicBezTo>
                    <a:cubicBezTo>
                      <a:pt x="199147" y="130175"/>
                      <a:pt x="201350" y="132070"/>
                      <a:pt x="203910" y="133350"/>
                    </a:cubicBezTo>
                    <a:cubicBezTo>
                      <a:pt x="206155" y="134473"/>
                      <a:pt x="209094" y="134163"/>
                      <a:pt x="211054" y="135731"/>
                    </a:cubicBezTo>
                    <a:cubicBezTo>
                      <a:pt x="213289" y="137519"/>
                      <a:pt x="213662" y="140990"/>
                      <a:pt x="215816" y="142875"/>
                    </a:cubicBezTo>
                    <a:cubicBezTo>
                      <a:pt x="220124" y="146644"/>
                      <a:pt x="230104" y="152400"/>
                      <a:pt x="230104" y="152400"/>
                    </a:cubicBezTo>
                    <a:cubicBezTo>
                      <a:pt x="247114" y="177919"/>
                      <a:pt x="220628" y="139196"/>
                      <a:pt x="242010" y="166687"/>
                    </a:cubicBezTo>
                    <a:cubicBezTo>
                      <a:pt x="245524" y="171205"/>
                      <a:pt x="251535" y="180975"/>
                      <a:pt x="251535" y="180975"/>
                    </a:cubicBezTo>
                    <a:cubicBezTo>
                      <a:pt x="255304" y="196053"/>
                      <a:pt x="252101" y="187777"/>
                      <a:pt x="263441" y="204787"/>
                    </a:cubicBezTo>
                    <a:cubicBezTo>
                      <a:pt x="265029" y="207168"/>
                      <a:pt x="265823" y="210343"/>
                      <a:pt x="268204" y="211931"/>
                    </a:cubicBezTo>
                    <a:cubicBezTo>
                      <a:pt x="270585" y="213519"/>
                      <a:pt x="273208" y="214793"/>
                      <a:pt x="275347" y="216694"/>
                    </a:cubicBezTo>
                    <a:cubicBezTo>
                      <a:pt x="280381" y="221169"/>
                      <a:pt x="284031" y="227245"/>
                      <a:pt x="289635" y="230981"/>
                    </a:cubicBezTo>
                    <a:lnTo>
                      <a:pt x="311066" y="245269"/>
                    </a:lnTo>
                    <a:cubicBezTo>
                      <a:pt x="313447" y="246856"/>
                      <a:pt x="315495" y="249126"/>
                      <a:pt x="318210" y="250031"/>
                    </a:cubicBezTo>
                    <a:lnTo>
                      <a:pt x="325354" y="252412"/>
                    </a:lnTo>
                    <a:cubicBezTo>
                      <a:pt x="327735" y="254000"/>
                      <a:pt x="329684" y="256648"/>
                      <a:pt x="332497" y="257175"/>
                    </a:cubicBezTo>
                    <a:cubicBezTo>
                      <a:pt x="356501" y="261676"/>
                      <a:pt x="362974" y="259609"/>
                      <a:pt x="384885" y="257175"/>
                    </a:cubicBezTo>
                    <a:cubicBezTo>
                      <a:pt x="385040" y="256553"/>
                      <a:pt x="388405" y="242058"/>
                      <a:pt x="389647" y="240506"/>
                    </a:cubicBezTo>
                    <a:cubicBezTo>
                      <a:pt x="391435" y="238271"/>
                      <a:pt x="394231" y="237024"/>
                      <a:pt x="396791" y="235744"/>
                    </a:cubicBezTo>
                    <a:cubicBezTo>
                      <a:pt x="399036" y="234621"/>
                      <a:pt x="401435" y="233589"/>
                      <a:pt x="403935" y="233362"/>
                    </a:cubicBezTo>
                    <a:cubicBezTo>
                      <a:pt x="418975" y="231995"/>
                      <a:pt x="434098" y="231775"/>
                      <a:pt x="449179" y="230981"/>
                    </a:cubicBezTo>
                    <a:cubicBezTo>
                      <a:pt x="453886" y="229412"/>
                      <a:pt x="460108" y="228034"/>
                      <a:pt x="463466" y="223837"/>
                    </a:cubicBezTo>
                    <a:cubicBezTo>
                      <a:pt x="465034" y="221877"/>
                      <a:pt x="465053" y="219075"/>
                      <a:pt x="465847" y="216694"/>
                    </a:cubicBezTo>
                    <a:cubicBezTo>
                      <a:pt x="465708" y="214336"/>
                      <a:pt x="467297" y="181492"/>
                      <a:pt x="461085" y="169069"/>
                    </a:cubicBezTo>
                    <a:cubicBezTo>
                      <a:pt x="456836" y="160572"/>
                      <a:pt x="448343" y="153945"/>
                      <a:pt x="442035" y="147637"/>
                    </a:cubicBezTo>
                    <a:lnTo>
                      <a:pt x="434891" y="140494"/>
                    </a:lnTo>
                    <a:cubicBezTo>
                      <a:pt x="429696" y="124907"/>
                      <a:pt x="436912" y="140206"/>
                      <a:pt x="425366" y="130969"/>
                    </a:cubicBezTo>
                    <a:cubicBezTo>
                      <a:pt x="423131" y="129181"/>
                      <a:pt x="422758" y="125710"/>
                      <a:pt x="420604" y="123825"/>
                    </a:cubicBezTo>
                    <a:cubicBezTo>
                      <a:pt x="416296" y="120056"/>
                      <a:pt x="410363" y="118347"/>
                      <a:pt x="406316" y="114300"/>
                    </a:cubicBezTo>
                    <a:cubicBezTo>
                      <a:pt x="403935" y="111919"/>
                      <a:pt x="402096" y="108827"/>
                      <a:pt x="399172" y="107156"/>
                    </a:cubicBezTo>
                    <a:cubicBezTo>
                      <a:pt x="396330" y="105532"/>
                      <a:pt x="392822" y="105569"/>
                      <a:pt x="389647" y="104775"/>
                    </a:cubicBezTo>
                    <a:cubicBezTo>
                      <a:pt x="386472" y="102394"/>
                      <a:pt x="383568" y="99600"/>
                      <a:pt x="380122" y="97631"/>
                    </a:cubicBezTo>
                    <a:cubicBezTo>
                      <a:pt x="366149" y="89646"/>
                      <a:pt x="378259" y="105294"/>
                      <a:pt x="358691" y="85725"/>
                    </a:cubicBezTo>
                    <a:cubicBezTo>
                      <a:pt x="353929" y="80962"/>
                      <a:pt x="348141" y="77041"/>
                      <a:pt x="344404" y="71437"/>
                    </a:cubicBezTo>
                    <a:cubicBezTo>
                      <a:pt x="342816" y="69056"/>
                      <a:pt x="341473" y="66492"/>
                      <a:pt x="339641" y="64294"/>
                    </a:cubicBezTo>
                    <a:cubicBezTo>
                      <a:pt x="337485" y="61707"/>
                      <a:pt x="334653" y="59737"/>
                      <a:pt x="332497" y="57150"/>
                    </a:cubicBezTo>
                    <a:cubicBezTo>
                      <a:pt x="330665" y="54951"/>
                      <a:pt x="330162" y="51523"/>
                      <a:pt x="327735" y="50006"/>
                    </a:cubicBezTo>
                    <a:cubicBezTo>
                      <a:pt x="323478" y="47345"/>
                      <a:pt x="318210" y="46832"/>
                      <a:pt x="313447" y="45244"/>
                    </a:cubicBezTo>
                    <a:cubicBezTo>
                      <a:pt x="313439" y="45241"/>
                      <a:pt x="299169" y="40482"/>
                      <a:pt x="299160" y="40481"/>
                    </a:cubicBezTo>
                    <a:lnTo>
                      <a:pt x="280110" y="38100"/>
                    </a:lnTo>
                    <a:cubicBezTo>
                      <a:pt x="277729" y="37306"/>
                      <a:pt x="274425" y="37762"/>
                      <a:pt x="272966" y="35719"/>
                    </a:cubicBezTo>
                    <a:cubicBezTo>
                      <a:pt x="270048" y="31634"/>
                      <a:pt x="272381" y="24215"/>
                      <a:pt x="268204" y="21431"/>
                    </a:cubicBezTo>
                    <a:cubicBezTo>
                      <a:pt x="258971" y="15277"/>
                      <a:pt x="263775" y="17574"/>
                      <a:pt x="253916" y="14287"/>
                    </a:cubicBezTo>
                    <a:cubicBezTo>
                      <a:pt x="245979" y="15081"/>
                      <a:pt x="237988" y="15456"/>
                      <a:pt x="230104" y="16669"/>
                    </a:cubicBezTo>
                    <a:cubicBezTo>
                      <a:pt x="227623" y="17051"/>
                      <a:pt x="225374" y="18360"/>
                      <a:pt x="222960" y="19050"/>
                    </a:cubicBezTo>
                    <a:cubicBezTo>
                      <a:pt x="219813" y="19949"/>
                      <a:pt x="221769" y="23415"/>
                      <a:pt x="215816" y="2381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8" name="Freeform 207"/>
              <p:cNvSpPr/>
              <p:nvPr/>
            </p:nvSpPr>
            <p:spPr>
              <a:xfrm>
                <a:off x="6464811" y="5186005"/>
                <a:ext cx="822494" cy="208206"/>
              </a:xfrm>
              <a:custGeom>
                <a:avLst/>
                <a:gdLst>
                  <a:gd name="connsiteX0" fmla="*/ 412919 w 822494"/>
                  <a:gd name="connsiteY0" fmla="*/ 79618 h 208206"/>
                  <a:gd name="connsiteX1" fmla="*/ 401012 w 822494"/>
                  <a:gd name="connsiteY1" fmla="*/ 72475 h 208206"/>
                  <a:gd name="connsiteX2" fmla="*/ 386725 w 822494"/>
                  <a:gd name="connsiteY2" fmla="*/ 62950 h 208206"/>
                  <a:gd name="connsiteX3" fmla="*/ 379581 w 822494"/>
                  <a:gd name="connsiteY3" fmla="*/ 60568 h 208206"/>
                  <a:gd name="connsiteX4" fmla="*/ 358150 w 822494"/>
                  <a:gd name="connsiteY4" fmla="*/ 43900 h 208206"/>
                  <a:gd name="connsiteX5" fmla="*/ 343862 w 822494"/>
                  <a:gd name="connsiteY5" fmla="*/ 41518 h 208206"/>
                  <a:gd name="connsiteX6" fmla="*/ 334337 w 822494"/>
                  <a:gd name="connsiteY6" fmla="*/ 39137 h 208206"/>
                  <a:gd name="connsiteX7" fmla="*/ 320050 w 822494"/>
                  <a:gd name="connsiteY7" fmla="*/ 36756 h 208206"/>
                  <a:gd name="connsiteX8" fmla="*/ 312906 w 822494"/>
                  <a:gd name="connsiteY8" fmla="*/ 34375 h 208206"/>
                  <a:gd name="connsiteX9" fmla="*/ 296237 w 822494"/>
                  <a:gd name="connsiteY9" fmla="*/ 29612 h 208206"/>
                  <a:gd name="connsiteX10" fmla="*/ 289094 w 822494"/>
                  <a:gd name="connsiteY10" fmla="*/ 24850 h 208206"/>
                  <a:gd name="connsiteX11" fmla="*/ 265281 w 822494"/>
                  <a:gd name="connsiteY11" fmla="*/ 20087 h 208206"/>
                  <a:gd name="connsiteX12" fmla="*/ 253375 w 822494"/>
                  <a:gd name="connsiteY12" fmla="*/ 17706 h 208206"/>
                  <a:gd name="connsiteX13" fmla="*/ 239087 w 822494"/>
                  <a:gd name="connsiteY13" fmla="*/ 12943 h 208206"/>
                  <a:gd name="connsiteX14" fmla="*/ 186700 w 822494"/>
                  <a:gd name="connsiteY14" fmla="*/ 8181 h 208206"/>
                  <a:gd name="connsiteX15" fmla="*/ 174794 w 822494"/>
                  <a:gd name="connsiteY15" fmla="*/ 5800 h 208206"/>
                  <a:gd name="connsiteX16" fmla="*/ 165269 w 822494"/>
                  <a:gd name="connsiteY16" fmla="*/ 3418 h 208206"/>
                  <a:gd name="connsiteX17" fmla="*/ 131931 w 822494"/>
                  <a:gd name="connsiteY17" fmla="*/ 5800 h 208206"/>
                  <a:gd name="connsiteX18" fmla="*/ 122406 w 822494"/>
                  <a:gd name="connsiteY18" fmla="*/ 8181 h 208206"/>
                  <a:gd name="connsiteX19" fmla="*/ 105737 w 822494"/>
                  <a:gd name="connsiteY19" fmla="*/ 20087 h 208206"/>
                  <a:gd name="connsiteX20" fmla="*/ 98594 w 822494"/>
                  <a:gd name="connsiteY20" fmla="*/ 22468 h 208206"/>
                  <a:gd name="connsiteX21" fmla="*/ 86687 w 822494"/>
                  <a:gd name="connsiteY21" fmla="*/ 31993 h 208206"/>
                  <a:gd name="connsiteX22" fmla="*/ 79544 w 822494"/>
                  <a:gd name="connsiteY22" fmla="*/ 36756 h 208206"/>
                  <a:gd name="connsiteX23" fmla="*/ 70019 w 822494"/>
                  <a:gd name="connsiteY23" fmla="*/ 41518 h 208206"/>
                  <a:gd name="connsiteX24" fmla="*/ 62875 w 822494"/>
                  <a:gd name="connsiteY24" fmla="*/ 46281 h 208206"/>
                  <a:gd name="connsiteX25" fmla="*/ 43825 w 822494"/>
                  <a:gd name="connsiteY25" fmla="*/ 48662 h 208206"/>
                  <a:gd name="connsiteX26" fmla="*/ 29537 w 822494"/>
                  <a:gd name="connsiteY26" fmla="*/ 51043 h 208206"/>
                  <a:gd name="connsiteX27" fmla="*/ 22394 w 822494"/>
                  <a:gd name="connsiteY27" fmla="*/ 53425 h 208206"/>
                  <a:gd name="connsiteX28" fmla="*/ 8106 w 822494"/>
                  <a:gd name="connsiteY28" fmla="*/ 62950 h 208206"/>
                  <a:gd name="connsiteX29" fmla="*/ 3344 w 822494"/>
                  <a:gd name="connsiteY29" fmla="*/ 70093 h 208206"/>
                  <a:gd name="connsiteX30" fmla="*/ 10487 w 822494"/>
                  <a:gd name="connsiteY30" fmla="*/ 148675 h 208206"/>
                  <a:gd name="connsiteX31" fmla="*/ 17631 w 822494"/>
                  <a:gd name="connsiteY31" fmla="*/ 155818 h 208206"/>
                  <a:gd name="connsiteX32" fmla="*/ 24775 w 822494"/>
                  <a:gd name="connsiteY32" fmla="*/ 158200 h 208206"/>
                  <a:gd name="connsiteX33" fmla="*/ 31919 w 822494"/>
                  <a:gd name="connsiteY33" fmla="*/ 162962 h 208206"/>
                  <a:gd name="connsiteX34" fmla="*/ 84306 w 822494"/>
                  <a:gd name="connsiteY34" fmla="*/ 160581 h 208206"/>
                  <a:gd name="connsiteX35" fmla="*/ 91450 w 822494"/>
                  <a:gd name="connsiteY35" fmla="*/ 158200 h 208206"/>
                  <a:gd name="connsiteX36" fmla="*/ 100975 w 822494"/>
                  <a:gd name="connsiteY36" fmla="*/ 155818 h 208206"/>
                  <a:gd name="connsiteX37" fmla="*/ 108119 w 822494"/>
                  <a:gd name="connsiteY37" fmla="*/ 151056 h 208206"/>
                  <a:gd name="connsiteX38" fmla="*/ 122406 w 822494"/>
                  <a:gd name="connsiteY38" fmla="*/ 146293 h 208206"/>
                  <a:gd name="connsiteX39" fmla="*/ 143837 w 822494"/>
                  <a:gd name="connsiteY39" fmla="*/ 151056 h 208206"/>
                  <a:gd name="connsiteX40" fmla="*/ 162887 w 822494"/>
                  <a:gd name="connsiteY40" fmla="*/ 167725 h 208206"/>
                  <a:gd name="connsiteX41" fmla="*/ 181937 w 822494"/>
                  <a:gd name="connsiteY41" fmla="*/ 170106 h 208206"/>
                  <a:gd name="connsiteX42" fmla="*/ 236706 w 822494"/>
                  <a:gd name="connsiteY42" fmla="*/ 170106 h 208206"/>
                  <a:gd name="connsiteX43" fmla="*/ 243850 w 822494"/>
                  <a:gd name="connsiteY43" fmla="*/ 172487 h 208206"/>
                  <a:gd name="connsiteX44" fmla="*/ 255756 w 822494"/>
                  <a:gd name="connsiteY44" fmla="*/ 182012 h 208206"/>
                  <a:gd name="connsiteX45" fmla="*/ 262900 w 822494"/>
                  <a:gd name="connsiteY45" fmla="*/ 179631 h 208206"/>
                  <a:gd name="connsiteX46" fmla="*/ 274806 w 822494"/>
                  <a:gd name="connsiteY46" fmla="*/ 167725 h 208206"/>
                  <a:gd name="connsiteX47" fmla="*/ 284331 w 822494"/>
                  <a:gd name="connsiteY47" fmla="*/ 170106 h 208206"/>
                  <a:gd name="connsiteX48" fmla="*/ 291475 w 822494"/>
                  <a:gd name="connsiteY48" fmla="*/ 174868 h 208206"/>
                  <a:gd name="connsiteX49" fmla="*/ 303381 w 822494"/>
                  <a:gd name="connsiteY49" fmla="*/ 186775 h 208206"/>
                  <a:gd name="connsiteX50" fmla="*/ 308144 w 822494"/>
                  <a:gd name="connsiteY50" fmla="*/ 201062 h 208206"/>
                  <a:gd name="connsiteX51" fmla="*/ 341481 w 822494"/>
                  <a:gd name="connsiteY51" fmla="*/ 208206 h 208206"/>
                  <a:gd name="connsiteX52" fmla="*/ 353387 w 822494"/>
                  <a:gd name="connsiteY52" fmla="*/ 198681 h 208206"/>
                  <a:gd name="connsiteX53" fmla="*/ 367675 w 822494"/>
                  <a:gd name="connsiteY53" fmla="*/ 193918 h 208206"/>
                  <a:gd name="connsiteX54" fmla="*/ 405775 w 822494"/>
                  <a:gd name="connsiteY54" fmla="*/ 189156 h 208206"/>
                  <a:gd name="connsiteX55" fmla="*/ 417681 w 822494"/>
                  <a:gd name="connsiteY55" fmla="*/ 186775 h 208206"/>
                  <a:gd name="connsiteX56" fmla="*/ 424825 w 822494"/>
                  <a:gd name="connsiteY56" fmla="*/ 179631 h 208206"/>
                  <a:gd name="connsiteX57" fmla="*/ 431969 w 822494"/>
                  <a:gd name="connsiteY57" fmla="*/ 174868 h 208206"/>
                  <a:gd name="connsiteX58" fmla="*/ 441494 w 822494"/>
                  <a:gd name="connsiteY58" fmla="*/ 172487 h 208206"/>
                  <a:gd name="connsiteX59" fmla="*/ 448637 w 822494"/>
                  <a:gd name="connsiteY59" fmla="*/ 170106 h 208206"/>
                  <a:gd name="connsiteX60" fmla="*/ 489119 w 822494"/>
                  <a:gd name="connsiteY60" fmla="*/ 172487 h 208206"/>
                  <a:gd name="connsiteX61" fmla="*/ 496262 w 822494"/>
                  <a:gd name="connsiteY61" fmla="*/ 174868 h 208206"/>
                  <a:gd name="connsiteX62" fmla="*/ 510550 w 822494"/>
                  <a:gd name="connsiteY62" fmla="*/ 177250 h 208206"/>
                  <a:gd name="connsiteX63" fmla="*/ 543887 w 822494"/>
                  <a:gd name="connsiteY63" fmla="*/ 174868 h 208206"/>
                  <a:gd name="connsiteX64" fmla="*/ 551031 w 822494"/>
                  <a:gd name="connsiteY64" fmla="*/ 170106 h 208206"/>
                  <a:gd name="connsiteX65" fmla="*/ 558175 w 822494"/>
                  <a:gd name="connsiteY65" fmla="*/ 167725 h 208206"/>
                  <a:gd name="connsiteX66" fmla="*/ 574844 w 822494"/>
                  <a:gd name="connsiteY66" fmla="*/ 148675 h 208206"/>
                  <a:gd name="connsiteX67" fmla="*/ 581987 w 822494"/>
                  <a:gd name="connsiteY67" fmla="*/ 146293 h 208206"/>
                  <a:gd name="connsiteX68" fmla="*/ 689144 w 822494"/>
                  <a:gd name="connsiteY68" fmla="*/ 146293 h 208206"/>
                  <a:gd name="connsiteX69" fmla="*/ 696287 w 822494"/>
                  <a:gd name="connsiteY69" fmla="*/ 143912 h 208206"/>
                  <a:gd name="connsiteX70" fmla="*/ 710575 w 822494"/>
                  <a:gd name="connsiteY70" fmla="*/ 132006 h 208206"/>
                  <a:gd name="connsiteX71" fmla="*/ 717719 w 822494"/>
                  <a:gd name="connsiteY71" fmla="*/ 127243 h 208206"/>
                  <a:gd name="connsiteX72" fmla="*/ 724862 w 822494"/>
                  <a:gd name="connsiteY72" fmla="*/ 120100 h 208206"/>
                  <a:gd name="connsiteX73" fmla="*/ 732006 w 822494"/>
                  <a:gd name="connsiteY73" fmla="*/ 117718 h 208206"/>
                  <a:gd name="connsiteX74" fmla="*/ 739150 w 822494"/>
                  <a:gd name="connsiteY74" fmla="*/ 110575 h 208206"/>
                  <a:gd name="connsiteX75" fmla="*/ 746294 w 822494"/>
                  <a:gd name="connsiteY75" fmla="*/ 108193 h 208206"/>
                  <a:gd name="connsiteX76" fmla="*/ 777250 w 822494"/>
                  <a:gd name="connsiteY76" fmla="*/ 103431 h 208206"/>
                  <a:gd name="connsiteX77" fmla="*/ 784394 w 822494"/>
                  <a:gd name="connsiteY77" fmla="*/ 101050 h 208206"/>
                  <a:gd name="connsiteX78" fmla="*/ 789156 w 822494"/>
                  <a:gd name="connsiteY78" fmla="*/ 93906 h 208206"/>
                  <a:gd name="connsiteX79" fmla="*/ 796300 w 822494"/>
                  <a:gd name="connsiteY79" fmla="*/ 86762 h 208206"/>
                  <a:gd name="connsiteX80" fmla="*/ 798681 w 822494"/>
                  <a:gd name="connsiteY80" fmla="*/ 77237 h 208206"/>
                  <a:gd name="connsiteX81" fmla="*/ 805825 w 822494"/>
                  <a:gd name="connsiteY81" fmla="*/ 41518 h 208206"/>
                  <a:gd name="connsiteX82" fmla="*/ 817731 w 822494"/>
                  <a:gd name="connsiteY82" fmla="*/ 27231 h 208206"/>
                  <a:gd name="connsiteX83" fmla="*/ 822494 w 822494"/>
                  <a:gd name="connsiteY83" fmla="*/ 12943 h 208206"/>
                  <a:gd name="connsiteX84" fmla="*/ 820112 w 822494"/>
                  <a:gd name="connsiteY84" fmla="*/ 5800 h 208206"/>
                  <a:gd name="connsiteX85" fmla="*/ 782012 w 822494"/>
                  <a:gd name="connsiteY85" fmla="*/ 3418 h 208206"/>
                  <a:gd name="connsiteX86" fmla="*/ 767725 w 822494"/>
                  <a:gd name="connsiteY86" fmla="*/ 12943 h 208206"/>
                  <a:gd name="connsiteX87" fmla="*/ 746294 w 822494"/>
                  <a:gd name="connsiteY87" fmla="*/ 29612 h 208206"/>
                  <a:gd name="connsiteX88" fmla="*/ 739150 w 822494"/>
                  <a:gd name="connsiteY88" fmla="*/ 34375 h 208206"/>
                  <a:gd name="connsiteX89" fmla="*/ 729625 w 822494"/>
                  <a:gd name="connsiteY89" fmla="*/ 36756 h 208206"/>
                  <a:gd name="connsiteX90" fmla="*/ 717719 w 822494"/>
                  <a:gd name="connsiteY90" fmla="*/ 39137 h 208206"/>
                  <a:gd name="connsiteX91" fmla="*/ 698669 w 822494"/>
                  <a:gd name="connsiteY91" fmla="*/ 43900 h 208206"/>
                  <a:gd name="connsiteX92" fmla="*/ 686762 w 822494"/>
                  <a:gd name="connsiteY92" fmla="*/ 53425 h 208206"/>
                  <a:gd name="connsiteX93" fmla="*/ 677237 w 822494"/>
                  <a:gd name="connsiteY93" fmla="*/ 58187 h 208206"/>
                  <a:gd name="connsiteX94" fmla="*/ 662950 w 822494"/>
                  <a:gd name="connsiteY94" fmla="*/ 77237 h 208206"/>
                  <a:gd name="connsiteX95" fmla="*/ 655806 w 822494"/>
                  <a:gd name="connsiteY95" fmla="*/ 84381 h 208206"/>
                  <a:gd name="connsiteX96" fmla="*/ 617706 w 822494"/>
                  <a:gd name="connsiteY96" fmla="*/ 82000 h 208206"/>
                  <a:gd name="connsiteX97" fmla="*/ 610562 w 822494"/>
                  <a:gd name="connsiteY97" fmla="*/ 74856 h 208206"/>
                  <a:gd name="connsiteX98" fmla="*/ 603419 w 822494"/>
                  <a:gd name="connsiteY98" fmla="*/ 70093 h 208206"/>
                  <a:gd name="connsiteX99" fmla="*/ 596275 w 822494"/>
                  <a:gd name="connsiteY99" fmla="*/ 62950 h 208206"/>
                  <a:gd name="connsiteX100" fmla="*/ 581987 w 822494"/>
                  <a:gd name="connsiteY100" fmla="*/ 60568 h 208206"/>
                  <a:gd name="connsiteX101" fmla="*/ 479594 w 822494"/>
                  <a:gd name="connsiteY101" fmla="*/ 62950 h 208206"/>
                  <a:gd name="connsiteX102" fmla="*/ 472450 w 822494"/>
                  <a:gd name="connsiteY102" fmla="*/ 65331 h 208206"/>
                  <a:gd name="connsiteX103" fmla="*/ 465306 w 822494"/>
                  <a:gd name="connsiteY103" fmla="*/ 70093 h 208206"/>
                  <a:gd name="connsiteX104" fmla="*/ 460544 w 822494"/>
                  <a:gd name="connsiteY104" fmla="*/ 77237 h 208206"/>
                  <a:gd name="connsiteX105" fmla="*/ 420062 w 822494"/>
                  <a:gd name="connsiteY105" fmla="*/ 79618 h 208206"/>
                  <a:gd name="connsiteX106" fmla="*/ 412919 w 822494"/>
                  <a:gd name="connsiteY106" fmla="*/ 79618 h 20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22494" h="208206">
                    <a:moveTo>
                      <a:pt x="412919" y="79618"/>
                    </a:moveTo>
                    <a:cubicBezTo>
                      <a:pt x="409744" y="78428"/>
                      <a:pt x="404917" y="74960"/>
                      <a:pt x="401012" y="72475"/>
                    </a:cubicBezTo>
                    <a:cubicBezTo>
                      <a:pt x="396183" y="69402"/>
                      <a:pt x="392155" y="64760"/>
                      <a:pt x="386725" y="62950"/>
                    </a:cubicBezTo>
                    <a:lnTo>
                      <a:pt x="379581" y="60568"/>
                    </a:lnTo>
                    <a:cubicBezTo>
                      <a:pt x="374423" y="55411"/>
                      <a:pt x="364984" y="45039"/>
                      <a:pt x="358150" y="43900"/>
                    </a:cubicBezTo>
                    <a:cubicBezTo>
                      <a:pt x="353387" y="43106"/>
                      <a:pt x="348597" y="42465"/>
                      <a:pt x="343862" y="41518"/>
                    </a:cubicBezTo>
                    <a:cubicBezTo>
                      <a:pt x="340653" y="40876"/>
                      <a:pt x="337546" y="39779"/>
                      <a:pt x="334337" y="39137"/>
                    </a:cubicBezTo>
                    <a:cubicBezTo>
                      <a:pt x="329603" y="38190"/>
                      <a:pt x="324763" y="37803"/>
                      <a:pt x="320050" y="36756"/>
                    </a:cubicBezTo>
                    <a:cubicBezTo>
                      <a:pt x="317600" y="36212"/>
                      <a:pt x="315320" y="35065"/>
                      <a:pt x="312906" y="34375"/>
                    </a:cubicBezTo>
                    <a:cubicBezTo>
                      <a:pt x="291975" y="28394"/>
                      <a:pt x="313366" y="35321"/>
                      <a:pt x="296237" y="29612"/>
                    </a:cubicBezTo>
                    <a:cubicBezTo>
                      <a:pt x="293856" y="28025"/>
                      <a:pt x="291653" y="26130"/>
                      <a:pt x="289094" y="24850"/>
                    </a:cubicBezTo>
                    <a:cubicBezTo>
                      <a:pt x="282245" y="21425"/>
                      <a:pt x="271870" y="21185"/>
                      <a:pt x="265281" y="20087"/>
                    </a:cubicBezTo>
                    <a:cubicBezTo>
                      <a:pt x="261289" y="19422"/>
                      <a:pt x="257280" y="18771"/>
                      <a:pt x="253375" y="17706"/>
                    </a:cubicBezTo>
                    <a:cubicBezTo>
                      <a:pt x="248532" y="16385"/>
                      <a:pt x="243850" y="14531"/>
                      <a:pt x="239087" y="12943"/>
                    </a:cubicBezTo>
                    <a:cubicBezTo>
                      <a:pt x="217618" y="5786"/>
                      <a:pt x="234443" y="10694"/>
                      <a:pt x="186700" y="8181"/>
                    </a:cubicBezTo>
                    <a:cubicBezTo>
                      <a:pt x="182731" y="7387"/>
                      <a:pt x="178745" y="6678"/>
                      <a:pt x="174794" y="5800"/>
                    </a:cubicBezTo>
                    <a:cubicBezTo>
                      <a:pt x="171599" y="5090"/>
                      <a:pt x="168542" y="3418"/>
                      <a:pt x="165269" y="3418"/>
                    </a:cubicBezTo>
                    <a:cubicBezTo>
                      <a:pt x="154128" y="3418"/>
                      <a:pt x="143044" y="5006"/>
                      <a:pt x="131931" y="5800"/>
                    </a:cubicBezTo>
                    <a:cubicBezTo>
                      <a:pt x="128756" y="6594"/>
                      <a:pt x="125414" y="6892"/>
                      <a:pt x="122406" y="8181"/>
                    </a:cubicBezTo>
                    <a:cubicBezTo>
                      <a:pt x="118714" y="9763"/>
                      <a:pt x="108184" y="18689"/>
                      <a:pt x="105737" y="20087"/>
                    </a:cubicBezTo>
                    <a:cubicBezTo>
                      <a:pt x="103558" y="21332"/>
                      <a:pt x="100975" y="21674"/>
                      <a:pt x="98594" y="22468"/>
                    </a:cubicBezTo>
                    <a:cubicBezTo>
                      <a:pt x="90564" y="34512"/>
                      <a:pt x="98190" y="26241"/>
                      <a:pt x="86687" y="31993"/>
                    </a:cubicBezTo>
                    <a:cubicBezTo>
                      <a:pt x="84127" y="33273"/>
                      <a:pt x="82029" y="35336"/>
                      <a:pt x="79544" y="36756"/>
                    </a:cubicBezTo>
                    <a:cubicBezTo>
                      <a:pt x="76462" y="38517"/>
                      <a:pt x="73101" y="39757"/>
                      <a:pt x="70019" y="41518"/>
                    </a:cubicBezTo>
                    <a:cubicBezTo>
                      <a:pt x="67534" y="42938"/>
                      <a:pt x="65636" y="45528"/>
                      <a:pt x="62875" y="46281"/>
                    </a:cubicBezTo>
                    <a:cubicBezTo>
                      <a:pt x="56701" y="47965"/>
                      <a:pt x="50160" y="47757"/>
                      <a:pt x="43825" y="48662"/>
                    </a:cubicBezTo>
                    <a:cubicBezTo>
                      <a:pt x="39045" y="49345"/>
                      <a:pt x="34300" y="50249"/>
                      <a:pt x="29537" y="51043"/>
                    </a:cubicBezTo>
                    <a:cubicBezTo>
                      <a:pt x="27156" y="51837"/>
                      <a:pt x="24588" y="52206"/>
                      <a:pt x="22394" y="53425"/>
                    </a:cubicBezTo>
                    <a:cubicBezTo>
                      <a:pt x="17390" y="56205"/>
                      <a:pt x="8106" y="62950"/>
                      <a:pt x="8106" y="62950"/>
                    </a:cubicBezTo>
                    <a:cubicBezTo>
                      <a:pt x="6519" y="65331"/>
                      <a:pt x="3431" y="67233"/>
                      <a:pt x="3344" y="70093"/>
                    </a:cubicBezTo>
                    <a:cubicBezTo>
                      <a:pt x="2572" y="95561"/>
                      <a:pt x="-7100" y="127571"/>
                      <a:pt x="10487" y="148675"/>
                    </a:cubicBezTo>
                    <a:cubicBezTo>
                      <a:pt x="12643" y="151262"/>
                      <a:pt x="14829" y="153950"/>
                      <a:pt x="17631" y="155818"/>
                    </a:cubicBezTo>
                    <a:cubicBezTo>
                      <a:pt x="19720" y="157210"/>
                      <a:pt x="22530" y="157077"/>
                      <a:pt x="24775" y="158200"/>
                    </a:cubicBezTo>
                    <a:cubicBezTo>
                      <a:pt x="27335" y="159480"/>
                      <a:pt x="29538" y="161375"/>
                      <a:pt x="31919" y="162962"/>
                    </a:cubicBezTo>
                    <a:cubicBezTo>
                      <a:pt x="49381" y="162168"/>
                      <a:pt x="66881" y="161975"/>
                      <a:pt x="84306" y="160581"/>
                    </a:cubicBezTo>
                    <a:cubicBezTo>
                      <a:pt x="86808" y="160381"/>
                      <a:pt x="89036" y="158890"/>
                      <a:pt x="91450" y="158200"/>
                    </a:cubicBezTo>
                    <a:cubicBezTo>
                      <a:pt x="94597" y="157301"/>
                      <a:pt x="97800" y="156612"/>
                      <a:pt x="100975" y="155818"/>
                    </a:cubicBezTo>
                    <a:cubicBezTo>
                      <a:pt x="103356" y="154231"/>
                      <a:pt x="105504" y="152218"/>
                      <a:pt x="108119" y="151056"/>
                    </a:cubicBezTo>
                    <a:cubicBezTo>
                      <a:pt x="112706" y="149017"/>
                      <a:pt x="122406" y="146293"/>
                      <a:pt x="122406" y="146293"/>
                    </a:cubicBezTo>
                    <a:cubicBezTo>
                      <a:pt x="122549" y="146317"/>
                      <a:pt x="140753" y="148588"/>
                      <a:pt x="143837" y="151056"/>
                    </a:cubicBezTo>
                    <a:cubicBezTo>
                      <a:pt x="153317" y="158640"/>
                      <a:pt x="143136" y="165256"/>
                      <a:pt x="162887" y="167725"/>
                    </a:cubicBezTo>
                    <a:lnTo>
                      <a:pt x="181937" y="170106"/>
                    </a:lnTo>
                    <a:cubicBezTo>
                      <a:pt x="210018" y="167553"/>
                      <a:pt x="207713" y="166241"/>
                      <a:pt x="236706" y="170106"/>
                    </a:cubicBezTo>
                    <a:cubicBezTo>
                      <a:pt x="239194" y="170438"/>
                      <a:pt x="241469" y="171693"/>
                      <a:pt x="243850" y="172487"/>
                    </a:cubicBezTo>
                    <a:cubicBezTo>
                      <a:pt x="247507" y="177973"/>
                      <a:pt x="248087" y="182012"/>
                      <a:pt x="255756" y="182012"/>
                    </a:cubicBezTo>
                    <a:cubicBezTo>
                      <a:pt x="258266" y="182012"/>
                      <a:pt x="260519" y="180425"/>
                      <a:pt x="262900" y="179631"/>
                    </a:cubicBezTo>
                    <a:cubicBezTo>
                      <a:pt x="265574" y="175619"/>
                      <a:pt x="268956" y="168561"/>
                      <a:pt x="274806" y="167725"/>
                    </a:cubicBezTo>
                    <a:cubicBezTo>
                      <a:pt x="278046" y="167262"/>
                      <a:pt x="281156" y="169312"/>
                      <a:pt x="284331" y="170106"/>
                    </a:cubicBezTo>
                    <a:cubicBezTo>
                      <a:pt x="286712" y="171693"/>
                      <a:pt x="289451" y="172844"/>
                      <a:pt x="291475" y="174868"/>
                    </a:cubicBezTo>
                    <a:cubicBezTo>
                      <a:pt x="307354" y="190747"/>
                      <a:pt x="284326" y="174071"/>
                      <a:pt x="303381" y="186775"/>
                    </a:cubicBezTo>
                    <a:cubicBezTo>
                      <a:pt x="304969" y="191537"/>
                      <a:pt x="303382" y="199474"/>
                      <a:pt x="308144" y="201062"/>
                    </a:cubicBezTo>
                    <a:cubicBezTo>
                      <a:pt x="328502" y="207849"/>
                      <a:pt x="317450" y="205202"/>
                      <a:pt x="341481" y="208206"/>
                    </a:cubicBezTo>
                    <a:cubicBezTo>
                      <a:pt x="367532" y="199524"/>
                      <a:pt x="328772" y="214066"/>
                      <a:pt x="353387" y="198681"/>
                    </a:cubicBezTo>
                    <a:cubicBezTo>
                      <a:pt x="357644" y="196020"/>
                      <a:pt x="362912" y="195506"/>
                      <a:pt x="367675" y="193918"/>
                    </a:cubicBezTo>
                    <a:cubicBezTo>
                      <a:pt x="384634" y="188265"/>
                      <a:pt x="372329" y="191729"/>
                      <a:pt x="405775" y="189156"/>
                    </a:cubicBezTo>
                    <a:cubicBezTo>
                      <a:pt x="409744" y="188362"/>
                      <a:pt x="414061" y="188585"/>
                      <a:pt x="417681" y="186775"/>
                    </a:cubicBezTo>
                    <a:cubicBezTo>
                      <a:pt x="420693" y="185269"/>
                      <a:pt x="422238" y="181787"/>
                      <a:pt x="424825" y="179631"/>
                    </a:cubicBezTo>
                    <a:cubicBezTo>
                      <a:pt x="427024" y="177799"/>
                      <a:pt x="429338" y="175995"/>
                      <a:pt x="431969" y="174868"/>
                    </a:cubicBezTo>
                    <a:cubicBezTo>
                      <a:pt x="434977" y="173579"/>
                      <a:pt x="438347" y="173386"/>
                      <a:pt x="441494" y="172487"/>
                    </a:cubicBezTo>
                    <a:cubicBezTo>
                      <a:pt x="443907" y="171798"/>
                      <a:pt x="446256" y="170900"/>
                      <a:pt x="448637" y="170106"/>
                    </a:cubicBezTo>
                    <a:cubicBezTo>
                      <a:pt x="462131" y="170900"/>
                      <a:pt x="475669" y="171142"/>
                      <a:pt x="489119" y="172487"/>
                    </a:cubicBezTo>
                    <a:cubicBezTo>
                      <a:pt x="491616" y="172737"/>
                      <a:pt x="493812" y="174323"/>
                      <a:pt x="496262" y="174868"/>
                    </a:cubicBezTo>
                    <a:cubicBezTo>
                      <a:pt x="500975" y="175916"/>
                      <a:pt x="505787" y="176456"/>
                      <a:pt x="510550" y="177250"/>
                    </a:cubicBezTo>
                    <a:cubicBezTo>
                      <a:pt x="521662" y="176456"/>
                      <a:pt x="532916" y="176804"/>
                      <a:pt x="543887" y="174868"/>
                    </a:cubicBezTo>
                    <a:cubicBezTo>
                      <a:pt x="546705" y="174371"/>
                      <a:pt x="548471" y="171386"/>
                      <a:pt x="551031" y="170106"/>
                    </a:cubicBezTo>
                    <a:cubicBezTo>
                      <a:pt x="553276" y="168984"/>
                      <a:pt x="555794" y="168519"/>
                      <a:pt x="558175" y="167725"/>
                    </a:cubicBezTo>
                    <a:cubicBezTo>
                      <a:pt x="565322" y="157005"/>
                      <a:pt x="564920" y="153637"/>
                      <a:pt x="574844" y="148675"/>
                    </a:cubicBezTo>
                    <a:cubicBezTo>
                      <a:pt x="577089" y="147552"/>
                      <a:pt x="579606" y="147087"/>
                      <a:pt x="581987" y="146293"/>
                    </a:cubicBezTo>
                    <a:cubicBezTo>
                      <a:pt x="633277" y="148431"/>
                      <a:pt x="639815" y="150404"/>
                      <a:pt x="689144" y="146293"/>
                    </a:cubicBezTo>
                    <a:cubicBezTo>
                      <a:pt x="691645" y="146085"/>
                      <a:pt x="694042" y="145034"/>
                      <a:pt x="696287" y="143912"/>
                    </a:cubicBezTo>
                    <a:cubicBezTo>
                      <a:pt x="705157" y="139477"/>
                      <a:pt x="702674" y="138590"/>
                      <a:pt x="710575" y="132006"/>
                    </a:cubicBezTo>
                    <a:cubicBezTo>
                      <a:pt x="712774" y="130174"/>
                      <a:pt x="715520" y="129075"/>
                      <a:pt x="717719" y="127243"/>
                    </a:cubicBezTo>
                    <a:cubicBezTo>
                      <a:pt x="720306" y="125087"/>
                      <a:pt x="722060" y="121968"/>
                      <a:pt x="724862" y="120100"/>
                    </a:cubicBezTo>
                    <a:cubicBezTo>
                      <a:pt x="726951" y="118708"/>
                      <a:pt x="729625" y="118512"/>
                      <a:pt x="732006" y="117718"/>
                    </a:cubicBezTo>
                    <a:cubicBezTo>
                      <a:pt x="734387" y="115337"/>
                      <a:pt x="736348" y="112443"/>
                      <a:pt x="739150" y="110575"/>
                    </a:cubicBezTo>
                    <a:cubicBezTo>
                      <a:pt x="741239" y="109183"/>
                      <a:pt x="743844" y="108738"/>
                      <a:pt x="746294" y="108193"/>
                    </a:cubicBezTo>
                    <a:cubicBezTo>
                      <a:pt x="752239" y="106872"/>
                      <a:pt x="771935" y="104190"/>
                      <a:pt x="777250" y="103431"/>
                    </a:cubicBezTo>
                    <a:cubicBezTo>
                      <a:pt x="779631" y="102637"/>
                      <a:pt x="782434" y="102618"/>
                      <a:pt x="784394" y="101050"/>
                    </a:cubicBezTo>
                    <a:cubicBezTo>
                      <a:pt x="786629" y="99262"/>
                      <a:pt x="787324" y="96105"/>
                      <a:pt x="789156" y="93906"/>
                    </a:cubicBezTo>
                    <a:cubicBezTo>
                      <a:pt x="791312" y="91319"/>
                      <a:pt x="793919" y="89143"/>
                      <a:pt x="796300" y="86762"/>
                    </a:cubicBezTo>
                    <a:cubicBezTo>
                      <a:pt x="797094" y="83587"/>
                      <a:pt x="798275" y="80484"/>
                      <a:pt x="798681" y="77237"/>
                    </a:cubicBezTo>
                    <a:cubicBezTo>
                      <a:pt x="801357" y="55825"/>
                      <a:pt x="795743" y="53616"/>
                      <a:pt x="805825" y="41518"/>
                    </a:cubicBezTo>
                    <a:cubicBezTo>
                      <a:pt x="811169" y="35106"/>
                      <a:pt x="814351" y="34836"/>
                      <a:pt x="817731" y="27231"/>
                    </a:cubicBezTo>
                    <a:cubicBezTo>
                      <a:pt x="819770" y="22643"/>
                      <a:pt x="822494" y="12943"/>
                      <a:pt x="822494" y="12943"/>
                    </a:cubicBezTo>
                    <a:cubicBezTo>
                      <a:pt x="821700" y="10562"/>
                      <a:pt x="821680" y="7760"/>
                      <a:pt x="820112" y="5800"/>
                    </a:cubicBezTo>
                    <a:cubicBezTo>
                      <a:pt x="811282" y="-5237"/>
                      <a:pt x="790783" y="2743"/>
                      <a:pt x="782012" y="3418"/>
                    </a:cubicBezTo>
                    <a:cubicBezTo>
                      <a:pt x="777250" y="6593"/>
                      <a:pt x="771772" y="8896"/>
                      <a:pt x="767725" y="12943"/>
                    </a:cubicBezTo>
                    <a:cubicBezTo>
                      <a:pt x="756534" y="24134"/>
                      <a:pt x="763383" y="18218"/>
                      <a:pt x="746294" y="29612"/>
                    </a:cubicBezTo>
                    <a:cubicBezTo>
                      <a:pt x="743913" y="31200"/>
                      <a:pt x="741927" y="33681"/>
                      <a:pt x="739150" y="34375"/>
                    </a:cubicBezTo>
                    <a:cubicBezTo>
                      <a:pt x="735975" y="35169"/>
                      <a:pt x="732820" y="36046"/>
                      <a:pt x="729625" y="36756"/>
                    </a:cubicBezTo>
                    <a:cubicBezTo>
                      <a:pt x="725674" y="37634"/>
                      <a:pt x="721663" y="38227"/>
                      <a:pt x="717719" y="39137"/>
                    </a:cubicBezTo>
                    <a:cubicBezTo>
                      <a:pt x="711341" y="40609"/>
                      <a:pt x="698669" y="43900"/>
                      <a:pt x="698669" y="43900"/>
                    </a:cubicBezTo>
                    <a:cubicBezTo>
                      <a:pt x="694700" y="47075"/>
                      <a:pt x="690991" y="50606"/>
                      <a:pt x="686762" y="53425"/>
                    </a:cubicBezTo>
                    <a:cubicBezTo>
                      <a:pt x="683808" y="55394"/>
                      <a:pt x="679747" y="55677"/>
                      <a:pt x="677237" y="58187"/>
                    </a:cubicBezTo>
                    <a:cubicBezTo>
                      <a:pt x="671624" y="63800"/>
                      <a:pt x="668563" y="71624"/>
                      <a:pt x="662950" y="77237"/>
                    </a:cubicBezTo>
                    <a:lnTo>
                      <a:pt x="655806" y="84381"/>
                    </a:lnTo>
                    <a:cubicBezTo>
                      <a:pt x="643106" y="83587"/>
                      <a:pt x="630158" y="84621"/>
                      <a:pt x="617706" y="82000"/>
                    </a:cubicBezTo>
                    <a:cubicBezTo>
                      <a:pt x="614411" y="81306"/>
                      <a:pt x="613149" y="77012"/>
                      <a:pt x="610562" y="74856"/>
                    </a:cubicBezTo>
                    <a:cubicBezTo>
                      <a:pt x="608364" y="73024"/>
                      <a:pt x="605617" y="71925"/>
                      <a:pt x="603419" y="70093"/>
                    </a:cubicBezTo>
                    <a:cubicBezTo>
                      <a:pt x="600832" y="67937"/>
                      <a:pt x="599352" y="64318"/>
                      <a:pt x="596275" y="62950"/>
                    </a:cubicBezTo>
                    <a:cubicBezTo>
                      <a:pt x="591863" y="60989"/>
                      <a:pt x="586750" y="61362"/>
                      <a:pt x="581987" y="60568"/>
                    </a:cubicBezTo>
                    <a:cubicBezTo>
                      <a:pt x="547856" y="61362"/>
                      <a:pt x="513702" y="61467"/>
                      <a:pt x="479594" y="62950"/>
                    </a:cubicBezTo>
                    <a:cubicBezTo>
                      <a:pt x="477086" y="63059"/>
                      <a:pt x="474695" y="64209"/>
                      <a:pt x="472450" y="65331"/>
                    </a:cubicBezTo>
                    <a:cubicBezTo>
                      <a:pt x="469890" y="66611"/>
                      <a:pt x="467687" y="68506"/>
                      <a:pt x="465306" y="70093"/>
                    </a:cubicBezTo>
                    <a:cubicBezTo>
                      <a:pt x="463719" y="72474"/>
                      <a:pt x="462568" y="75213"/>
                      <a:pt x="460544" y="77237"/>
                    </a:cubicBezTo>
                    <a:cubicBezTo>
                      <a:pt x="449237" y="88545"/>
                      <a:pt x="436377" y="80784"/>
                      <a:pt x="420062" y="79618"/>
                    </a:cubicBezTo>
                    <a:cubicBezTo>
                      <a:pt x="404298" y="69108"/>
                      <a:pt x="416094" y="80808"/>
                      <a:pt x="412919" y="7961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09" name="Freeform 208"/>
              <p:cNvSpPr/>
              <p:nvPr/>
            </p:nvSpPr>
            <p:spPr>
              <a:xfrm>
                <a:off x="7296146" y="5184573"/>
                <a:ext cx="72121" cy="54857"/>
              </a:xfrm>
              <a:custGeom>
                <a:avLst/>
                <a:gdLst>
                  <a:gd name="connsiteX0" fmla="*/ 50690 w 72121"/>
                  <a:gd name="connsiteY0" fmla="*/ 2469 h 54857"/>
                  <a:gd name="connsiteX1" fmla="*/ 38784 w 72121"/>
                  <a:gd name="connsiteY1" fmla="*/ 88 h 54857"/>
                  <a:gd name="connsiteX2" fmla="*/ 24496 w 72121"/>
                  <a:gd name="connsiteY2" fmla="*/ 4850 h 54857"/>
                  <a:gd name="connsiteX3" fmla="*/ 10209 w 72121"/>
                  <a:gd name="connsiteY3" fmla="*/ 11994 h 54857"/>
                  <a:gd name="connsiteX4" fmla="*/ 3065 w 72121"/>
                  <a:gd name="connsiteY4" fmla="*/ 16757 h 54857"/>
                  <a:gd name="connsiteX5" fmla="*/ 3065 w 72121"/>
                  <a:gd name="connsiteY5" fmla="*/ 42950 h 54857"/>
                  <a:gd name="connsiteX6" fmla="*/ 7827 w 72121"/>
                  <a:gd name="connsiteY6" fmla="*/ 50094 h 54857"/>
                  <a:gd name="connsiteX7" fmla="*/ 17352 w 72121"/>
                  <a:gd name="connsiteY7" fmla="*/ 52475 h 54857"/>
                  <a:gd name="connsiteX8" fmla="*/ 24496 w 72121"/>
                  <a:gd name="connsiteY8" fmla="*/ 54857 h 54857"/>
                  <a:gd name="connsiteX9" fmla="*/ 50690 w 72121"/>
                  <a:gd name="connsiteY9" fmla="*/ 52475 h 54857"/>
                  <a:gd name="connsiteX10" fmla="*/ 62596 w 72121"/>
                  <a:gd name="connsiteY10" fmla="*/ 40569 h 54857"/>
                  <a:gd name="connsiteX11" fmla="*/ 69740 w 72121"/>
                  <a:gd name="connsiteY11" fmla="*/ 33425 h 54857"/>
                  <a:gd name="connsiteX12" fmla="*/ 72121 w 72121"/>
                  <a:gd name="connsiteY12" fmla="*/ 26282 h 54857"/>
                  <a:gd name="connsiteX13" fmla="*/ 69740 w 72121"/>
                  <a:gd name="connsiteY13" fmla="*/ 11994 h 54857"/>
                  <a:gd name="connsiteX14" fmla="*/ 50690 w 72121"/>
                  <a:gd name="connsiteY14" fmla="*/ 2469 h 5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121" h="54857">
                    <a:moveTo>
                      <a:pt x="50690" y="2469"/>
                    </a:moveTo>
                    <a:cubicBezTo>
                      <a:pt x="45531" y="485"/>
                      <a:pt x="42815" y="-278"/>
                      <a:pt x="38784" y="88"/>
                    </a:cubicBezTo>
                    <a:cubicBezTo>
                      <a:pt x="33784" y="542"/>
                      <a:pt x="24496" y="4850"/>
                      <a:pt x="24496" y="4850"/>
                    </a:cubicBezTo>
                    <a:cubicBezTo>
                      <a:pt x="4020" y="18501"/>
                      <a:pt x="29927" y="2134"/>
                      <a:pt x="10209" y="11994"/>
                    </a:cubicBezTo>
                    <a:cubicBezTo>
                      <a:pt x="7649" y="13274"/>
                      <a:pt x="5446" y="15169"/>
                      <a:pt x="3065" y="16757"/>
                    </a:cubicBezTo>
                    <a:cubicBezTo>
                      <a:pt x="-653" y="27912"/>
                      <a:pt x="-1377" y="26660"/>
                      <a:pt x="3065" y="42950"/>
                    </a:cubicBezTo>
                    <a:cubicBezTo>
                      <a:pt x="3818" y="45711"/>
                      <a:pt x="5446" y="48506"/>
                      <a:pt x="7827" y="50094"/>
                    </a:cubicBezTo>
                    <a:cubicBezTo>
                      <a:pt x="10550" y="51909"/>
                      <a:pt x="14205" y="51576"/>
                      <a:pt x="17352" y="52475"/>
                    </a:cubicBezTo>
                    <a:cubicBezTo>
                      <a:pt x="19766" y="53165"/>
                      <a:pt x="22115" y="54063"/>
                      <a:pt x="24496" y="54857"/>
                    </a:cubicBezTo>
                    <a:cubicBezTo>
                      <a:pt x="33227" y="54063"/>
                      <a:pt x="42117" y="54312"/>
                      <a:pt x="50690" y="52475"/>
                    </a:cubicBezTo>
                    <a:cubicBezTo>
                      <a:pt x="57778" y="50956"/>
                      <a:pt x="58684" y="45264"/>
                      <a:pt x="62596" y="40569"/>
                    </a:cubicBezTo>
                    <a:cubicBezTo>
                      <a:pt x="64752" y="37982"/>
                      <a:pt x="67359" y="35806"/>
                      <a:pt x="69740" y="33425"/>
                    </a:cubicBezTo>
                    <a:cubicBezTo>
                      <a:pt x="70534" y="31044"/>
                      <a:pt x="72121" y="28792"/>
                      <a:pt x="72121" y="26282"/>
                    </a:cubicBezTo>
                    <a:cubicBezTo>
                      <a:pt x="72121" y="21454"/>
                      <a:pt x="71899" y="16313"/>
                      <a:pt x="69740" y="11994"/>
                    </a:cubicBezTo>
                    <a:cubicBezTo>
                      <a:pt x="66038" y="4591"/>
                      <a:pt x="55849" y="4453"/>
                      <a:pt x="50690" y="24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0" name="Freeform 209"/>
              <p:cNvSpPr/>
              <p:nvPr/>
            </p:nvSpPr>
            <p:spPr>
              <a:xfrm>
                <a:off x="7360373" y="5229735"/>
                <a:ext cx="71501" cy="43032"/>
              </a:xfrm>
              <a:custGeom>
                <a:avLst/>
                <a:gdLst>
                  <a:gd name="connsiteX0" fmla="*/ 34088 w 71501"/>
                  <a:gd name="connsiteY0" fmla="*/ 170 h 43032"/>
                  <a:gd name="connsiteX1" fmla="*/ 22182 w 71501"/>
                  <a:gd name="connsiteY1" fmla="*/ 7313 h 43032"/>
                  <a:gd name="connsiteX2" fmla="*/ 17419 w 71501"/>
                  <a:gd name="connsiteY2" fmla="*/ 14457 h 43032"/>
                  <a:gd name="connsiteX3" fmla="*/ 5513 w 71501"/>
                  <a:gd name="connsiteY3" fmla="*/ 12076 h 43032"/>
                  <a:gd name="connsiteX4" fmla="*/ 3132 w 71501"/>
                  <a:gd name="connsiteY4" fmla="*/ 31126 h 43032"/>
                  <a:gd name="connsiteX5" fmla="*/ 24563 w 71501"/>
                  <a:gd name="connsiteY5" fmla="*/ 40651 h 43032"/>
                  <a:gd name="connsiteX6" fmla="*/ 31707 w 71501"/>
                  <a:gd name="connsiteY6" fmla="*/ 43032 h 43032"/>
                  <a:gd name="connsiteX7" fmla="*/ 69807 w 71501"/>
                  <a:gd name="connsiteY7" fmla="*/ 38270 h 43032"/>
                  <a:gd name="connsiteX8" fmla="*/ 65044 w 71501"/>
                  <a:gd name="connsiteY8" fmla="*/ 23982 h 43032"/>
                  <a:gd name="connsiteX9" fmla="*/ 57900 w 71501"/>
                  <a:gd name="connsiteY9" fmla="*/ 19220 h 43032"/>
                  <a:gd name="connsiteX10" fmla="*/ 43613 w 71501"/>
                  <a:gd name="connsiteY10" fmla="*/ 14457 h 43032"/>
                  <a:gd name="connsiteX11" fmla="*/ 34088 w 71501"/>
                  <a:gd name="connsiteY11" fmla="*/ 170 h 4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501" h="43032">
                    <a:moveTo>
                      <a:pt x="34088" y="170"/>
                    </a:moveTo>
                    <a:cubicBezTo>
                      <a:pt x="30516" y="-1021"/>
                      <a:pt x="25696" y="4301"/>
                      <a:pt x="22182" y="7313"/>
                    </a:cubicBezTo>
                    <a:cubicBezTo>
                      <a:pt x="20009" y="9176"/>
                      <a:pt x="20171" y="13671"/>
                      <a:pt x="17419" y="14457"/>
                    </a:cubicBezTo>
                    <a:cubicBezTo>
                      <a:pt x="13527" y="15569"/>
                      <a:pt x="9482" y="12870"/>
                      <a:pt x="5513" y="12076"/>
                    </a:cubicBezTo>
                    <a:cubicBezTo>
                      <a:pt x="585" y="19467"/>
                      <a:pt x="-2754" y="20827"/>
                      <a:pt x="3132" y="31126"/>
                    </a:cubicBezTo>
                    <a:cubicBezTo>
                      <a:pt x="5796" y="35787"/>
                      <a:pt x="22747" y="40046"/>
                      <a:pt x="24563" y="40651"/>
                    </a:cubicBezTo>
                    <a:lnTo>
                      <a:pt x="31707" y="43032"/>
                    </a:lnTo>
                    <a:cubicBezTo>
                      <a:pt x="44407" y="41445"/>
                      <a:pt x="58695" y="44620"/>
                      <a:pt x="69807" y="38270"/>
                    </a:cubicBezTo>
                    <a:cubicBezTo>
                      <a:pt x="74166" y="35779"/>
                      <a:pt x="69221" y="26767"/>
                      <a:pt x="65044" y="23982"/>
                    </a:cubicBezTo>
                    <a:cubicBezTo>
                      <a:pt x="62663" y="22395"/>
                      <a:pt x="60515" y="20382"/>
                      <a:pt x="57900" y="19220"/>
                    </a:cubicBezTo>
                    <a:cubicBezTo>
                      <a:pt x="53313" y="17181"/>
                      <a:pt x="43613" y="14457"/>
                      <a:pt x="43613" y="14457"/>
                    </a:cubicBezTo>
                    <a:cubicBezTo>
                      <a:pt x="35214" y="6058"/>
                      <a:pt x="37660" y="1361"/>
                      <a:pt x="34088" y="17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1" name="Freeform 210"/>
              <p:cNvSpPr/>
              <p:nvPr/>
            </p:nvSpPr>
            <p:spPr>
              <a:xfrm>
                <a:off x="7427743" y="5175052"/>
                <a:ext cx="81080" cy="47709"/>
              </a:xfrm>
              <a:custGeom>
                <a:avLst/>
                <a:gdLst>
                  <a:gd name="connsiteX0" fmla="*/ 50062 w 81080"/>
                  <a:gd name="connsiteY0" fmla="*/ 84 h 47709"/>
                  <a:gd name="connsiteX1" fmla="*/ 28630 w 81080"/>
                  <a:gd name="connsiteY1" fmla="*/ 2465 h 47709"/>
                  <a:gd name="connsiteX2" fmla="*/ 14343 w 81080"/>
                  <a:gd name="connsiteY2" fmla="*/ 14371 h 47709"/>
                  <a:gd name="connsiteX3" fmla="*/ 9580 w 81080"/>
                  <a:gd name="connsiteY3" fmla="*/ 21515 h 47709"/>
                  <a:gd name="connsiteX4" fmla="*/ 2437 w 81080"/>
                  <a:gd name="connsiteY4" fmla="*/ 26278 h 47709"/>
                  <a:gd name="connsiteX5" fmla="*/ 55 w 81080"/>
                  <a:gd name="connsiteY5" fmla="*/ 33421 h 47709"/>
                  <a:gd name="connsiteX6" fmla="*/ 4818 w 81080"/>
                  <a:gd name="connsiteY6" fmla="*/ 40565 h 47709"/>
                  <a:gd name="connsiteX7" fmla="*/ 28630 w 81080"/>
                  <a:gd name="connsiteY7" fmla="*/ 47709 h 47709"/>
                  <a:gd name="connsiteX8" fmla="*/ 61968 w 81080"/>
                  <a:gd name="connsiteY8" fmla="*/ 35803 h 47709"/>
                  <a:gd name="connsiteX9" fmla="*/ 69112 w 81080"/>
                  <a:gd name="connsiteY9" fmla="*/ 31040 h 47709"/>
                  <a:gd name="connsiteX10" fmla="*/ 76255 w 81080"/>
                  <a:gd name="connsiteY10" fmla="*/ 26278 h 47709"/>
                  <a:gd name="connsiteX11" fmla="*/ 81018 w 81080"/>
                  <a:gd name="connsiteY11" fmla="*/ 19134 h 47709"/>
                  <a:gd name="connsiteX12" fmla="*/ 71493 w 81080"/>
                  <a:gd name="connsiteY12" fmla="*/ 4846 h 47709"/>
                  <a:gd name="connsiteX13" fmla="*/ 50062 w 81080"/>
                  <a:gd name="connsiteY13" fmla="*/ 84 h 4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80" h="47709">
                    <a:moveTo>
                      <a:pt x="50062" y="84"/>
                    </a:moveTo>
                    <a:cubicBezTo>
                      <a:pt x="42918" y="-313"/>
                      <a:pt x="35603" y="722"/>
                      <a:pt x="28630" y="2465"/>
                    </a:cubicBezTo>
                    <a:cubicBezTo>
                      <a:pt x="24690" y="3450"/>
                      <a:pt x="16445" y="11848"/>
                      <a:pt x="14343" y="14371"/>
                    </a:cubicBezTo>
                    <a:cubicBezTo>
                      <a:pt x="12511" y="16570"/>
                      <a:pt x="11604" y="19491"/>
                      <a:pt x="9580" y="21515"/>
                    </a:cubicBezTo>
                    <a:cubicBezTo>
                      <a:pt x="7556" y="23539"/>
                      <a:pt x="4818" y="24690"/>
                      <a:pt x="2437" y="26278"/>
                    </a:cubicBezTo>
                    <a:cubicBezTo>
                      <a:pt x="1643" y="28659"/>
                      <a:pt x="-358" y="30945"/>
                      <a:pt x="55" y="33421"/>
                    </a:cubicBezTo>
                    <a:cubicBezTo>
                      <a:pt x="525" y="36244"/>
                      <a:pt x="2391" y="39048"/>
                      <a:pt x="4818" y="40565"/>
                    </a:cubicBezTo>
                    <a:cubicBezTo>
                      <a:pt x="8686" y="42982"/>
                      <a:pt x="23052" y="46315"/>
                      <a:pt x="28630" y="47709"/>
                    </a:cubicBezTo>
                    <a:cubicBezTo>
                      <a:pt x="53359" y="44618"/>
                      <a:pt x="42356" y="48878"/>
                      <a:pt x="61968" y="35803"/>
                    </a:cubicBezTo>
                    <a:lnTo>
                      <a:pt x="69112" y="31040"/>
                    </a:lnTo>
                    <a:lnTo>
                      <a:pt x="76255" y="26278"/>
                    </a:lnTo>
                    <a:cubicBezTo>
                      <a:pt x="77843" y="23897"/>
                      <a:pt x="80547" y="21957"/>
                      <a:pt x="81018" y="19134"/>
                    </a:cubicBezTo>
                    <a:cubicBezTo>
                      <a:pt x="81816" y="14350"/>
                      <a:pt x="74719" y="6312"/>
                      <a:pt x="71493" y="4846"/>
                    </a:cubicBezTo>
                    <a:cubicBezTo>
                      <a:pt x="57628" y="-1456"/>
                      <a:pt x="57206" y="481"/>
                      <a:pt x="50062" y="8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2" name="Freeform 211"/>
              <p:cNvSpPr/>
              <p:nvPr/>
            </p:nvSpPr>
            <p:spPr>
              <a:xfrm>
                <a:off x="7513523" y="5195458"/>
                <a:ext cx="98142" cy="82072"/>
              </a:xfrm>
              <a:custGeom>
                <a:avLst/>
                <a:gdLst>
                  <a:gd name="connsiteX0" fmla="*/ 50007 w 98142"/>
                  <a:gd name="connsiteY0" fmla="*/ 8253 h 82072"/>
                  <a:gd name="connsiteX1" fmla="*/ 33338 w 98142"/>
                  <a:gd name="connsiteY1" fmla="*/ 10634 h 82072"/>
                  <a:gd name="connsiteX2" fmla="*/ 21432 w 98142"/>
                  <a:gd name="connsiteY2" fmla="*/ 22540 h 82072"/>
                  <a:gd name="connsiteX3" fmla="*/ 0 w 98142"/>
                  <a:gd name="connsiteY3" fmla="*/ 34447 h 82072"/>
                  <a:gd name="connsiteX4" fmla="*/ 2382 w 98142"/>
                  <a:gd name="connsiteY4" fmla="*/ 46353 h 82072"/>
                  <a:gd name="connsiteX5" fmla="*/ 9525 w 98142"/>
                  <a:gd name="connsiteY5" fmla="*/ 51115 h 82072"/>
                  <a:gd name="connsiteX6" fmla="*/ 28575 w 98142"/>
                  <a:gd name="connsiteY6" fmla="*/ 55878 h 82072"/>
                  <a:gd name="connsiteX7" fmla="*/ 33338 w 98142"/>
                  <a:gd name="connsiteY7" fmla="*/ 70165 h 82072"/>
                  <a:gd name="connsiteX8" fmla="*/ 35719 w 98142"/>
                  <a:gd name="connsiteY8" fmla="*/ 77309 h 82072"/>
                  <a:gd name="connsiteX9" fmla="*/ 42863 w 98142"/>
                  <a:gd name="connsiteY9" fmla="*/ 82072 h 82072"/>
                  <a:gd name="connsiteX10" fmla="*/ 52388 w 98142"/>
                  <a:gd name="connsiteY10" fmla="*/ 79690 h 82072"/>
                  <a:gd name="connsiteX11" fmla="*/ 57150 w 98142"/>
                  <a:gd name="connsiteY11" fmla="*/ 72547 h 82072"/>
                  <a:gd name="connsiteX12" fmla="*/ 61913 w 98142"/>
                  <a:gd name="connsiteY12" fmla="*/ 43972 h 82072"/>
                  <a:gd name="connsiteX13" fmla="*/ 73819 w 98142"/>
                  <a:gd name="connsiteY13" fmla="*/ 27303 h 82072"/>
                  <a:gd name="connsiteX14" fmla="*/ 80963 w 98142"/>
                  <a:gd name="connsiteY14" fmla="*/ 22540 h 82072"/>
                  <a:gd name="connsiteX15" fmla="*/ 95250 w 98142"/>
                  <a:gd name="connsiteY15" fmla="*/ 13015 h 82072"/>
                  <a:gd name="connsiteX16" fmla="*/ 97632 w 98142"/>
                  <a:gd name="connsiteY16" fmla="*/ 5872 h 82072"/>
                  <a:gd name="connsiteX17" fmla="*/ 83344 w 98142"/>
                  <a:gd name="connsiteY17" fmla="*/ 1109 h 82072"/>
                  <a:gd name="connsiteX18" fmla="*/ 50007 w 98142"/>
                  <a:gd name="connsiteY18" fmla="*/ 8253 h 8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142" h="82072">
                    <a:moveTo>
                      <a:pt x="50007" y="8253"/>
                    </a:moveTo>
                    <a:cubicBezTo>
                      <a:pt x="41673" y="9840"/>
                      <a:pt x="38714" y="9021"/>
                      <a:pt x="33338" y="10634"/>
                    </a:cubicBezTo>
                    <a:cubicBezTo>
                      <a:pt x="22984" y="13740"/>
                      <a:pt x="28610" y="16259"/>
                      <a:pt x="21432" y="22540"/>
                    </a:cubicBezTo>
                    <a:cubicBezTo>
                      <a:pt x="11355" y="31357"/>
                      <a:pt x="9811" y="31176"/>
                      <a:pt x="0" y="34447"/>
                    </a:cubicBezTo>
                    <a:cubicBezTo>
                      <a:pt x="794" y="38416"/>
                      <a:pt x="374" y="42839"/>
                      <a:pt x="2382" y="46353"/>
                    </a:cubicBezTo>
                    <a:cubicBezTo>
                      <a:pt x="3802" y="48838"/>
                      <a:pt x="6966" y="49835"/>
                      <a:pt x="9525" y="51115"/>
                    </a:cubicBezTo>
                    <a:cubicBezTo>
                      <a:pt x="14410" y="53558"/>
                      <a:pt x="24041" y="54971"/>
                      <a:pt x="28575" y="55878"/>
                    </a:cubicBezTo>
                    <a:lnTo>
                      <a:pt x="33338" y="70165"/>
                    </a:lnTo>
                    <a:cubicBezTo>
                      <a:pt x="34132" y="72546"/>
                      <a:pt x="33631" y="75917"/>
                      <a:pt x="35719" y="77309"/>
                    </a:cubicBezTo>
                    <a:lnTo>
                      <a:pt x="42863" y="82072"/>
                    </a:lnTo>
                    <a:cubicBezTo>
                      <a:pt x="46038" y="81278"/>
                      <a:pt x="49665" y="81505"/>
                      <a:pt x="52388" y="79690"/>
                    </a:cubicBezTo>
                    <a:cubicBezTo>
                      <a:pt x="54769" y="78103"/>
                      <a:pt x="56456" y="75323"/>
                      <a:pt x="57150" y="72547"/>
                    </a:cubicBezTo>
                    <a:cubicBezTo>
                      <a:pt x="62453" y="51335"/>
                      <a:pt x="56336" y="56986"/>
                      <a:pt x="61913" y="43972"/>
                    </a:cubicBezTo>
                    <a:cubicBezTo>
                      <a:pt x="65658" y="35233"/>
                      <a:pt x="66559" y="33354"/>
                      <a:pt x="73819" y="27303"/>
                    </a:cubicBezTo>
                    <a:cubicBezTo>
                      <a:pt x="76018" y="25471"/>
                      <a:pt x="78764" y="24372"/>
                      <a:pt x="80963" y="22540"/>
                    </a:cubicBezTo>
                    <a:cubicBezTo>
                      <a:pt x="92854" y="12631"/>
                      <a:pt x="82697" y="17201"/>
                      <a:pt x="95250" y="13015"/>
                    </a:cubicBezTo>
                    <a:cubicBezTo>
                      <a:pt x="96044" y="10634"/>
                      <a:pt x="99407" y="7647"/>
                      <a:pt x="97632" y="5872"/>
                    </a:cubicBezTo>
                    <a:cubicBezTo>
                      <a:pt x="94082" y="2322"/>
                      <a:pt x="88107" y="2697"/>
                      <a:pt x="83344" y="1109"/>
                    </a:cubicBezTo>
                    <a:cubicBezTo>
                      <a:pt x="70178" y="-3280"/>
                      <a:pt x="58341" y="6666"/>
                      <a:pt x="50007" y="825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3" name="Freeform 212"/>
              <p:cNvSpPr/>
              <p:nvPr/>
            </p:nvSpPr>
            <p:spPr>
              <a:xfrm>
                <a:off x="6941751" y="5732596"/>
                <a:ext cx="109810" cy="59326"/>
              </a:xfrm>
              <a:custGeom>
                <a:avLst/>
                <a:gdLst>
                  <a:gd name="connsiteX0" fmla="*/ 85997 w 109810"/>
                  <a:gd name="connsiteY0" fmla="*/ 4515 h 59326"/>
                  <a:gd name="connsiteX1" fmla="*/ 35991 w 109810"/>
                  <a:gd name="connsiteY1" fmla="*/ 2134 h 59326"/>
                  <a:gd name="connsiteX2" fmla="*/ 21704 w 109810"/>
                  <a:gd name="connsiteY2" fmla="*/ 6896 h 59326"/>
                  <a:gd name="connsiteX3" fmla="*/ 14560 w 109810"/>
                  <a:gd name="connsiteY3" fmla="*/ 9277 h 59326"/>
                  <a:gd name="connsiteX4" fmla="*/ 7416 w 109810"/>
                  <a:gd name="connsiteY4" fmla="*/ 14040 h 59326"/>
                  <a:gd name="connsiteX5" fmla="*/ 272 w 109810"/>
                  <a:gd name="connsiteY5" fmla="*/ 21184 h 59326"/>
                  <a:gd name="connsiteX6" fmla="*/ 2654 w 109810"/>
                  <a:gd name="connsiteY6" fmla="*/ 30709 h 59326"/>
                  <a:gd name="connsiteX7" fmla="*/ 9797 w 109810"/>
                  <a:gd name="connsiteY7" fmla="*/ 35471 h 59326"/>
                  <a:gd name="connsiteX8" fmla="*/ 28847 w 109810"/>
                  <a:gd name="connsiteY8" fmla="*/ 40234 h 59326"/>
                  <a:gd name="connsiteX9" fmla="*/ 35991 w 109810"/>
                  <a:gd name="connsiteY9" fmla="*/ 42615 h 59326"/>
                  <a:gd name="connsiteX10" fmla="*/ 40754 w 109810"/>
                  <a:gd name="connsiteY10" fmla="*/ 49759 h 59326"/>
                  <a:gd name="connsiteX11" fmla="*/ 88379 w 109810"/>
                  <a:gd name="connsiteY11" fmla="*/ 54521 h 59326"/>
                  <a:gd name="connsiteX12" fmla="*/ 95522 w 109810"/>
                  <a:gd name="connsiteY12" fmla="*/ 49759 h 59326"/>
                  <a:gd name="connsiteX13" fmla="*/ 102666 w 109810"/>
                  <a:gd name="connsiteY13" fmla="*/ 47377 h 59326"/>
                  <a:gd name="connsiteX14" fmla="*/ 109810 w 109810"/>
                  <a:gd name="connsiteY14" fmla="*/ 40234 h 59326"/>
                  <a:gd name="connsiteX15" fmla="*/ 107429 w 109810"/>
                  <a:gd name="connsiteY15" fmla="*/ 23565 h 59326"/>
                  <a:gd name="connsiteX16" fmla="*/ 100285 w 109810"/>
                  <a:gd name="connsiteY16" fmla="*/ 18802 h 59326"/>
                  <a:gd name="connsiteX17" fmla="*/ 93141 w 109810"/>
                  <a:gd name="connsiteY17" fmla="*/ 16421 h 59326"/>
                  <a:gd name="connsiteX18" fmla="*/ 85997 w 109810"/>
                  <a:gd name="connsiteY18" fmla="*/ 4515 h 5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810" h="59326">
                    <a:moveTo>
                      <a:pt x="85997" y="4515"/>
                    </a:moveTo>
                    <a:cubicBezTo>
                      <a:pt x="76472" y="2134"/>
                      <a:pt x="72525" y="-2848"/>
                      <a:pt x="35991" y="2134"/>
                    </a:cubicBezTo>
                    <a:cubicBezTo>
                      <a:pt x="31017" y="2812"/>
                      <a:pt x="26466" y="5309"/>
                      <a:pt x="21704" y="6896"/>
                    </a:cubicBezTo>
                    <a:lnTo>
                      <a:pt x="14560" y="9277"/>
                    </a:lnTo>
                    <a:cubicBezTo>
                      <a:pt x="12179" y="10865"/>
                      <a:pt x="9615" y="12208"/>
                      <a:pt x="7416" y="14040"/>
                    </a:cubicBezTo>
                    <a:cubicBezTo>
                      <a:pt x="4829" y="16196"/>
                      <a:pt x="1197" y="17946"/>
                      <a:pt x="272" y="21184"/>
                    </a:cubicBezTo>
                    <a:cubicBezTo>
                      <a:pt x="-627" y="24331"/>
                      <a:pt x="839" y="27986"/>
                      <a:pt x="2654" y="30709"/>
                    </a:cubicBezTo>
                    <a:cubicBezTo>
                      <a:pt x="4241" y="33090"/>
                      <a:pt x="7237" y="34191"/>
                      <a:pt x="9797" y="35471"/>
                    </a:cubicBezTo>
                    <a:cubicBezTo>
                      <a:pt x="15237" y="38191"/>
                      <a:pt x="23418" y="38877"/>
                      <a:pt x="28847" y="40234"/>
                    </a:cubicBezTo>
                    <a:cubicBezTo>
                      <a:pt x="31282" y="40843"/>
                      <a:pt x="33610" y="41821"/>
                      <a:pt x="35991" y="42615"/>
                    </a:cubicBezTo>
                    <a:cubicBezTo>
                      <a:pt x="37579" y="44996"/>
                      <a:pt x="38922" y="47560"/>
                      <a:pt x="40754" y="49759"/>
                    </a:cubicBezTo>
                    <a:cubicBezTo>
                      <a:pt x="54802" y="66616"/>
                      <a:pt x="55187" y="56473"/>
                      <a:pt x="88379" y="54521"/>
                    </a:cubicBezTo>
                    <a:cubicBezTo>
                      <a:pt x="90760" y="52934"/>
                      <a:pt x="92963" y="51039"/>
                      <a:pt x="95522" y="49759"/>
                    </a:cubicBezTo>
                    <a:cubicBezTo>
                      <a:pt x="97767" y="48636"/>
                      <a:pt x="100577" y="48769"/>
                      <a:pt x="102666" y="47377"/>
                    </a:cubicBezTo>
                    <a:cubicBezTo>
                      <a:pt x="105468" y="45509"/>
                      <a:pt x="107429" y="42615"/>
                      <a:pt x="109810" y="40234"/>
                    </a:cubicBezTo>
                    <a:cubicBezTo>
                      <a:pt x="109016" y="34678"/>
                      <a:pt x="109708" y="28694"/>
                      <a:pt x="107429" y="23565"/>
                    </a:cubicBezTo>
                    <a:cubicBezTo>
                      <a:pt x="106267" y="20950"/>
                      <a:pt x="102845" y="20082"/>
                      <a:pt x="100285" y="18802"/>
                    </a:cubicBezTo>
                    <a:cubicBezTo>
                      <a:pt x="98040" y="17679"/>
                      <a:pt x="95386" y="17543"/>
                      <a:pt x="93141" y="16421"/>
                    </a:cubicBezTo>
                    <a:cubicBezTo>
                      <a:pt x="81855" y="10779"/>
                      <a:pt x="95522" y="6896"/>
                      <a:pt x="85997" y="451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4" name="Freeform 213"/>
              <p:cNvSpPr/>
              <p:nvPr/>
            </p:nvSpPr>
            <p:spPr>
              <a:xfrm>
                <a:off x="7234475" y="5734730"/>
                <a:ext cx="151574" cy="128587"/>
              </a:xfrm>
              <a:custGeom>
                <a:avLst/>
                <a:gdLst>
                  <a:gd name="connsiteX0" fmla="*/ 121886 w 151574"/>
                  <a:gd name="connsiteY0" fmla="*/ 0 h 128587"/>
                  <a:gd name="connsiteX1" fmla="*/ 109980 w 151574"/>
                  <a:gd name="connsiteY1" fmla="*/ 9525 h 128587"/>
                  <a:gd name="connsiteX2" fmla="*/ 107598 w 151574"/>
                  <a:gd name="connsiteY2" fmla="*/ 16668 h 128587"/>
                  <a:gd name="connsiteX3" fmla="*/ 90930 w 151574"/>
                  <a:gd name="connsiteY3" fmla="*/ 33337 h 128587"/>
                  <a:gd name="connsiteX4" fmla="*/ 76642 w 151574"/>
                  <a:gd name="connsiteY4" fmla="*/ 45243 h 128587"/>
                  <a:gd name="connsiteX5" fmla="*/ 69498 w 151574"/>
                  <a:gd name="connsiteY5" fmla="*/ 59531 h 128587"/>
                  <a:gd name="connsiteX6" fmla="*/ 62355 w 151574"/>
                  <a:gd name="connsiteY6" fmla="*/ 61912 h 128587"/>
                  <a:gd name="connsiteX7" fmla="*/ 55211 w 151574"/>
                  <a:gd name="connsiteY7" fmla="*/ 66675 h 128587"/>
                  <a:gd name="connsiteX8" fmla="*/ 48067 w 151574"/>
                  <a:gd name="connsiteY8" fmla="*/ 69056 h 128587"/>
                  <a:gd name="connsiteX9" fmla="*/ 38542 w 151574"/>
                  <a:gd name="connsiteY9" fmla="*/ 76200 h 128587"/>
                  <a:gd name="connsiteX10" fmla="*/ 24255 w 151574"/>
                  <a:gd name="connsiteY10" fmla="*/ 80962 h 128587"/>
                  <a:gd name="connsiteX11" fmla="*/ 17111 w 151574"/>
                  <a:gd name="connsiteY11" fmla="*/ 85725 h 128587"/>
                  <a:gd name="connsiteX12" fmla="*/ 2823 w 151574"/>
                  <a:gd name="connsiteY12" fmla="*/ 92868 h 128587"/>
                  <a:gd name="connsiteX13" fmla="*/ 2823 w 151574"/>
                  <a:gd name="connsiteY13" fmla="*/ 123825 h 128587"/>
                  <a:gd name="connsiteX14" fmla="*/ 9967 w 151574"/>
                  <a:gd name="connsiteY14" fmla="*/ 128587 h 128587"/>
                  <a:gd name="connsiteX15" fmla="*/ 48067 w 151574"/>
                  <a:gd name="connsiteY15" fmla="*/ 126206 h 128587"/>
                  <a:gd name="connsiteX16" fmla="*/ 83786 w 151574"/>
                  <a:gd name="connsiteY16" fmla="*/ 121443 h 128587"/>
                  <a:gd name="connsiteX17" fmla="*/ 105217 w 151574"/>
                  <a:gd name="connsiteY17" fmla="*/ 114300 h 128587"/>
                  <a:gd name="connsiteX18" fmla="*/ 112361 w 151574"/>
                  <a:gd name="connsiteY18" fmla="*/ 111918 h 128587"/>
                  <a:gd name="connsiteX19" fmla="*/ 119505 w 151574"/>
                  <a:gd name="connsiteY19" fmla="*/ 109537 h 128587"/>
                  <a:gd name="connsiteX20" fmla="*/ 143317 w 151574"/>
                  <a:gd name="connsiteY20" fmla="*/ 80962 h 128587"/>
                  <a:gd name="connsiteX21" fmla="*/ 148080 w 151574"/>
                  <a:gd name="connsiteY21" fmla="*/ 73818 h 128587"/>
                  <a:gd name="connsiteX22" fmla="*/ 148080 w 151574"/>
                  <a:gd name="connsiteY22" fmla="*/ 19050 h 128587"/>
                  <a:gd name="connsiteX23" fmla="*/ 133792 w 151574"/>
                  <a:gd name="connsiteY23" fmla="*/ 9525 h 128587"/>
                  <a:gd name="connsiteX24" fmla="*/ 121886 w 151574"/>
                  <a:gd name="connsiteY24" fmla="*/ 0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1574" h="128587">
                    <a:moveTo>
                      <a:pt x="121886" y="0"/>
                    </a:moveTo>
                    <a:cubicBezTo>
                      <a:pt x="117917" y="3175"/>
                      <a:pt x="113288" y="5666"/>
                      <a:pt x="109980" y="9525"/>
                    </a:cubicBezTo>
                    <a:cubicBezTo>
                      <a:pt x="108347" y="11431"/>
                      <a:pt x="108817" y="14474"/>
                      <a:pt x="107598" y="16668"/>
                    </a:cubicBezTo>
                    <a:cubicBezTo>
                      <a:pt x="98913" y="32300"/>
                      <a:pt x="102525" y="29472"/>
                      <a:pt x="90930" y="33337"/>
                    </a:cubicBezTo>
                    <a:cubicBezTo>
                      <a:pt x="85661" y="36850"/>
                      <a:pt x="80308" y="39745"/>
                      <a:pt x="76642" y="45243"/>
                    </a:cubicBezTo>
                    <a:cubicBezTo>
                      <a:pt x="71710" y="52641"/>
                      <a:pt x="77530" y="53105"/>
                      <a:pt x="69498" y="59531"/>
                    </a:cubicBezTo>
                    <a:cubicBezTo>
                      <a:pt x="67538" y="61099"/>
                      <a:pt x="64736" y="61118"/>
                      <a:pt x="62355" y="61912"/>
                    </a:cubicBezTo>
                    <a:cubicBezTo>
                      <a:pt x="59974" y="63500"/>
                      <a:pt x="57771" y="65395"/>
                      <a:pt x="55211" y="66675"/>
                    </a:cubicBezTo>
                    <a:cubicBezTo>
                      <a:pt x="52966" y="67798"/>
                      <a:pt x="50246" y="67811"/>
                      <a:pt x="48067" y="69056"/>
                    </a:cubicBezTo>
                    <a:cubicBezTo>
                      <a:pt x="44621" y="71025"/>
                      <a:pt x="42092" y="74425"/>
                      <a:pt x="38542" y="76200"/>
                    </a:cubicBezTo>
                    <a:cubicBezTo>
                      <a:pt x="34052" y="78445"/>
                      <a:pt x="24255" y="80962"/>
                      <a:pt x="24255" y="80962"/>
                    </a:cubicBezTo>
                    <a:cubicBezTo>
                      <a:pt x="21874" y="82550"/>
                      <a:pt x="19671" y="84445"/>
                      <a:pt x="17111" y="85725"/>
                    </a:cubicBezTo>
                    <a:cubicBezTo>
                      <a:pt x="-2615" y="95588"/>
                      <a:pt x="23306" y="79215"/>
                      <a:pt x="2823" y="92868"/>
                    </a:cubicBezTo>
                    <a:cubicBezTo>
                      <a:pt x="524" y="104363"/>
                      <a:pt x="-2174" y="111332"/>
                      <a:pt x="2823" y="123825"/>
                    </a:cubicBezTo>
                    <a:cubicBezTo>
                      <a:pt x="3886" y="126482"/>
                      <a:pt x="7586" y="127000"/>
                      <a:pt x="9967" y="128587"/>
                    </a:cubicBezTo>
                    <a:lnTo>
                      <a:pt x="48067" y="126206"/>
                    </a:lnTo>
                    <a:cubicBezTo>
                      <a:pt x="58196" y="125427"/>
                      <a:pt x="73044" y="124373"/>
                      <a:pt x="83786" y="121443"/>
                    </a:cubicBezTo>
                    <a:cubicBezTo>
                      <a:pt x="91051" y="119462"/>
                      <a:pt x="98073" y="116681"/>
                      <a:pt x="105217" y="114300"/>
                    </a:cubicBezTo>
                    <a:lnTo>
                      <a:pt x="112361" y="111918"/>
                    </a:lnTo>
                    <a:lnTo>
                      <a:pt x="119505" y="109537"/>
                    </a:lnTo>
                    <a:cubicBezTo>
                      <a:pt x="137841" y="91201"/>
                      <a:pt x="130055" y="100855"/>
                      <a:pt x="143317" y="80962"/>
                    </a:cubicBezTo>
                    <a:lnTo>
                      <a:pt x="148080" y="73818"/>
                    </a:lnTo>
                    <a:cubicBezTo>
                      <a:pt x="150654" y="55797"/>
                      <a:pt x="154453" y="37258"/>
                      <a:pt x="148080" y="19050"/>
                    </a:cubicBezTo>
                    <a:cubicBezTo>
                      <a:pt x="146189" y="13647"/>
                      <a:pt x="138555" y="12700"/>
                      <a:pt x="133792" y="9525"/>
                    </a:cubicBezTo>
                    <a:lnTo>
                      <a:pt x="121886"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5" name="Freeform 214"/>
              <p:cNvSpPr/>
              <p:nvPr/>
            </p:nvSpPr>
            <p:spPr>
              <a:xfrm>
                <a:off x="7614780" y="5160848"/>
                <a:ext cx="196400" cy="80963"/>
              </a:xfrm>
              <a:custGeom>
                <a:avLst/>
                <a:gdLst>
                  <a:gd name="connsiteX0" fmla="*/ 151156 w 196400"/>
                  <a:gd name="connsiteY0" fmla="*/ 7144 h 80963"/>
                  <a:gd name="connsiteX1" fmla="*/ 108293 w 196400"/>
                  <a:gd name="connsiteY1" fmla="*/ 11907 h 80963"/>
                  <a:gd name="connsiteX2" fmla="*/ 84481 w 196400"/>
                  <a:gd name="connsiteY2" fmla="*/ 9525 h 80963"/>
                  <a:gd name="connsiteX3" fmla="*/ 74956 w 196400"/>
                  <a:gd name="connsiteY3" fmla="*/ 7144 h 80963"/>
                  <a:gd name="connsiteX4" fmla="*/ 51143 w 196400"/>
                  <a:gd name="connsiteY4" fmla="*/ 0 h 80963"/>
                  <a:gd name="connsiteX5" fmla="*/ 36856 w 196400"/>
                  <a:gd name="connsiteY5" fmla="*/ 2382 h 80963"/>
                  <a:gd name="connsiteX6" fmla="*/ 29712 w 196400"/>
                  <a:gd name="connsiteY6" fmla="*/ 7144 h 80963"/>
                  <a:gd name="connsiteX7" fmla="*/ 22568 w 196400"/>
                  <a:gd name="connsiteY7" fmla="*/ 9525 h 80963"/>
                  <a:gd name="connsiteX8" fmla="*/ 13043 w 196400"/>
                  <a:gd name="connsiteY8" fmla="*/ 50007 h 80963"/>
                  <a:gd name="connsiteX9" fmla="*/ 5900 w 196400"/>
                  <a:gd name="connsiteY9" fmla="*/ 54769 h 80963"/>
                  <a:gd name="connsiteX10" fmla="*/ 3518 w 196400"/>
                  <a:gd name="connsiteY10" fmla="*/ 76200 h 80963"/>
                  <a:gd name="connsiteX11" fmla="*/ 10662 w 196400"/>
                  <a:gd name="connsiteY11" fmla="*/ 78582 h 80963"/>
                  <a:gd name="connsiteX12" fmla="*/ 94006 w 196400"/>
                  <a:gd name="connsiteY12" fmla="*/ 80963 h 80963"/>
                  <a:gd name="connsiteX13" fmla="*/ 155918 w 196400"/>
                  <a:gd name="connsiteY13" fmla="*/ 78582 h 80963"/>
                  <a:gd name="connsiteX14" fmla="*/ 170206 w 196400"/>
                  <a:gd name="connsiteY14" fmla="*/ 73819 h 80963"/>
                  <a:gd name="connsiteX15" fmla="*/ 177350 w 196400"/>
                  <a:gd name="connsiteY15" fmla="*/ 59532 h 80963"/>
                  <a:gd name="connsiteX16" fmla="*/ 184493 w 196400"/>
                  <a:gd name="connsiteY16" fmla="*/ 61913 h 80963"/>
                  <a:gd name="connsiteX17" fmla="*/ 194018 w 196400"/>
                  <a:gd name="connsiteY17" fmla="*/ 59532 h 80963"/>
                  <a:gd name="connsiteX18" fmla="*/ 196400 w 196400"/>
                  <a:gd name="connsiteY18" fmla="*/ 52388 h 80963"/>
                  <a:gd name="connsiteX19" fmla="*/ 194018 w 196400"/>
                  <a:gd name="connsiteY19" fmla="*/ 33338 h 80963"/>
                  <a:gd name="connsiteX20" fmla="*/ 189256 w 196400"/>
                  <a:gd name="connsiteY20" fmla="*/ 19050 h 80963"/>
                  <a:gd name="connsiteX21" fmla="*/ 151156 w 196400"/>
                  <a:gd name="connsiteY21" fmla="*/ 7144 h 8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400" h="80963">
                    <a:moveTo>
                      <a:pt x="151156" y="7144"/>
                    </a:moveTo>
                    <a:cubicBezTo>
                      <a:pt x="134366" y="10502"/>
                      <a:pt x="129822" y="11907"/>
                      <a:pt x="108293" y="11907"/>
                    </a:cubicBezTo>
                    <a:cubicBezTo>
                      <a:pt x="100316" y="11907"/>
                      <a:pt x="92418" y="10319"/>
                      <a:pt x="84481" y="9525"/>
                    </a:cubicBezTo>
                    <a:cubicBezTo>
                      <a:pt x="81306" y="8731"/>
                      <a:pt x="78091" y="8084"/>
                      <a:pt x="74956" y="7144"/>
                    </a:cubicBezTo>
                    <a:cubicBezTo>
                      <a:pt x="45944" y="-1559"/>
                      <a:pt x="73113" y="5494"/>
                      <a:pt x="51143" y="0"/>
                    </a:cubicBezTo>
                    <a:cubicBezTo>
                      <a:pt x="46381" y="794"/>
                      <a:pt x="41436" y="855"/>
                      <a:pt x="36856" y="2382"/>
                    </a:cubicBezTo>
                    <a:cubicBezTo>
                      <a:pt x="34141" y="3287"/>
                      <a:pt x="32272" y="5864"/>
                      <a:pt x="29712" y="7144"/>
                    </a:cubicBezTo>
                    <a:cubicBezTo>
                      <a:pt x="27467" y="8266"/>
                      <a:pt x="24949" y="8731"/>
                      <a:pt x="22568" y="9525"/>
                    </a:cubicBezTo>
                    <a:cubicBezTo>
                      <a:pt x="20576" y="37416"/>
                      <a:pt x="27875" y="37647"/>
                      <a:pt x="13043" y="50007"/>
                    </a:cubicBezTo>
                    <a:cubicBezTo>
                      <a:pt x="10845" y="51839"/>
                      <a:pt x="8281" y="53182"/>
                      <a:pt x="5900" y="54769"/>
                    </a:cubicBezTo>
                    <a:cubicBezTo>
                      <a:pt x="670" y="62614"/>
                      <a:pt x="-3063" y="64683"/>
                      <a:pt x="3518" y="76200"/>
                    </a:cubicBezTo>
                    <a:cubicBezTo>
                      <a:pt x="4763" y="78379"/>
                      <a:pt x="8155" y="78450"/>
                      <a:pt x="10662" y="78582"/>
                    </a:cubicBezTo>
                    <a:cubicBezTo>
                      <a:pt x="38416" y="80043"/>
                      <a:pt x="66225" y="80169"/>
                      <a:pt x="94006" y="80963"/>
                    </a:cubicBezTo>
                    <a:cubicBezTo>
                      <a:pt x="114643" y="80169"/>
                      <a:pt x="135356" y="80510"/>
                      <a:pt x="155918" y="78582"/>
                    </a:cubicBezTo>
                    <a:cubicBezTo>
                      <a:pt x="160916" y="78113"/>
                      <a:pt x="170206" y="73819"/>
                      <a:pt x="170206" y="73819"/>
                    </a:cubicBezTo>
                    <a:cubicBezTo>
                      <a:pt x="171209" y="70811"/>
                      <a:pt x="173798" y="60953"/>
                      <a:pt x="177350" y="59532"/>
                    </a:cubicBezTo>
                    <a:cubicBezTo>
                      <a:pt x="179680" y="58600"/>
                      <a:pt x="182112" y="61119"/>
                      <a:pt x="184493" y="61913"/>
                    </a:cubicBezTo>
                    <a:cubicBezTo>
                      <a:pt x="187668" y="61119"/>
                      <a:pt x="191462" y="61576"/>
                      <a:pt x="194018" y="59532"/>
                    </a:cubicBezTo>
                    <a:cubicBezTo>
                      <a:pt x="195978" y="57964"/>
                      <a:pt x="196400" y="54898"/>
                      <a:pt x="196400" y="52388"/>
                    </a:cubicBezTo>
                    <a:cubicBezTo>
                      <a:pt x="196400" y="45989"/>
                      <a:pt x="195359" y="39595"/>
                      <a:pt x="194018" y="33338"/>
                    </a:cubicBezTo>
                    <a:cubicBezTo>
                      <a:pt x="192966" y="28429"/>
                      <a:pt x="194019" y="20637"/>
                      <a:pt x="189256" y="19050"/>
                    </a:cubicBezTo>
                    <a:lnTo>
                      <a:pt x="151156" y="7144"/>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6" name="Freeform 215"/>
              <p:cNvSpPr/>
              <p:nvPr/>
            </p:nvSpPr>
            <p:spPr>
              <a:xfrm>
                <a:off x="7391989" y="5377542"/>
                <a:ext cx="433626" cy="352425"/>
              </a:xfrm>
              <a:custGeom>
                <a:avLst/>
                <a:gdLst>
                  <a:gd name="connsiteX0" fmla="*/ 126297 w 433626"/>
                  <a:gd name="connsiteY0" fmla="*/ 97631 h 352425"/>
                  <a:gd name="connsiteX1" fmla="*/ 78672 w 433626"/>
                  <a:gd name="connsiteY1" fmla="*/ 159544 h 352425"/>
                  <a:gd name="connsiteX2" fmla="*/ 73909 w 433626"/>
                  <a:gd name="connsiteY2" fmla="*/ 166688 h 352425"/>
                  <a:gd name="connsiteX3" fmla="*/ 71528 w 433626"/>
                  <a:gd name="connsiteY3" fmla="*/ 173831 h 352425"/>
                  <a:gd name="connsiteX4" fmla="*/ 66766 w 433626"/>
                  <a:gd name="connsiteY4" fmla="*/ 197644 h 352425"/>
                  <a:gd name="connsiteX5" fmla="*/ 57241 w 433626"/>
                  <a:gd name="connsiteY5" fmla="*/ 211931 h 352425"/>
                  <a:gd name="connsiteX6" fmla="*/ 52478 w 433626"/>
                  <a:gd name="connsiteY6" fmla="*/ 226219 h 352425"/>
                  <a:gd name="connsiteX7" fmla="*/ 42953 w 433626"/>
                  <a:gd name="connsiteY7" fmla="*/ 240506 h 352425"/>
                  <a:gd name="connsiteX8" fmla="*/ 38191 w 433626"/>
                  <a:gd name="connsiteY8" fmla="*/ 247650 h 352425"/>
                  <a:gd name="connsiteX9" fmla="*/ 28666 w 433626"/>
                  <a:gd name="connsiteY9" fmla="*/ 269081 h 352425"/>
                  <a:gd name="connsiteX10" fmla="*/ 21522 w 433626"/>
                  <a:gd name="connsiteY10" fmla="*/ 276225 h 352425"/>
                  <a:gd name="connsiteX11" fmla="*/ 16759 w 433626"/>
                  <a:gd name="connsiteY11" fmla="*/ 283369 h 352425"/>
                  <a:gd name="connsiteX12" fmla="*/ 9616 w 433626"/>
                  <a:gd name="connsiteY12" fmla="*/ 288131 h 352425"/>
                  <a:gd name="connsiteX13" fmla="*/ 2472 w 433626"/>
                  <a:gd name="connsiteY13" fmla="*/ 295275 h 352425"/>
                  <a:gd name="connsiteX14" fmla="*/ 91 w 433626"/>
                  <a:gd name="connsiteY14" fmla="*/ 302419 h 352425"/>
                  <a:gd name="connsiteX15" fmla="*/ 52478 w 433626"/>
                  <a:gd name="connsiteY15" fmla="*/ 340519 h 352425"/>
                  <a:gd name="connsiteX16" fmla="*/ 69147 w 433626"/>
                  <a:gd name="connsiteY16" fmla="*/ 345281 h 352425"/>
                  <a:gd name="connsiteX17" fmla="*/ 78672 w 433626"/>
                  <a:gd name="connsiteY17" fmla="*/ 347663 h 352425"/>
                  <a:gd name="connsiteX18" fmla="*/ 92959 w 433626"/>
                  <a:gd name="connsiteY18" fmla="*/ 352425 h 352425"/>
                  <a:gd name="connsiteX19" fmla="*/ 107247 w 433626"/>
                  <a:gd name="connsiteY19" fmla="*/ 350044 h 352425"/>
                  <a:gd name="connsiteX20" fmla="*/ 121534 w 433626"/>
                  <a:gd name="connsiteY20" fmla="*/ 340519 h 352425"/>
                  <a:gd name="connsiteX21" fmla="*/ 126297 w 433626"/>
                  <a:gd name="connsiteY21" fmla="*/ 333375 h 352425"/>
                  <a:gd name="connsiteX22" fmla="*/ 131059 w 433626"/>
                  <a:gd name="connsiteY22" fmla="*/ 319088 h 352425"/>
                  <a:gd name="connsiteX23" fmla="*/ 145347 w 433626"/>
                  <a:gd name="connsiteY23" fmla="*/ 307181 h 352425"/>
                  <a:gd name="connsiteX24" fmla="*/ 154872 w 433626"/>
                  <a:gd name="connsiteY24" fmla="*/ 304800 h 352425"/>
                  <a:gd name="connsiteX25" fmla="*/ 278697 w 433626"/>
                  <a:gd name="connsiteY25" fmla="*/ 302419 h 352425"/>
                  <a:gd name="connsiteX26" fmla="*/ 281078 w 433626"/>
                  <a:gd name="connsiteY26" fmla="*/ 271463 h 352425"/>
                  <a:gd name="connsiteX27" fmla="*/ 292984 w 433626"/>
                  <a:gd name="connsiteY27" fmla="*/ 259556 h 352425"/>
                  <a:gd name="connsiteX28" fmla="*/ 300128 w 433626"/>
                  <a:gd name="connsiteY28" fmla="*/ 257175 h 352425"/>
                  <a:gd name="connsiteX29" fmla="*/ 316797 w 433626"/>
                  <a:gd name="connsiteY29" fmla="*/ 250031 h 352425"/>
                  <a:gd name="connsiteX30" fmla="*/ 331084 w 433626"/>
                  <a:gd name="connsiteY30" fmla="*/ 238125 h 352425"/>
                  <a:gd name="connsiteX31" fmla="*/ 338228 w 433626"/>
                  <a:gd name="connsiteY31" fmla="*/ 230981 h 352425"/>
                  <a:gd name="connsiteX32" fmla="*/ 352516 w 433626"/>
                  <a:gd name="connsiteY32" fmla="*/ 226219 h 352425"/>
                  <a:gd name="connsiteX33" fmla="*/ 359659 w 433626"/>
                  <a:gd name="connsiteY33" fmla="*/ 221456 h 352425"/>
                  <a:gd name="connsiteX34" fmla="*/ 369184 w 433626"/>
                  <a:gd name="connsiteY34" fmla="*/ 207169 h 352425"/>
                  <a:gd name="connsiteX35" fmla="*/ 373947 w 433626"/>
                  <a:gd name="connsiteY35" fmla="*/ 200025 h 352425"/>
                  <a:gd name="connsiteX36" fmla="*/ 378709 w 433626"/>
                  <a:gd name="connsiteY36" fmla="*/ 192881 h 352425"/>
                  <a:gd name="connsiteX37" fmla="*/ 388234 w 433626"/>
                  <a:gd name="connsiteY37" fmla="*/ 176213 h 352425"/>
                  <a:gd name="connsiteX38" fmla="*/ 392997 w 433626"/>
                  <a:gd name="connsiteY38" fmla="*/ 161925 h 352425"/>
                  <a:gd name="connsiteX39" fmla="*/ 388234 w 433626"/>
                  <a:gd name="connsiteY39" fmla="*/ 126206 h 352425"/>
                  <a:gd name="connsiteX40" fmla="*/ 385853 w 433626"/>
                  <a:gd name="connsiteY40" fmla="*/ 119063 h 352425"/>
                  <a:gd name="connsiteX41" fmla="*/ 388234 w 433626"/>
                  <a:gd name="connsiteY41" fmla="*/ 92869 h 352425"/>
                  <a:gd name="connsiteX42" fmla="*/ 390616 w 433626"/>
                  <a:gd name="connsiteY42" fmla="*/ 50006 h 352425"/>
                  <a:gd name="connsiteX43" fmla="*/ 414428 w 433626"/>
                  <a:gd name="connsiteY43" fmla="*/ 47625 h 352425"/>
                  <a:gd name="connsiteX44" fmla="*/ 428716 w 433626"/>
                  <a:gd name="connsiteY44" fmla="*/ 45244 h 352425"/>
                  <a:gd name="connsiteX45" fmla="*/ 433478 w 433626"/>
                  <a:gd name="connsiteY45" fmla="*/ 30956 h 352425"/>
                  <a:gd name="connsiteX46" fmla="*/ 428716 w 433626"/>
                  <a:gd name="connsiteY46" fmla="*/ 11906 h 352425"/>
                  <a:gd name="connsiteX47" fmla="*/ 414428 w 433626"/>
                  <a:gd name="connsiteY47" fmla="*/ 0 h 352425"/>
                  <a:gd name="connsiteX48" fmla="*/ 392997 w 433626"/>
                  <a:gd name="connsiteY48" fmla="*/ 2381 h 352425"/>
                  <a:gd name="connsiteX49" fmla="*/ 347753 w 433626"/>
                  <a:gd name="connsiteY49" fmla="*/ 4763 h 352425"/>
                  <a:gd name="connsiteX50" fmla="*/ 333466 w 433626"/>
                  <a:gd name="connsiteY50" fmla="*/ 9525 h 352425"/>
                  <a:gd name="connsiteX51" fmla="*/ 326322 w 433626"/>
                  <a:gd name="connsiteY51" fmla="*/ 11906 h 352425"/>
                  <a:gd name="connsiteX52" fmla="*/ 319178 w 433626"/>
                  <a:gd name="connsiteY52" fmla="*/ 14288 h 352425"/>
                  <a:gd name="connsiteX53" fmla="*/ 302509 w 433626"/>
                  <a:gd name="connsiteY53" fmla="*/ 19050 h 352425"/>
                  <a:gd name="connsiteX54" fmla="*/ 281078 w 433626"/>
                  <a:gd name="connsiteY54" fmla="*/ 33338 h 352425"/>
                  <a:gd name="connsiteX55" fmla="*/ 273934 w 433626"/>
                  <a:gd name="connsiteY55" fmla="*/ 38100 h 352425"/>
                  <a:gd name="connsiteX56" fmla="*/ 269172 w 433626"/>
                  <a:gd name="connsiteY56" fmla="*/ 52388 h 352425"/>
                  <a:gd name="connsiteX57" fmla="*/ 266791 w 433626"/>
                  <a:gd name="connsiteY57" fmla="*/ 61913 h 352425"/>
                  <a:gd name="connsiteX58" fmla="*/ 262028 w 433626"/>
                  <a:gd name="connsiteY58" fmla="*/ 76200 h 352425"/>
                  <a:gd name="connsiteX59" fmla="*/ 257266 w 433626"/>
                  <a:gd name="connsiteY59" fmla="*/ 95250 h 352425"/>
                  <a:gd name="connsiteX60" fmla="*/ 247741 w 433626"/>
                  <a:gd name="connsiteY60" fmla="*/ 109538 h 352425"/>
                  <a:gd name="connsiteX61" fmla="*/ 242978 w 433626"/>
                  <a:gd name="connsiteY61" fmla="*/ 116681 h 352425"/>
                  <a:gd name="connsiteX62" fmla="*/ 219166 w 433626"/>
                  <a:gd name="connsiteY62" fmla="*/ 121444 h 352425"/>
                  <a:gd name="connsiteX63" fmla="*/ 200116 w 433626"/>
                  <a:gd name="connsiteY63" fmla="*/ 116681 h 352425"/>
                  <a:gd name="connsiteX64" fmla="*/ 192972 w 433626"/>
                  <a:gd name="connsiteY64" fmla="*/ 111919 h 352425"/>
                  <a:gd name="connsiteX65" fmla="*/ 171541 w 433626"/>
                  <a:gd name="connsiteY65" fmla="*/ 114300 h 352425"/>
                  <a:gd name="connsiteX66" fmla="*/ 166778 w 433626"/>
                  <a:gd name="connsiteY66" fmla="*/ 121444 h 352425"/>
                  <a:gd name="connsiteX67" fmla="*/ 159634 w 433626"/>
                  <a:gd name="connsiteY67" fmla="*/ 123825 h 352425"/>
                  <a:gd name="connsiteX68" fmla="*/ 126297 w 433626"/>
                  <a:gd name="connsiteY68" fmla="*/ 97631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33626" h="352425">
                    <a:moveTo>
                      <a:pt x="126297" y="97631"/>
                    </a:moveTo>
                    <a:cubicBezTo>
                      <a:pt x="112803" y="103584"/>
                      <a:pt x="94408" y="138800"/>
                      <a:pt x="78672" y="159544"/>
                    </a:cubicBezTo>
                    <a:cubicBezTo>
                      <a:pt x="76942" y="161824"/>
                      <a:pt x="75189" y="164128"/>
                      <a:pt x="73909" y="166688"/>
                    </a:cubicBezTo>
                    <a:cubicBezTo>
                      <a:pt x="72787" y="168933"/>
                      <a:pt x="72322" y="171450"/>
                      <a:pt x="71528" y="173831"/>
                    </a:cubicBezTo>
                    <a:cubicBezTo>
                      <a:pt x="70937" y="177970"/>
                      <a:pt x="69963" y="191890"/>
                      <a:pt x="66766" y="197644"/>
                    </a:cubicBezTo>
                    <a:cubicBezTo>
                      <a:pt x="63986" y="202647"/>
                      <a:pt x="59051" y="206501"/>
                      <a:pt x="57241" y="211931"/>
                    </a:cubicBezTo>
                    <a:cubicBezTo>
                      <a:pt x="55653" y="216694"/>
                      <a:pt x="55263" y="222042"/>
                      <a:pt x="52478" y="226219"/>
                    </a:cubicBezTo>
                    <a:lnTo>
                      <a:pt x="42953" y="240506"/>
                    </a:lnTo>
                    <a:cubicBezTo>
                      <a:pt x="41366" y="242887"/>
                      <a:pt x="39096" y="244935"/>
                      <a:pt x="38191" y="247650"/>
                    </a:cubicBezTo>
                    <a:cubicBezTo>
                      <a:pt x="34730" y="258032"/>
                      <a:pt x="34955" y="261535"/>
                      <a:pt x="28666" y="269081"/>
                    </a:cubicBezTo>
                    <a:cubicBezTo>
                      <a:pt x="26510" y="271668"/>
                      <a:pt x="23678" y="273638"/>
                      <a:pt x="21522" y="276225"/>
                    </a:cubicBezTo>
                    <a:cubicBezTo>
                      <a:pt x="19690" y="278424"/>
                      <a:pt x="18783" y="281345"/>
                      <a:pt x="16759" y="283369"/>
                    </a:cubicBezTo>
                    <a:cubicBezTo>
                      <a:pt x="14736" y="285392"/>
                      <a:pt x="11814" y="286299"/>
                      <a:pt x="9616" y="288131"/>
                    </a:cubicBezTo>
                    <a:cubicBezTo>
                      <a:pt x="7029" y="290287"/>
                      <a:pt x="4853" y="292894"/>
                      <a:pt x="2472" y="295275"/>
                    </a:cubicBezTo>
                    <a:cubicBezTo>
                      <a:pt x="1678" y="297656"/>
                      <a:pt x="91" y="299909"/>
                      <a:pt x="91" y="302419"/>
                    </a:cubicBezTo>
                    <a:cubicBezTo>
                      <a:pt x="91" y="354622"/>
                      <a:pt x="-4565" y="337803"/>
                      <a:pt x="52478" y="340519"/>
                    </a:cubicBezTo>
                    <a:cubicBezTo>
                      <a:pt x="82202" y="347949"/>
                      <a:pt x="45274" y="338459"/>
                      <a:pt x="69147" y="345281"/>
                    </a:cubicBezTo>
                    <a:cubicBezTo>
                      <a:pt x="72294" y="346180"/>
                      <a:pt x="75537" y="346723"/>
                      <a:pt x="78672" y="347663"/>
                    </a:cubicBezTo>
                    <a:cubicBezTo>
                      <a:pt x="83480" y="349106"/>
                      <a:pt x="92959" y="352425"/>
                      <a:pt x="92959" y="352425"/>
                    </a:cubicBezTo>
                    <a:cubicBezTo>
                      <a:pt x="97722" y="351631"/>
                      <a:pt x="102790" y="351901"/>
                      <a:pt x="107247" y="350044"/>
                    </a:cubicBezTo>
                    <a:cubicBezTo>
                      <a:pt x="112530" y="347843"/>
                      <a:pt x="121534" y="340519"/>
                      <a:pt x="121534" y="340519"/>
                    </a:cubicBezTo>
                    <a:cubicBezTo>
                      <a:pt x="123122" y="338138"/>
                      <a:pt x="125135" y="335990"/>
                      <a:pt x="126297" y="333375"/>
                    </a:cubicBezTo>
                    <a:cubicBezTo>
                      <a:pt x="128336" y="328788"/>
                      <a:pt x="127509" y="322638"/>
                      <a:pt x="131059" y="319088"/>
                    </a:cubicBezTo>
                    <a:cubicBezTo>
                      <a:pt x="135350" y="314797"/>
                      <a:pt x="139546" y="309667"/>
                      <a:pt x="145347" y="307181"/>
                    </a:cubicBezTo>
                    <a:cubicBezTo>
                      <a:pt x="148355" y="305892"/>
                      <a:pt x="151601" y="304917"/>
                      <a:pt x="154872" y="304800"/>
                    </a:cubicBezTo>
                    <a:cubicBezTo>
                      <a:pt x="196128" y="303327"/>
                      <a:pt x="237422" y="303213"/>
                      <a:pt x="278697" y="302419"/>
                    </a:cubicBezTo>
                    <a:cubicBezTo>
                      <a:pt x="279491" y="292100"/>
                      <a:pt x="279171" y="281635"/>
                      <a:pt x="281078" y="271463"/>
                    </a:cubicBezTo>
                    <a:cubicBezTo>
                      <a:pt x="282063" y="266209"/>
                      <a:pt x="288825" y="261636"/>
                      <a:pt x="292984" y="259556"/>
                    </a:cubicBezTo>
                    <a:cubicBezTo>
                      <a:pt x="295229" y="258433"/>
                      <a:pt x="297821" y="258164"/>
                      <a:pt x="300128" y="257175"/>
                    </a:cubicBezTo>
                    <a:cubicBezTo>
                      <a:pt x="320739" y="248343"/>
                      <a:pt x="300034" y="255620"/>
                      <a:pt x="316797" y="250031"/>
                    </a:cubicBezTo>
                    <a:cubicBezTo>
                      <a:pt x="337678" y="229153"/>
                      <a:pt x="311185" y="254709"/>
                      <a:pt x="331084" y="238125"/>
                    </a:cubicBezTo>
                    <a:cubicBezTo>
                      <a:pt x="333671" y="235969"/>
                      <a:pt x="335284" y="232616"/>
                      <a:pt x="338228" y="230981"/>
                    </a:cubicBezTo>
                    <a:cubicBezTo>
                      <a:pt x="342617" y="228543"/>
                      <a:pt x="352516" y="226219"/>
                      <a:pt x="352516" y="226219"/>
                    </a:cubicBezTo>
                    <a:cubicBezTo>
                      <a:pt x="354897" y="224631"/>
                      <a:pt x="357775" y="223610"/>
                      <a:pt x="359659" y="221456"/>
                    </a:cubicBezTo>
                    <a:cubicBezTo>
                      <a:pt x="363428" y="217148"/>
                      <a:pt x="366009" y="211931"/>
                      <a:pt x="369184" y="207169"/>
                    </a:cubicBezTo>
                    <a:lnTo>
                      <a:pt x="373947" y="200025"/>
                    </a:lnTo>
                    <a:cubicBezTo>
                      <a:pt x="375534" y="197644"/>
                      <a:pt x="377804" y="195596"/>
                      <a:pt x="378709" y="192881"/>
                    </a:cubicBezTo>
                    <a:cubicBezTo>
                      <a:pt x="382346" y="181973"/>
                      <a:pt x="379585" y="187746"/>
                      <a:pt x="388234" y="176213"/>
                    </a:cubicBezTo>
                    <a:cubicBezTo>
                      <a:pt x="389822" y="171450"/>
                      <a:pt x="393620" y="166907"/>
                      <a:pt x="392997" y="161925"/>
                    </a:cubicBezTo>
                    <a:cubicBezTo>
                      <a:pt x="392415" y="157272"/>
                      <a:pt x="389332" y="131698"/>
                      <a:pt x="388234" y="126206"/>
                    </a:cubicBezTo>
                    <a:cubicBezTo>
                      <a:pt x="387742" y="123745"/>
                      <a:pt x="386647" y="121444"/>
                      <a:pt x="385853" y="119063"/>
                    </a:cubicBezTo>
                    <a:cubicBezTo>
                      <a:pt x="386647" y="110332"/>
                      <a:pt x="387631" y="101616"/>
                      <a:pt x="388234" y="92869"/>
                    </a:cubicBezTo>
                    <a:cubicBezTo>
                      <a:pt x="389219" y="78593"/>
                      <a:pt x="383446" y="62390"/>
                      <a:pt x="390616" y="50006"/>
                    </a:cubicBezTo>
                    <a:cubicBezTo>
                      <a:pt x="394613" y="43103"/>
                      <a:pt x="406513" y="48614"/>
                      <a:pt x="414428" y="47625"/>
                    </a:cubicBezTo>
                    <a:cubicBezTo>
                      <a:pt x="419219" y="47026"/>
                      <a:pt x="423953" y="46038"/>
                      <a:pt x="428716" y="45244"/>
                    </a:cubicBezTo>
                    <a:cubicBezTo>
                      <a:pt x="430303" y="40481"/>
                      <a:pt x="434462" y="35879"/>
                      <a:pt x="433478" y="30956"/>
                    </a:cubicBezTo>
                    <a:cubicBezTo>
                      <a:pt x="433135" y="29240"/>
                      <a:pt x="430808" y="15043"/>
                      <a:pt x="428716" y="11906"/>
                    </a:cubicBezTo>
                    <a:cubicBezTo>
                      <a:pt x="425050" y="6408"/>
                      <a:pt x="419697" y="3513"/>
                      <a:pt x="414428" y="0"/>
                    </a:cubicBezTo>
                    <a:cubicBezTo>
                      <a:pt x="407284" y="794"/>
                      <a:pt x="400166" y="1869"/>
                      <a:pt x="392997" y="2381"/>
                    </a:cubicBezTo>
                    <a:cubicBezTo>
                      <a:pt x="377933" y="3457"/>
                      <a:pt x="362748" y="2964"/>
                      <a:pt x="347753" y="4763"/>
                    </a:cubicBezTo>
                    <a:cubicBezTo>
                      <a:pt x="342769" y="5361"/>
                      <a:pt x="338228" y="7938"/>
                      <a:pt x="333466" y="9525"/>
                    </a:cubicBezTo>
                    <a:lnTo>
                      <a:pt x="326322" y="11906"/>
                    </a:lnTo>
                    <a:cubicBezTo>
                      <a:pt x="323941" y="12700"/>
                      <a:pt x="321613" y="13679"/>
                      <a:pt x="319178" y="14288"/>
                    </a:cubicBezTo>
                    <a:cubicBezTo>
                      <a:pt x="307218" y="17278"/>
                      <a:pt x="312758" y="15634"/>
                      <a:pt x="302509" y="19050"/>
                    </a:cubicBezTo>
                    <a:lnTo>
                      <a:pt x="281078" y="33338"/>
                    </a:lnTo>
                    <a:lnTo>
                      <a:pt x="273934" y="38100"/>
                    </a:lnTo>
                    <a:cubicBezTo>
                      <a:pt x="272347" y="42863"/>
                      <a:pt x="270389" y="47518"/>
                      <a:pt x="269172" y="52388"/>
                    </a:cubicBezTo>
                    <a:cubicBezTo>
                      <a:pt x="268378" y="55563"/>
                      <a:pt x="267731" y="58778"/>
                      <a:pt x="266791" y="61913"/>
                    </a:cubicBezTo>
                    <a:cubicBezTo>
                      <a:pt x="265348" y="66721"/>
                      <a:pt x="263012" y="71277"/>
                      <a:pt x="262028" y="76200"/>
                    </a:cubicBezTo>
                    <a:cubicBezTo>
                      <a:pt x="261369" y="79498"/>
                      <a:pt x="259554" y="91132"/>
                      <a:pt x="257266" y="95250"/>
                    </a:cubicBezTo>
                    <a:cubicBezTo>
                      <a:pt x="254486" y="100254"/>
                      <a:pt x="250916" y="104775"/>
                      <a:pt x="247741" y="109538"/>
                    </a:cubicBezTo>
                    <a:cubicBezTo>
                      <a:pt x="246154" y="111919"/>
                      <a:pt x="245693" y="115776"/>
                      <a:pt x="242978" y="116681"/>
                    </a:cubicBezTo>
                    <a:cubicBezTo>
                      <a:pt x="230510" y="120838"/>
                      <a:pt x="238319" y="118708"/>
                      <a:pt x="219166" y="121444"/>
                    </a:cubicBezTo>
                    <a:cubicBezTo>
                      <a:pt x="214629" y="120537"/>
                      <a:pt x="205002" y="119124"/>
                      <a:pt x="200116" y="116681"/>
                    </a:cubicBezTo>
                    <a:cubicBezTo>
                      <a:pt x="197556" y="115401"/>
                      <a:pt x="195353" y="113506"/>
                      <a:pt x="192972" y="111919"/>
                    </a:cubicBezTo>
                    <a:cubicBezTo>
                      <a:pt x="185828" y="112713"/>
                      <a:pt x="178296" y="111844"/>
                      <a:pt x="171541" y="114300"/>
                    </a:cubicBezTo>
                    <a:cubicBezTo>
                      <a:pt x="168851" y="115278"/>
                      <a:pt x="169013" y="119656"/>
                      <a:pt x="166778" y="121444"/>
                    </a:cubicBezTo>
                    <a:cubicBezTo>
                      <a:pt x="164818" y="123012"/>
                      <a:pt x="162048" y="123135"/>
                      <a:pt x="159634" y="123825"/>
                    </a:cubicBezTo>
                    <a:cubicBezTo>
                      <a:pt x="149952" y="126591"/>
                      <a:pt x="139791" y="91678"/>
                      <a:pt x="126297" y="9763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7" name="Freeform 216"/>
              <p:cNvSpPr/>
              <p:nvPr/>
            </p:nvSpPr>
            <p:spPr>
              <a:xfrm>
                <a:off x="7532573" y="5419249"/>
                <a:ext cx="130969" cy="82118"/>
              </a:xfrm>
              <a:custGeom>
                <a:avLst/>
                <a:gdLst>
                  <a:gd name="connsiteX0" fmla="*/ 83344 w 130969"/>
                  <a:gd name="connsiteY0" fmla="*/ 1156 h 82118"/>
                  <a:gd name="connsiteX1" fmla="*/ 54769 w 130969"/>
                  <a:gd name="connsiteY1" fmla="*/ 5918 h 82118"/>
                  <a:gd name="connsiteX2" fmla="*/ 50007 w 130969"/>
                  <a:gd name="connsiteY2" fmla="*/ 13062 h 82118"/>
                  <a:gd name="connsiteX3" fmla="*/ 45244 w 130969"/>
                  <a:gd name="connsiteY3" fmla="*/ 27349 h 82118"/>
                  <a:gd name="connsiteX4" fmla="*/ 30957 w 130969"/>
                  <a:gd name="connsiteY4" fmla="*/ 36874 h 82118"/>
                  <a:gd name="connsiteX5" fmla="*/ 23813 w 130969"/>
                  <a:gd name="connsiteY5" fmla="*/ 41637 h 82118"/>
                  <a:gd name="connsiteX6" fmla="*/ 16669 w 130969"/>
                  <a:gd name="connsiteY6" fmla="*/ 48781 h 82118"/>
                  <a:gd name="connsiteX7" fmla="*/ 2382 w 130969"/>
                  <a:gd name="connsiteY7" fmla="*/ 53543 h 82118"/>
                  <a:gd name="connsiteX8" fmla="*/ 0 w 130969"/>
                  <a:gd name="connsiteY8" fmla="*/ 60687 h 82118"/>
                  <a:gd name="connsiteX9" fmla="*/ 2382 w 130969"/>
                  <a:gd name="connsiteY9" fmla="*/ 67831 h 82118"/>
                  <a:gd name="connsiteX10" fmla="*/ 7144 w 130969"/>
                  <a:gd name="connsiteY10" fmla="*/ 74974 h 82118"/>
                  <a:gd name="connsiteX11" fmla="*/ 23813 w 130969"/>
                  <a:gd name="connsiteY11" fmla="*/ 82118 h 82118"/>
                  <a:gd name="connsiteX12" fmla="*/ 33338 w 130969"/>
                  <a:gd name="connsiteY12" fmla="*/ 79737 h 82118"/>
                  <a:gd name="connsiteX13" fmla="*/ 40482 w 130969"/>
                  <a:gd name="connsiteY13" fmla="*/ 74974 h 82118"/>
                  <a:gd name="connsiteX14" fmla="*/ 47625 w 130969"/>
                  <a:gd name="connsiteY14" fmla="*/ 72593 h 82118"/>
                  <a:gd name="connsiteX15" fmla="*/ 73819 w 130969"/>
                  <a:gd name="connsiteY15" fmla="*/ 74974 h 82118"/>
                  <a:gd name="connsiteX16" fmla="*/ 90488 w 130969"/>
                  <a:gd name="connsiteY16" fmla="*/ 79737 h 82118"/>
                  <a:gd name="connsiteX17" fmla="*/ 116682 w 130969"/>
                  <a:gd name="connsiteY17" fmla="*/ 72593 h 82118"/>
                  <a:gd name="connsiteX18" fmla="*/ 121444 w 130969"/>
                  <a:gd name="connsiteY18" fmla="*/ 58306 h 82118"/>
                  <a:gd name="connsiteX19" fmla="*/ 123825 w 130969"/>
                  <a:gd name="connsiteY19" fmla="*/ 34493 h 82118"/>
                  <a:gd name="connsiteX20" fmla="*/ 128588 w 130969"/>
                  <a:gd name="connsiteY20" fmla="*/ 20206 h 82118"/>
                  <a:gd name="connsiteX21" fmla="*/ 130969 w 130969"/>
                  <a:gd name="connsiteY21" fmla="*/ 13062 h 82118"/>
                  <a:gd name="connsiteX22" fmla="*/ 83344 w 130969"/>
                  <a:gd name="connsiteY22" fmla="*/ 1156 h 8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0969" h="82118">
                    <a:moveTo>
                      <a:pt x="83344" y="1156"/>
                    </a:moveTo>
                    <a:cubicBezTo>
                      <a:pt x="70644" y="-35"/>
                      <a:pt x="60125" y="-2117"/>
                      <a:pt x="54769" y="5918"/>
                    </a:cubicBezTo>
                    <a:cubicBezTo>
                      <a:pt x="53182" y="8299"/>
                      <a:pt x="51169" y="10447"/>
                      <a:pt x="50007" y="13062"/>
                    </a:cubicBezTo>
                    <a:cubicBezTo>
                      <a:pt x="47968" y="17649"/>
                      <a:pt x="49421" y="24564"/>
                      <a:pt x="45244" y="27349"/>
                    </a:cubicBezTo>
                    <a:lnTo>
                      <a:pt x="30957" y="36874"/>
                    </a:lnTo>
                    <a:cubicBezTo>
                      <a:pt x="28576" y="38462"/>
                      <a:pt x="25837" y="39613"/>
                      <a:pt x="23813" y="41637"/>
                    </a:cubicBezTo>
                    <a:cubicBezTo>
                      <a:pt x="21432" y="44018"/>
                      <a:pt x="19613" y="47146"/>
                      <a:pt x="16669" y="48781"/>
                    </a:cubicBezTo>
                    <a:cubicBezTo>
                      <a:pt x="12281" y="51219"/>
                      <a:pt x="2382" y="53543"/>
                      <a:pt x="2382" y="53543"/>
                    </a:cubicBezTo>
                    <a:cubicBezTo>
                      <a:pt x="1588" y="55924"/>
                      <a:pt x="0" y="58177"/>
                      <a:pt x="0" y="60687"/>
                    </a:cubicBezTo>
                    <a:cubicBezTo>
                      <a:pt x="0" y="63197"/>
                      <a:pt x="1259" y="65586"/>
                      <a:pt x="2382" y="67831"/>
                    </a:cubicBezTo>
                    <a:cubicBezTo>
                      <a:pt x="3662" y="70390"/>
                      <a:pt x="4946" y="73142"/>
                      <a:pt x="7144" y="74974"/>
                    </a:cubicBezTo>
                    <a:cubicBezTo>
                      <a:pt x="11069" y="78245"/>
                      <a:pt x="18848" y="80463"/>
                      <a:pt x="23813" y="82118"/>
                    </a:cubicBezTo>
                    <a:cubicBezTo>
                      <a:pt x="26988" y="81324"/>
                      <a:pt x="30330" y="81026"/>
                      <a:pt x="33338" y="79737"/>
                    </a:cubicBezTo>
                    <a:cubicBezTo>
                      <a:pt x="35969" y="78610"/>
                      <a:pt x="37922" y="76254"/>
                      <a:pt x="40482" y="74974"/>
                    </a:cubicBezTo>
                    <a:cubicBezTo>
                      <a:pt x="42727" y="73852"/>
                      <a:pt x="45244" y="73387"/>
                      <a:pt x="47625" y="72593"/>
                    </a:cubicBezTo>
                    <a:cubicBezTo>
                      <a:pt x="56356" y="73387"/>
                      <a:pt x="65129" y="73815"/>
                      <a:pt x="73819" y="74974"/>
                    </a:cubicBezTo>
                    <a:cubicBezTo>
                      <a:pt x="78796" y="75638"/>
                      <a:pt x="85595" y="78106"/>
                      <a:pt x="90488" y="79737"/>
                    </a:cubicBezTo>
                    <a:cubicBezTo>
                      <a:pt x="94738" y="79206"/>
                      <a:pt x="112103" y="79920"/>
                      <a:pt x="116682" y="72593"/>
                    </a:cubicBezTo>
                    <a:cubicBezTo>
                      <a:pt x="119343" y="68336"/>
                      <a:pt x="121444" y="58306"/>
                      <a:pt x="121444" y="58306"/>
                    </a:cubicBezTo>
                    <a:cubicBezTo>
                      <a:pt x="122238" y="50368"/>
                      <a:pt x="122355" y="42334"/>
                      <a:pt x="123825" y="34493"/>
                    </a:cubicBezTo>
                    <a:cubicBezTo>
                      <a:pt x="124750" y="29559"/>
                      <a:pt x="127000" y="24968"/>
                      <a:pt x="128588" y="20206"/>
                    </a:cubicBezTo>
                    <a:lnTo>
                      <a:pt x="130969" y="13062"/>
                    </a:lnTo>
                    <a:cubicBezTo>
                      <a:pt x="128203" y="1997"/>
                      <a:pt x="96044" y="2347"/>
                      <a:pt x="83344" y="115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8" name="Freeform 217"/>
              <p:cNvSpPr/>
              <p:nvPr/>
            </p:nvSpPr>
            <p:spPr>
              <a:xfrm>
                <a:off x="7756411" y="5198948"/>
                <a:ext cx="602456" cy="314325"/>
              </a:xfrm>
              <a:custGeom>
                <a:avLst/>
                <a:gdLst>
                  <a:gd name="connsiteX0" fmla="*/ 373856 w 602456"/>
                  <a:gd name="connsiteY0" fmla="*/ 42863 h 314325"/>
                  <a:gd name="connsiteX1" fmla="*/ 304800 w 602456"/>
                  <a:gd name="connsiteY1" fmla="*/ 42863 h 314325"/>
                  <a:gd name="connsiteX2" fmla="*/ 297656 w 602456"/>
                  <a:gd name="connsiteY2" fmla="*/ 47625 h 314325"/>
                  <a:gd name="connsiteX3" fmla="*/ 283369 w 602456"/>
                  <a:gd name="connsiteY3" fmla="*/ 52388 h 314325"/>
                  <a:gd name="connsiteX4" fmla="*/ 276225 w 602456"/>
                  <a:gd name="connsiteY4" fmla="*/ 54769 h 314325"/>
                  <a:gd name="connsiteX5" fmla="*/ 269081 w 602456"/>
                  <a:gd name="connsiteY5" fmla="*/ 57150 h 314325"/>
                  <a:gd name="connsiteX6" fmla="*/ 226219 w 602456"/>
                  <a:gd name="connsiteY6" fmla="*/ 61913 h 314325"/>
                  <a:gd name="connsiteX7" fmla="*/ 197644 w 602456"/>
                  <a:gd name="connsiteY7" fmla="*/ 66675 h 314325"/>
                  <a:gd name="connsiteX8" fmla="*/ 185737 w 602456"/>
                  <a:gd name="connsiteY8" fmla="*/ 69057 h 314325"/>
                  <a:gd name="connsiteX9" fmla="*/ 171450 w 602456"/>
                  <a:gd name="connsiteY9" fmla="*/ 73819 h 314325"/>
                  <a:gd name="connsiteX10" fmla="*/ 164306 w 602456"/>
                  <a:gd name="connsiteY10" fmla="*/ 76200 h 314325"/>
                  <a:gd name="connsiteX11" fmla="*/ 154781 w 602456"/>
                  <a:gd name="connsiteY11" fmla="*/ 78582 h 314325"/>
                  <a:gd name="connsiteX12" fmla="*/ 142875 w 602456"/>
                  <a:gd name="connsiteY12" fmla="*/ 80963 h 314325"/>
                  <a:gd name="connsiteX13" fmla="*/ 128587 w 602456"/>
                  <a:gd name="connsiteY13" fmla="*/ 85725 h 314325"/>
                  <a:gd name="connsiteX14" fmla="*/ 104775 w 602456"/>
                  <a:gd name="connsiteY14" fmla="*/ 88107 h 314325"/>
                  <a:gd name="connsiteX15" fmla="*/ 83344 w 602456"/>
                  <a:gd name="connsiteY15" fmla="*/ 95250 h 314325"/>
                  <a:gd name="connsiteX16" fmla="*/ 76200 w 602456"/>
                  <a:gd name="connsiteY16" fmla="*/ 97632 h 314325"/>
                  <a:gd name="connsiteX17" fmla="*/ 64294 w 602456"/>
                  <a:gd name="connsiteY17" fmla="*/ 104775 h 314325"/>
                  <a:gd name="connsiteX18" fmla="*/ 57150 w 602456"/>
                  <a:gd name="connsiteY18" fmla="*/ 109538 h 314325"/>
                  <a:gd name="connsiteX19" fmla="*/ 50006 w 602456"/>
                  <a:gd name="connsiteY19" fmla="*/ 111919 h 314325"/>
                  <a:gd name="connsiteX20" fmla="*/ 42862 w 602456"/>
                  <a:gd name="connsiteY20" fmla="*/ 116682 h 314325"/>
                  <a:gd name="connsiteX21" fmla="*/ 23812 w 602456"/>
                  <a:gd name="connsiteY21" fmla="*/ 126207 h 314325"/>
                  <a:gd name="connsiteX22" fmla="*/ 19050 w 602456"/>
                  <a:gd name="connsiteY22" fmla="*/ 133350 h 314325"/>
                  <a:gd name="connsiteX23" fmla="*/ 14287 w 602456"/>
                  <a:gd name="connsiteY23" fmla="*/ 147638 h 314325"/>
                  <a:gd name="connsiteX24" fmla="*/ 0 w 602456"/>
                  <a:gd name="connsiteY24" fmla="*/ 161925 h 314325"/>
                  <a:gd name="connsiteX25" fmla="*/ 2381 w 602456"/>
                  <a:gd name="connsiteY25" fmla="*/ 171450 h 314325"/>
                  <a:gd name="connsiteX26" fmla="*/ 33337 w 602456"/>
                  <a:gd name="connsiteY26" fmla="*/ 178594 h 314325"/>
                  <a:gd name="connsiteX27" fmla="*/ 50006 w 602456"/>
                  <a:gd name="connsiteY27" fmla="*/ 180975 h 314325"/>
                  <a:gd name="connsiteX28" fmla="*/ 64294 w 602456"/>
                  <a:gd name="connsiteY28" fmla="*/ 185738 h 314325"/>
                  <a:gd name="connsiteX29" fmla="*/ 73819 w 602456"/>
                  <a:gd name="connsiteY29" fmla="*/ 200025 h 314325"/>
                  <a:gd name="connsiteX30" fmla="*/ 71437 w 602456"/>
                  <a:gd name="connsiteY30" fmla="*/ 214313 h 314325"/>
                  <a:gd name="connsiteX31" fmla="*/ 64294 w 602456"/>
                  <a:gd name="connsiteY31" fmla="*/ 221457 h 314325"/>
                  <a:gd name="connsiteX32" fmla="*/ 30956 w 602456"/>
                  <a:gd name="connsiteY32" fmla="*/ 233363 h 314325"/>
                  <a:gd name="connsiteX33" fmla="*/ 26194 w 602456"/>
                  <a:gd name="connsiteY33" fmla="*/ 285750 h 314325"/>
                  <a:gd name="connsiteX34" fmla="*/ 28575 w 602456"/>
                  <a:gd name="connsiteY34" fmla="*/ 302419 h 314325"/>
                  <a:gd name="connsiteX35" fmla="*/ 50006 w 602456"/>
                  <a:gd name="connsiteY35" fmla="*/ 314325 h 314325"/>
                  <a:gd name="connsiteX36" fmla="*/ 57150 w 602456"/>
                  <a:gd name="connsiteY36" fmla="*/ 311944 h 314325"/>
                  <a:gd name="connsiteX37" fmla="*/ 61912 w 602456"/>
                  <a:gd name="connsiteY37" fmla="*/ 304800 h 314325"/>
                  <a:gd name="connsiteX38" fmla="*/ 69056 w 602456"/>
                  <a:gd name="connsiteY38" fmla="*/ 297657 h 314325"/>
                  <a:gd name="connsiteX39" fmla="*/ 78581 w 602456"/>
                  <a:gd name="connsiteY39" fmla="*/ 283369 h 314325"/>
                  <a:gd name="connsiteX40" fmla="*/ 85725 w 602456"/>
                  <a:gd name="connsiteY40" fmla="*/ 280988 h 314325"/>
                  <a:gd name="connsiteX41" fmla="*/ 92869 w 602456"/>
                  <a:gd name="connsiteY41" fmla="*/ 276225 h 314325"/>
                  <a:gd name="connsiteX42" fmla="*/ 100012 w 602456"/>
                  <a:gd name="connsiteY42" fmla="*/ 273844 h 314325"/>
                  <a:gd name="connsiteX43" fmla="*/ 111919 w 602456"/>
                  <a:gd name="connsiteY43" fmla="*/ 259557 h 314325"/>
                  <a:gd name="connsiteX44" fmla="*/ 119062 w 602456"/>
                  <a:gd name="connsiteY44" fmla="*/ 254794 h 314325"/>
                  <a:gd name="connsiteX45" fmla="*/ 123825 w 602456"/>
                  <a:gd name="connsiteY45" fmla="*/ 247650 h 314325"/>
                  <a:gd name="connsiteX46" fmla="*/ 130969 w 602456"/>
                  <a:gd name="connsiteY46" fmla="*/ 245269 h 314325"/>
                  <a:gd name="connsiteX47" fmla="*/ 200025 w 602456"/>
                  <a:gd name="connsiteY47" fmla="*/ 242888 h 314325"/>
                  <a:gd name="connsiteX48" fmla="*/ 207169 w 602456"/>
                  <a:gd name="connsiteY48" fmla="*/ 240507 h 314325"/>
                  <a:gd name="connsiteX49" fmla="*/ 228600 w 602456"/>
                  <a:gd name="connsiteY49" fmla="*/ 230982 h 314325"/>
                  <a:gd name="connsiteX50" fmla="*/ 242887 w 602456"/>
                  <a:gd name="connsiteY50" fmla="*/ 228600 h 314325"/>
                  <a:gd name="connsiteX51" fmla="*/ 250031 w 602456"/>
                  <a:gd name="connsiteY51" fmla="*/ 226219 h 314325"/>
                  <a:gd name="connsiteX52" fmla="*/ 288131 w 602456"/>
                  <a:gd name="connsiteY52" fmla="*/ 221457 h 314325"/>
                  <a:gd name="connsiteX53" fmla="*/ 295275 w 602456"/>
                  <a:gd name="connsiteY53" fmla="*/ 216694 h 314325"/>
                  <a:gd name="connsiteX54" fmla="*/ 297656 w 602456"/>
                  <a:gd name="connsiteY54" fmla="*/ 209550 h 314325"/>
                  <a:gd name="connsiteX55" fmla="*/ 304800 w 602456"/>
                  <a:gd name="connsiteY55" fmla="*/ 202407 h 314325"/>
                  <a:gd name="connsiteX56" fmla="*/ 316706 w 602456"/>
                  <a:gd name="connsiteY56" fmla="*/ 180975 h 314325"/>
                  <a:gd name="connsiteX57" fmla="*/ 330994 w 602456"/>
                  <a:gd name="connsiteY57" fmla="*/ 176213 h 314325"/>
                  <a:gd name="connsiteX58" fmla="*/ 385762 w 602456"/>
                  <a:gd name="connsiteY58" fmla="*/ 171450 h 314325"/>
                  <a:gd name="connsiteX59" fmla="*/ 402431 w 602456"/>
                  <a:gd name="connsiteY59" fmla="*/ 164307 h 314325"/>
                  <a:gd name="connsiteX60" fmla="*/ 416719 w 602456"/>
                  <a:gd name="connsiteY60" fmla="*/ 157163 h 314325"/>
                  <a:gd name="connsiteX61" fmla="*/ 423862 w 602456"/>
                  <a:gd name="connsiteY61" fmla="*/ 150019 h 314325"/>
                  <a:gd name="connsiteX62" fmla="*/ 433387 w 602456"/>
                  <a:gd name="connsiteY62" fmla="*/ 135732 h 314325"/>
                  <a:gd name="connsiteX63" fmla="*/ 445294 w 602456"/>
                  <a:gd name="connsiteY63" fmla="*/ 133350 h 314325"/>
                  <a:gd name="connsiteX64" fmla="*/ 502444 w 602456"/>
                  <a:gd name="connsiteY64" fmla="*/ 128588 h 314325"/>
                  <a:gd name="connsiteX65" fmla="*/ 516731 w 602456"/>
                  <a:gd name="connsiteY65" fmla="*/ 123825 h 314325"/>
                  <a:gd name="connsiteX66" fmla="*/ 533400 w 602456"/>
                  <a:gd name="connsiteY66" fmla="*/ 102394 h 314325"/>
                  <a:gd name="connsiteX67" fmla="*/ 545306 w 602456"/>
                  <a:gd name="connsiteY67" fmla="*/ 100013 h 314325"/>
                  <a:gd name="connsiteX68" fmla="*/ 552450 w 602456"/>
                  <a:gd name="connsiteY68" fmla="*/ 97632 h 314325"/>
                  <a:gd name="connsiteX69" fmla="*/ 566737 w 602456"/>
                  <a:gd name="connsiteY69" fmla="*/ 88107 h 314325"/>
                  <a:gd name="connsiteX70" fmla="*/ 588169 w 602456"/>
                  <a:gd name="connsiteY70" fmla="*/ 69057 h 314325"/>
                  <a:gd name="connsiteX71" fmla="*/ 592931 w 602456"/>
                  <a:gd name="connsiteY71" fmla="*/ 61913 h 314325"/>
                  <a:gd name="connsiteX72" fmla="*/ 597694 w 602456"/>
                  <a:gd name="connsiteY72" fmla="*/ 47625 h 314325"/>
                  <a:gd name="connsiteX73" fmla="*/ 602456 w 602456"/>
                  <a:gd name="connsiteY73" fmla="*/ 28575 h 314325"/>
                  <a:gd name="connsiteX74" fmla="*/ 600075 w 602456"/>
                  <a:gd name="connsiteY74" fmla="*/ 21432 h 314325"/>
                  <a:gd name="connsiteX75" fmla="*/ 592931 w 602456"/>
                  <a:gd name="connsiteY75" fmla="*/ 19050 h 314325"/>
                  <a:gd name="connsiteX76" fmla="*/ 554831 w 602456"/>
                  <a:gd name="connsiteY76" fmla="*/ 16669 h 314325"/>
                  <a:gd name="connsiteX77" fmla="*/ 547687 w 602456"/>
                  <a:gd name="connsiteY77" fmla="*/ 14288 h 314325"/>
                  <a:gd name="connsiteX78" fmla="*/ 531019 w 602456"/>
                  <a:gd name="connsiteY78" fmla="*/ 4763 h 314325"/>
                  <a:gd name="connsiteX79" fmla="*/ 516731 w 602456"/>
                  <a:gd name="connsiteY79" fmla="*/ 0 h 314325"/>
                  <a:gd name="connsiteX80" fmla="*/ 485775 w 602456"/>
                  <a:gd name="connsiteY80" fmla="*/ 7144 h 314325"/>
                  <a:gd name="connsiteX81" fmla="*/ 478631 w 602456"/>
                  <a:gd name="connsiteY81" fmla="*/ 14288 h 314325"/>
                  <a:gd name="connsiteX82" fmla="*/ 473869 w 602456"/>
                  <a:gd name="connsiteY82" fmla="*/ 28575 h 314325"/>
                  <a:gd name="connsiteX83" fmla="*/ 466725 w 602456"/>
                  <a:gd name="connsiteY83" fmla="*/ 33338 h 314325"/>
                  <a:gd name="connsiteX84" fmla="*/ 433387 w 602456"/>
                  <a:gd name="connsiteY84" fmla="*/ 38100 h 314325"/>
                  <a:gd name="connsiteX85" fmla="*/ 421481 w 602456"/>
                  <a:gd name="connsiteY85" fmla="*/ 59532 h 314325"/>
                  <a:gd name="connsiteX86" fmla="*/ 414337 w 602456"/>
                  <a:gd name="connsiteY86" fmla="*/ 64294 h 314325"/>
                  <a:gd name="connsiteX87" fmla="*/ 397669 w 602456"/>
                  <a:gd name="connsiteY87" fmla="*/ 61913 h 314325"/>
                  <a:gd name="connsiteX88" fmla="*/ 390525 w 602456"/>
                  <a:gd name="connsiteY88" fmla="*/ 59532 h 314325"/>
                  <a:gd name="connsiteX89" fmla="*/ 388144 w 602456"/>
                  <a:gd name="connsiteY89" fmla="*/ 52388 h 314325"/>
                  <a:gd name="connsiteX90" fmla="*/ 383381 w 602456"/>
                  <a:gd name="connsiteY90" fmla="*/ 45244 h 314325"/>
                  <a:gd name="connsiteX91" fmla="*/ 373856 w 602456"/>
                  <a:gd name="connsiteY91" fmla="*/ 4286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2456" h="314325">
                    <a:moveTo>
                      <a:pt x="373856" y="42863"/>
                    </a:moveTo>
                    <a:cubicBezTo>
                      <a:pt x="360759" y="42466"/>
                      <a:pt x="352335" y="37582"/>
                      <a:pt x="304800" y="42863"/>
                    </a:cubicBezTo>
                    <a:cubicBezTo>
                      <a:pt x="301956" y="43179"/>
                      <a:pt x="300271" y="46463"/>
                      <a:pt x="297656" y="47625"/>
                    </a:cubicBezTo>
                    <a:cubicBezTo>
                      <a:pt x="293069" y="49664"/>
                      <a:pt x="288131" y="50800"/>
                      <a:pt x="283369" y="52388"/>
                    </a:cubicBezTo>
                    <a:lnTo>
                      <a:pt x="276225" y="54769"/>
                    </a:lnTo>
                    <a:cubicBezTo>
                      <a:pt x="273844" y="55563"/>
                      <a:pt x="271557" y="56737"/>
                      <a:pt x="269081" y="57150"/>
                    </a:cubicBezTo>
                    <a:cubicBezTo>
                      <a:pt x="228532" y="63911"/>
                      <a:pt x="292931" y="53575"/>
                      <a:pt x="226219" y="61913"/>
                    </a:cubicBezTo>
                    <a:cubicBezTo>
                      <a:pt x="216637" y="63111"/>
                      <a:pt x="207113" y="64781"/>
                      <a:pt x="197644" y="66675"/>
                    </a:cubicBezTo>
                    <a:cubicBezTo>
                      <a:pt x="193675" y="67469"/>
                      <a:pt x="189642" y="67992"/>
                      <a:pt x="185737" y="69057"/>
                    </a:cubicBezTo>
                    <a:cubicBezTo>
                      <a:pt x="180894" y="70378"/>
                      <a:pt x="176212" y="72232"/>
                      <a:pt x="171450" y="73819"/>
                    </a:cubicBezTo>
                    <a:cubicBezTo>
                      <a:pt x="169069" y="74613"/>
                      <a:pt x="166741" y="75591"/>
                      <a:pt x="164306" y="76200"/>
                    </a:cubicBezTo>
                    <a:cubicBezTo>
                      <a:pt x="161131" y="76994"/>
                      <a:pt x="157976" y="77872"/>
                      <a:pt x="154781" y="78582"/>
                    </a:cubicBezTo>
                    <a:cubicBezTo>
                      <a:pt x="150830" y="79460"/>
                      <a:pt x="146780" y="79898"/>
                      <a:pt x="142875" y="80963"/>
                    </a:cubicBezTo>
                    <a:cubicBezTo>
                      <a:pt x="138032" y="82284"/>
                      <a:pt x="133582" y="85225"/>
                      <a:pt x="128587" y="85725"/>
                    </a:cubicBezTo>
                    <a:lnTo>
                      <a:pt x="104775" y="88107"/>
                    </a:lnTo>
                    <a:lnTo>
                      <a:pt x="83344" y="95250"/>
                    </a:lnTo>
                    <a:cubicBezTo>
                      <a:pt x="80963" y="96044"/>
                      <a:pt x="78353" y="96341"/>
                      <a:pt x="76200" y="97632"/>
                    </a:cubicBezTo>
                    <a:cubicBezTo>
                      <a:pt x="72231" y="100013"/>
                      <a:pt x="68219" y="102322"/>
                      <a:pt x="64294" y="104775"/>
                    </a:cubicBezTo>
                    <a:cubicBezTo>
                      <a:pt x="61867" y="106292"/>
                      <a:pt x="59710" y="108258"/>
                      <a:pt x="57150" y="109538"/>
                    </a:cubicBezTo>
                    <a:cubicBezTo>
                      <a:pt x="54905" y="110661"/>
                      <a:pt x="52387" y="111125"/>
                      <a:pt x="50006" y="111919"/>
                    </a:cubicBezTo>
                    <a:cubicBezTo>
                      <a:pt x="47625" y="113507"/>
                      <a:pt x="45422" y="115402"/>
                      <a:pt x="42862" y="116682"/>
                    </a:cubicBezTo>
                    <a:cubicBezTo>
                      <a:pt x="19560" y="128333"/>
                      <a:pt x="40364" y="115172"/>
                      <a:pt x="23812" y="126207"/>
                    </a:cubicBezTo>
                    <a:cubicBezTo>
                      <a:pt x="22225" y="128588"/>
                      <a:pt x="20212" y="130735"/>
                      <a:pt x="19050" y="133350"/>
                    </a:cubicBezTo>
                    <a:cubicBezTo>
                      <a:pt x="17011" y="137938"/>
                      <a:pt x="17837" y="144088"/>
                      <a:pt x="14287" y="147638"/>
                    </a:cubicBezTo>
                    <a:lnTo>
                      <a:pt x="0" y="161925"/>
                    </a:lnTo>
                    <a:cubicBezTo>
                      <a:pt x="794" y="165100"/>
                      <a:pt x="566" y="168727"/>
                      <a:pt x="2381" y="171450"/>
                    </a:cubicBezTo>
                    <a:cubicBezTo>
                      <a:pt x="7977" y="179844"/>
                      <a:pt x="29491" y="178142"/>
                      <a:pt x="33337" y="178594"/>
                    </a:cubicBezTo>
                    <a:cubicBezTo>
                      <a:pt x="38911" y="179250"/>
                      <a:pt x="44450" y="180181"/>
                      <a:pt x="50006" y="180975"/>
                    </a:cubicBezTo>
                    <a:cubicBezTo>
                      <a:pt x="54769" y="182563"/>
                      <a:pt x="61509" y="181561"/>
                      <a:pt x="64294" y="185738"/>
                    </a:cubicBezTo>
                    <a:lnTo>
                      <a:pt x="73819" y="200025"/>
                    </a:lnTo>
                    <a:cubicBezTo>
                      <a:pt x="73025" y="204788"/>
                      <a:pt x="73398" y="209901"/>
                      <a:pt x="71437" y="214313"/>
                    </a:cubicBezTo>
                    <a:cubicBezTo>
                      <a:pt x="70069" y="217390"/>
                      <a:pt x="66881" y="219301"/>
                      <a:pt x="64294" y="221457"/>
                    </a:cubicBezTo>
                    <a:cubicBezTo>
                      <a:pt x="54682" y="229467"/>
                      <a:pt x="42699" y="231015"/>
                      <a:pt x="30956" y="233363"/>
                    </a:cubicBezTo>
                    <a:cubicBezTo>
                      <a:pt x="24218" y="253581"/>
                      <a:pt x="26194" y="245540"/>
                      <a:pt x="26194" y="285750"/>
                    </a:cubicBezTo>
                    <a:cubicBezTo>
                      <a:pt x="26194" y="291363"/>
                      <a:pt x="25562" y="297684"/>
                      <a:pt x="28575" y="302419"/>
                    </a:cubicBezTo>
                    <a:cubicBezTo>
                      <a:pt x="32984" y="309348"/>
                      <a:pt x="42680" y="311883"/>
                      <a:pt x="50006" y="314325"/>
                    </a:cubicBezTo>
                    <a:cubicBezTo>
                      <a:pt x="52387" y="313531"/>
                      <a:pt x="55190" y="313512"/>
                      <a:pt x="57150" y="311944"/>
                    </a:cubicBezTo>
                    <a:cubicBezTo>
                      <a:pt x="59385" y="310156"/>
                      <a:pt x="60080" y="306999"/>
                      <a:pt x="61912" y="304800"/>
                    </a:cubicBezTo>
                    <a:cubicBezTo>
                      <a:pt x="64068" y="302213"/>
                      <a:pt x="66989" y="300315"/>
                      <a:pt x="69056" y="297657"/>
                    </a:cubicBezTo>
                    <a:cubicBezTo>
                      <a:pt x="72570" y="293139"/>
                      <a:pt x="73151" y="285179"/>
                      <a:pt x="78581" y="283369"/>
                    </a:cubicBezTo>
                    <a:lnTo>
                      <a:pt x="85725" y="280988"/>
                    </a:lnTo>
                    <a:cubicBezTo>
                      <a:pt x="88106" y="279400"/>
                      <a:pt x="90309" y="277505"/>
                      <a:pt x="92869" y="276225"/>
                    </a:cubicBezTo>
                    <a:cubicBezTo>
                      <a:pt x="95114" y="275103"/>
                      <a:pt x="97924" y="275236"/>
                      <a:pt x="100012" y="273844"/>
                    </a:cubicBezTo>
                    <a:cubicBezTo>
                      <a:pt x="111711" y="266044"/>
                      <a:pt x="103137" y="268339"/>
                      <a:pt x="111919" y="259557"/>
                    </a:cubicBezTo>
                    <a:cubicBezTo>
                      <a:pt x="113943" y="257533"/>
                      <a:pt x="116681" y="256382"/>
                      <a:pt x="119062" y="254794"/>
                    </a:cubicBezTo>
                    <a:cubicBezTo>
                      <a:pt x="120650" y="252413"/>
                      <a:pt x="121590" y="249438"/>
                      <a:pt x="123825" y="247650"/>
                    </a:cubicBezTo>
                    <a:cubicBezTo>
                      <a:pt x="125785" y="246082"/>
                      <a:pt x="128464" y="245426"/>
                      <a:pt x="130969" y="245269"/>
                    </a:cubicBezTo>
                    <a:cubicBezTo>
                      <a:pt x="153957" y="243832"/>
                      <a:pt x="177006" y="243682"/>
                      <a:pt x="200025" y="242888"/>
                    </a:cubicBezTo>
                    <a:cubicBezTo>
                      <a:pt x="202406" y="242094"/>
                      <a:pt x="204924" y="241630"/>
                      <a:pt x="207169" y="240507"/>
                    </a:cubicBezTo>
                    <a:cubicBezTo>
                      <a:pt x="219309" y="234437"/>
                      <a:pt x="210158" y="234057"/>
                      <a:pt x="228600" y="230982"/>
                    </a:cubicBezTo>
                    <a:cubicBezTo>
                      <a:pt x="233362" y="230188"/>
                      <a:pt x="238174" y="229647"/>
                      <a:pt x="242887" y="228600"/>
                    </a:cubicBezTo>
                    <a:cubicBezTo>
                      <a:pt x="245337" y="228055"/>
                      <a:pt x="247570" y="226711"/>
                      <a:pt x="250031" y="226219"/>
                    </a:cubicBezTo>
                    <a:cubicBezTo>
                      <a:pt x="258525" y="224520"/>
                      <a:pt x="280702" y="222282"/>
                      <a:pt x="288131" y="221457"/>
                    </a:cubicBezTo>
                    <a:cubicBezTo>
                      <a:pt x="290512" y="219869"/>
                      <a:pt x="293487" y="218929"/>
                      <a:pt x="295275" y="216694"/>
                    </a:cubicBezTo>
                    <a:cubicBezTo>
                      <a:pt x="296843" y="214734"/>
                      <a:pt x="296264" y="211639"/>
                      <a:pt x="297656" y="209550"/>
                    </a:cubicBezTo>
                    <a:cubicBezTo>
                      <a:pt x="299524" y="206748"/>
                      <a:pt x="302419" y="204788"/>
                      <a:pt x="304800" y="202407"/>
                    </a:cubicBezTo>
                    <a:cubicBezTo>
                      <a:pt x="306896" y="196117"/>
                      <a:pt x="310565" y="183022"/>
                      <a:pt x="316706" y="180975"/>
                    </a:cubicBezTo>
                    <a:lnTo>
                      <a:pt x="330994" y="176213"/>
                    </a:lnTo>
                    <a:cubicBezTo>
                      <a:pt x="353219" y="168805"/>
                      <a:pt x="335615" y="173958"/>
                      <a:pt x="385762" y="171450"/>
                    </a:cubicBezTo>
                    <a:cubicBezTo>
                      <a:pt x="402507" y="165869"/>
                      <a:pt x="381846" y="173129"/>
                      <a:pt x="402431" y="164307"/>
                    </a:cubicBezTo>
                    <a:cubicBezTo>
                      <a:pt x="411271" y="160518"/>
                      <a:pt x="408648" y="163889"/>
                      <a:pt x="416719" y="157163"/>
                    </a:cubicBezTo>
                    <a:cubicBezTo>
                      <a:pt x="419306" y="155007"/>
                      <a:pt x="421795" y="152677"/>
                      <a:pt x="423862" y="150019"/>
                    </a:cubicBezTo>
                    <a:cubicBezTo>
                      <a:pt x="427376" y="145501"/>
                      <a:pt x="427775" y="136855"/>
                      <a:pt x="433387" y="135732"/>
                    </a:cubicBezTo>
                    <a:cubicBezTo>
                      <a:pt x="437356" y="134938"/>
                      <a:pt x="441268" y="133767"/>
                      <a:pt x="445294" y="133350"/>
                    </a:cubicBezTo>
                    <a:cubicBezTo>
                      <a:pt x="464309" y="131383"/>
                      <a:pt x="502444" y="128588"/>
                      <a:pt x="502444" y="128588"/>
                    </a:cubicBezTo>
                    <a:cubicBezTo>
                      <a:pt x="507206" y="127000"/>
                      <a:pt x="513946" y="128002"/>
                      <a:pt x="516731" y="123825"/>
                    </a:cubicBezTo>
                    <a:cubicBezTo>
                      <a:pt x="518613" y="121001"/>
                      <a:pt x="527805" y="105192"/>
                      <a:pt x="533400" y="102394"/>
                    </a:cubicBezTo>
                    <a:cubicBezTo>
                      <a:pt x="537020" y="100584"/>
                      <a:pt x="541380" y="100995"/>
                      <a:pt x="545306" y="100013"/>
                    </a:cubicBezTo>
                    <a:cubicBezTo>
                      <a:pt x="547741" y="99404"/>
                      <a:pt x="550069" y="98426"/>
                      <a:pt x="552450" y="97632"/>
                    </a:cubicBezTo>
                    <a:lnTo>
                      <a:pt x="566737" y="88107"/>
                    </a:lnTo>
                    <a:cubicBezTo>
                      <a:pt x="575324" y="82382"/>
                      <a:pt x="581648" y="78840"/>
                      <a:pt x="588169" y="69057"/>
                    </a:cubicBezTo>
                    <a:cubicBezTo>
                      <a:pt x="589756" y="66676"/>
                      <a:pt x="591769" y="64528"/>
                      <a:pt x="592931" y="61913"/>
                    </a:cubicBezTo>
                    <a:cubicBezTo>
                      <a:pt x="594970" y="57325"/>
                      <a:pt x="596106" y="52388"/>
                      <a:pt x="597694" y="47625"/>
                    </a:cubicBezTo>
                    <a:cubicBezTo>
                      <a:pt x="601355" y="36643"/>
                      <a:pt x="599583" y="42941"/>
                      <a:pt x="602456" y="28575"/>
                    </a:cubicBezTo>
                    <a:cubicBezTo>
                      <a:pt x="601662" y="26194"/>
                      <a:pt x="601850" y="23207"/>
                      <a:pt x="600075" y="21432"/>
                    </a:cubicBezTo>
                    <a:cubicBezTo>
                      <a:pt x="598300" y="19657"/>
                      <a:pt x="595427" y="19313"/>
                      <a:pt x="592931" y="19050"/>
                    </a:cubicBezTo>
                    <a:cubicBezTo>
                      <a:pt x="580276" y="17718"/>
                      <a:pt x="567531" y="17463"/>
                      <a:pt x="554831" y="16669"/>
                    </a:cubicBezTo>
                    <a:cubicBezTo>
                      <a:pt x="552450" y="15875"/>
                      <a:pt x="549932" y="15411"/>
                      <a:pt x="547687" y="14288"/>
                    </a:cubicBezTo>
                    <a:cubicBezTo>
                      <a:pt x="530494" y="5691"/>
                      <a:pt x="551906" y="13117"/>
                      <a:pt x="531019" y="4763"/>
                    </a:cubicBezTo>
                    <a:cubicBezTo>
                      <a:pt x="526358" y="2899"/>
                      <a:pt x="516731" y="0"/>
                      <a:pt x="516731" y="0"/>
                    </a:cubicBezTo>
                    <a:cubicBezTo>
                      <a:pt x="503251" y="1498"/>
                      <a:pt x="496060" y="-202"/>
                      <a:pt x="485775" y="7144"/>
                    </a:cubicBezTo>
                    <a:cubicBezTo>
                      <a:pt x="483035" y="9101"/>
                      <a:pt x="481012" y="11907"/>
                      <a:pt x="478631" y="14288"/>
                    </a:cubicBezTo>
                    <a:cubicBezTo>
                      <a:pt x="477044" y="19050"/>
                      <a:pt x="478046" y="25790"/>
                      <a:pt x="473869" y="28575"/>
                    </a:cubicBezTo>
                    <a:cubicBezTo>
                      <a:pt x="471488" y="30163"/>
                      <a:pt x="469285" y="32058"/>
                      <a:pt x="466725" y="33338"/>
                    </a:cubicBezTo>
                    <a:cubicBezTo>
                      <a:pt x="457564" y="37918"/>
                      <a:pt x="440074" y="37492"/>
                      <a:pt x="433387" y="38100"/>
                    </a:cubicBezTo>
                    <a:cubicBezTo>
                      <a:pt x="428786" y="51903"/>
                      <a:pt x="431352" y="51306"/>
                      <a:pt x="421481" y="59532"/>
                    </a:cubicBezTo>
                    <a:cubicBezTo>
                      <a:pt x="419282" y="61364"/>
                      <a:pt x="416718" y="62707"/>
                      <a:pt x="414337" y="64294"/>
                    </a:cubicBezTo>
                    <a:cubicBezTo>
                      <a:pt x="408781" y="63500"/>
                      <a:pt x="403172" y="63014"/>
                      <a:pt x="397669" y="61913"/>
                    </a:cubicBezTo>
                    <a:cubicBezTo>
                      <a:pt x="395208" y="61421"/>
                      <a:pt x="392300" y="61307"/>
                      <a:pt x="390525" y="59532"/>
                    </a:cubicBezTo>
                    <a:cubicBezTo>
                      <a:pt x="388750" y="57757"/>
                      <a:pt x="389267" y="54633"/>
                      <a:pt x="388144" y="52388"/>
                    </a:cubicBezTo>
                    <a:cubicBezTo>
                      <a:pt x="386864" y="49828"/>
                      <a:pt x="385405" y="47268"/>
                      <a:pt x="383381" y="45244"/>
                    </a:cubicBezTo>
                    <a:cubicBezTo>
                      <a:pt x="382820" y="44683"/>
                      <a:pt x="386953" y="43260"/>
                      <a:pt x="373856" y="4286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19" name="Freeform 218"/>
              <p:cNvSpPr/>
              <p:nvPr/>
            </p:nvSpPr>
            <p:spPr>
              <a:xfrm>
                <a:off x="7970723" y="5010830"/>
                <a:ext cx="274245" cy="123825"/>
              </a:xfrm>
              <a:custGeom>
                <a:avLst/>
                <a:gdLst>
                  <a:gd name="connsiteX0" fmla="*/ 57150 w 274245"/>
                  <a:gd name="connsiteY0" fmla="*/ 26193 h 123825"/>
                  <a:gd name="connsiteX1" fmla="*/ 47625 w 274245"/>
                  <a:gd name="connsiteY1" fmla="*/ 38100 h 123825"/>
                  <a:gd name="connsiteX2" fmla="*/ 28575 w 274245"/>
                  <a:gd name="connsiteY2" fmla="*/ 59531 h 123825"/>
                  <a:gd name="connsiteX3" fmla="*/ 14288 w 274245"/>
                  <a:gd name="connsiteY3" fmla="*/ 69056 h 123825"/>
                  <a:gd name="connsiteX4" fmla="*/ 9525 w 274245"/>
                  <a:gd name="connsiteY4" fmla="*/ 76200 h 123825"/>
                  <a:gd name="connsiteX5" fmla="*/ 0 w 274245"/>
                  <a:gd name="connsiteY5" fmla="*/ 85725 h 123825"/>
                  <a:gd name="connsiteX6" fmla="*/ 7144 w 274245"/>
                  <a:gd name="connsiteY6" fmla="*/ 111918 h 123825"/>
                  <a:gd name="connsiteX7" fmla="*/ 9525 w 274245"/>
                  <a:gd name="connsiteY7" fmla="*/ 119062 h 123825"/>
                  <a:gd name="connsiteX8" fmla="*/ 16669 w 274245"/>
                  <a:gd name="connsiteY8" fmla="*/ 123825 h 123825"/>
                  <a:gd name="connsiteX9" fmla="*/ 28575 w 274245"/>
                  <a:gd name="connsiteY9" fmla="*/ 121443 h 123825"/>
                  <a:gd name="connsiteX10" fmla="*/ 35719 w 274245"/>
                  <a:gd name="connsiteY10" fmla="*/ 119062 h 123825"/>
                  <a:gd name="connsiteX11" fmla="*/ 45244 w 274245"/>
                  <a:gd name="connsiteY11" fmla="*/ 104775 h 123825"/>
                  <a:gd name="connsiteX12" fmla="*/ 47625 w 274245"/>
                  <a:gd name="connsiteY12" fmla="*/ 92868 h 123825"/>
                  <a:gd name="connsiteX13" fmla="*/ 64294 w 274245"/>
                  <a:gd name="connsiteY13" fmla="*/ 95250 h 123825"/>
                  <a:gd name="connsiteX14" fmla="*/ 78582 w 274245"/>
                  <a:gd name="connsiteY14" fmla="*/ 104775 h 123825"/>
                  <a:gd name="connsiteX15" fmla="*/ 83344 w 274245"/>
                  <a:gd name="connsiteY15" fmla="*/ 111918 h 123825"/>
                  <a:gd name="connsiteX16" fmla="*/ 97632 w 274245"/>
                  <a:gd name="connsiteY16" fmla="*/ 119062 h 123825"/>
                  <a:gd name="connsiteX17" fmla="*/ 159544 w 274245"/>
                  <a:gd name="connsiteY17" fmla="*/ 116681 h 123825"/>
                  <a:gd name="connsiteX18" fmla="*/ 169069 w 274245"/>
                  <a:gd name="connsiteY18" fmla="*/ 114300 h 123825"/>
                  <a:gd name="connsiteX19" fmla="*/ 178594 w 274245"/>
                  <a:gd name="connsiteY19" fmla="*/ 107156 h 123825"/>
                  <a:gd name="connsiteX20" fmla="*/ 190500 w 274245"/>
                  <a:gd name="connsiteY20" fmla="*/ 90487 h 123825"/>
                  <a:gd name="connsiteX21" fmla="*/ 197644 w 274245"/>
                  <a:gd name="connsiteY21" fmla="*/ 61912 h 123825"/>
                  <a:gd name="connsiteX22" fmla="*/ 204788 w 274245"/>
                  <a:gd name="connsiteY22" fmla="*/ 57150 h 123825"/>
                  <a:gd name="connsiteX23" fmla="*/ 219075 w 274245"/>
                  <a:gd name="connsiteY23" fmla="*/ 52387 h 123825"/>
                  <a:gd name="connsiteX24" fmla="*/ 240507 w 274245"/>
                  <a:gd name="connsiteY24" fmla="*/ 54768 h 123825"/>
                  <a:gd name="connsiteX25" fmla="*/ 250032 w 274245"/>
                  <a:gd name="connsiteY25" fmla="*/ 57150 h 123825"/>
                  <a:gd name="connsiteX26" fmla="*/ 264319 w 274245"/>
                  <a:gd name="connsiteY26" fmla="*/ 54768 h 123825"/>
                  <a:gd name="connsiteX27" fmla="*/ 273844 w 274245"/>
                  <a:gd name="connsiteY27" fmla="*/ 42862 h 123825"/>
                  <a:gd name="connsiteX28" fmla="*/ 266700 w 274245"/>
                  <a:gd name="connsiteY28" fmla="*/ 38100 h 123825"/>
                  <a:gd name="connsiteX29" fmla="*/ 250032 w 274245"/>
                  <a:gd name="connsiteY29" fmla="*/ 19050 h 123825"/>
                  <a:gd name="connsiteX30" fmla="*/ 245269 w 274245"/>
                  <a:gd name="connsiteY30" fmla="*/ 11906 h 123825"/>
                  <a:gd name="connsiteX31" fmla="*/ 226219 w 274245"/>
                  <a:gd name="connsiteY31" fmla="*/ 7143 h 123825"/>
                  <a:gd name="connsiteX32" fmla="*/ 211932 w 274245"/>
                  <a:gd name="connsiteY32" fmla="*/ 4762 h 123825"/>
                  <a:gd name="connsiteX33" fmla="*/ 202407 w 274245"/>
                  <a:gd name="connsiteY33" fmla="*/ 2381 h 123825"/>
                  <a:gd name="connsiteX34" fmla="*/ 173832 w 274245"/>
                  <a:gd name="connsiteY34" fmla="*/ 0 h 123825"/>
                  <a:gd name="connsiteX35" fmla="*/ 154782 w 274245"/>
                  <a:gd name="connsiteY35" fmla="*/ 2381 h 123825"/>
                  <a:gd name="connsiteX36" fmla="*/ 145257 w 274245"/>
                  <a:gd name="connsiteY36" fmla="*/ 4762 h 123825"/>
                  <a:gd name="connsiteX37" fmla="*/ 142875 w 274245"/>
                  <a:gd name="connsiteY37" fmla="*/ 11906 h 123825"/>
                  <a:gd name="connsiteX38" fmla="*/ 133350 w 274245"/>
                  <a:gd name="connsiteY38" fmla="*/ 26193 h 123825"/>
                  <a:gd name="connsiteX39" fmla="*/ 130969 w 274245"/>
                  <a:gd name="connsiteY39" fmla="*/ 33337 h 123825"/>
                  <a:gd name="connsiteX40" fmla="*/ 116682 w 274245"/>
                  <a:gd name="connsiteY40" fmla="*/ 45243 h 123825"/>
                  <a:gd name="connsiteX41" fmla="*/ 97632 w 274245"/>
                  <a:gd name="connsiteY41" fmla="*/ 42862 h 123825"/>
                  <a:gd name="connsiteX42" fmla="*/ 83344 w 274245"/>
                  <a:gd name="connsiteY42" fmla="*/ 33337 h 123825"/>
                  <a:gd name="connsiteX43" fmla="*/ 57150 w 274245"/>
                  <a:gd name="connsiteY43" fmla="*/ 2619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4245" h="123825">
                    <a:moveTo>
                      <a:pt x="57150" y="26193"/>
                    </a:moveTo>
                    <a:cubicBezTo>
                      <a:pt x="51197" y="26987"/>
                      <a:pt x="50675" y="34034"/>
                      <a:pt x="47625" y="38100"/>
                    </a:cubicBezTo>
                    <a:cubicBezTo>
                      <a:pt x="40468" y="47643"/>
                      <a:pt x="41731" y="50760"/>
                      <a:pt x="28575" y="59531"/>
                    </a:cubicBezTo>
                    <a:lnTo>
                      <a:pt x="14288" y="69056"/>
                    </a:lnTo>
                    <a:cubicBezTo>
                      <a:pt x="12700" y="71437"/>
                      <a:pt x="11760" y="74412"/>
                      <a:pt x="9525" y="76200"/>
                    </a:cubicBezTo>
                    <a:cubicBezTo>
                      <a:pt x="-2021" y="85437"/>
                      <a:pt x="5197" y="70137"/>
                      <a:pt x="0" y="85725"/>
                    </a:cubicBezTo>
                    <a:cubicBezTo>
                      <a:pt x="3367" y="102554"/>
                      <a:pt x="1102" y="93790"/>
                      <a:pt x="7144" y="111918"/>
                    </a:cubicBezTo>
                    <a:cubicBezTo>
                      <a:pt x="7938" y="114299"/>
                      <a:pt x="7437" y="117670"/>
                      <a:pt x="9525" y="119062"/>
                    </a:cubicBezTo>
                    <a:lnTo>
                      <a:pt x="16669" y="123825"/>
                    </a:lnTo>
                    <a:cubicBezTo>
                      <a:pt x="20638" y="123031"/>
                      <a:pt x="24649" y="122425"/>
                      <a:pt x="28575" y="121443"/>
                    </a:cubicBezTo>
                    <a:cubicBezTo>
                      <a:pt x="31010" y="120834"/>
                      <a:pt x="33944" y="120837"/>
                      <a:pt x="35719" y="119062"/>
                    </a:cubicBezTo>
                    <a:cubicBezTo>
                      <a:pt x="39766" y="115015"/>
                      <a:pt x="45244" y="104775"/>
                      <a:pt x="45244" y="104775"/>
                    </a:cubicBezTo>
                    <a:cubicBezTo>
                      <a:pt x="46038" y="100806"/>
                      <a:pt x="44005" y="94678"/>
                      <a:pt x="47625" y="92868"/>
                    </a:cubicBezTo>
                    <a:cubicBezTo>
                      <a:pt x="52645" y="90358"/>
                      <a:pt x="59055" y="93235"/>
                      <a:pt x="64294" y="95250"/>
                    </a:cubicBezTo>
                    <a:cubicBezTo>
                      <a:pt x="69636" y="97305"/>
                      <a:pt x="78582" y="104775"/>
                      <a:pt x="78582" y="104775"/>
                    </a:cubicBezTo>
                    <a:cubicBezTo>
                      <a:pt x="80169" y="107156"/>
                      <a:pt x="81321" y="109895"/>
                      <a:pt x="83344" y="111918"/>
                    </a:cubicBezTo>
                    <a:cubicBezTo>
                      <a:pt x="87961" y="116535"/>
                      <a:pt x="91820" y="117125"/>
                      <a:pt x="97632" y="119062"/>
                    </a:cubicBezTo>
                    <a:cubicBezTo>
                      <a:pt x="118269" y="118268"/>
                      <a:pt x="138937" y="118055"/>
                      <a:pt x="159544" y="116681"/>
                    </a:cubicBezTo>
                    <a:cubicBezTo>
                      <a:pt x="162809" y="116463"/>
                      <a:pt x="166142" y="115764"/>
                      <a:pt x="169069" y="114300"/>
                    </a:cubicBezTo>
                    <a:cubicBezTo>
                      <a:pt x="172619" y="112525"/>
                      <a:pt x="175788" y="109962"/>
                      <a:pt x="178594" y="107156"/>
                    </a:cubicBezTo>
                    <a:cubicBezTo>
                      <a:pt x="181551" y="104199"/>
                      <a:pt x="187794" y="94546"/>
                      <a:pt x="190500" y="90487"/>
                    </a:cubicBezTo>
                    <a:cubicBezTo>
                      <a:pt x="191824" y="78577"/>
                      <a:pt x="189443" y="70113"/>
                      <a:pt x="197644" y="61912"/>
                    </a:cubicBezTo>
                    <a:cubicBezTo>
                      <a:pt x="199668" y="59888"/>
                      <a:pt x="202173" y="58312"/>
                      <a:pt x="204788" y="57150"/>
                    </a:cubicBezTo>
                    <a:cubicBezTo>
                      <a:pt x="209375" y="55111"/>
                      <a:pt x="219075" y="52387"/>
                      <a:pt x="219075" y="52387"/>
                    </a:cubicBezTo>
                    <a:cubicBezTo>
                      <a:pt x="226219" y="53181"/>
                      <a:pt x="233403" y="53675"/>
                      <a:pt x="240507" y="54768"/>
                    </a:cubicBezTo>
                    <a:cubicBezTo>
                      <a:pt x="243742" y="55266"/>
                      <a:pt x="246759" y="57150"/>
                      <a:pt x="250032" y="57150"/>
                    </a:cubicBezTo>
                    <a:cubicBezTo>
                      <a:pt x="254860" y="57150"/>
                      <a:pt x="259557" y="55562"/>
                      <a:pt x="264319" y="54768"/>
                    </a:cubicBezTo>
                    <a:cubicBezTo>
                      <a:pt x="267044" y="52952"/>
                      <a:pt x="276266" y="48916"/>
                      <a:pt x="273844" y="42862"/>
                    </a:cubicBezTo>
                    <a:cubicBezTo>
                      <a:pt x="272781" y="40205"/>
                      <a:pt x="269081" y="39687"/>
                      <a:pt x="266700" y="38100"/>
                    </a:cubicBezTo>
                    <a:cubicBezTo>
                      <a:pt x="255588" y="21431"/>
                      <a:pt x="261938" y="26987"/>
                      <a:pt x="250032" y="19050"/>
                    </a:cubicBezTo>
                    <a:cubicBezTo>
                      <a:pt x="248444" y="16669"/>
                      <a:pt x="247829" y="13186"/>
                      <a:pt x="245269" y="11906"/>
                    </a:cubicBezTo>
                    <a:cubicBezTo>
                      <a:pt x="239415" y="8979"/>
                      <a:pt x="232675" y="8219"/>
                      <a:pt x="226219" y="7143"/>
                    </a:cubicBezTo>
                    <a:cubicBezTo>
                      <a:pt x="221457" y="6349"/>
                      <a:pt x="216666" y="5709"/>
                      <a:pt x="211932" y="4762"/>
                    </a:cubicBezTo>
                    <a:cubicBezTo>
                      <a:pt x="208723" y="4120"/>
                      <a:pt x="205654" y="2787"/>
                      <a:pt x="202407" y="2381"/>
                    </a:cubicBezTo>
                    <a:cubicBezTo>
                      <a:pt x="192923" y="1196"/>
                      <a:pt x="183357" y="794"/>
                      <a:pt x="173832" y="0"/>
                    </a:cubicBezTo>
                    <a:cubicBezTo>
                      <a:pt x="167482" y="794"/>
                      <a:pt x="161094" y="1329"/>
                      <a:pt x="154782" y="2381"/>
                    </a:cubicBezTo>
                    <a:cubicBezTo>
                      <a:pt x="151554" y="2919"/>
                      <a:pt x="147813" y="2718"/>
                      <a:pt x="145257" y="4762"/>
                    </a:cubicBezTo>
                    <a:cubicBezTo>
                      <a:pt x="143297" y="6330"/>
                      <a:pt x="144094" y="9712"/>
                      <a:pt x="142875" y="11906"/>
                    </a:cubicBezTo>
                    <a:cubicBezTo>
                      <a:pt x="140095" y="16909"/>
                      <a:pt x="133350" y="26193"/>
                      <a:pt x="133350" y="26193"/>
                    </a:cubicBezTo>
                    <a:cubicBezTo>
                      <a:pt x="132556" y="28574"/>
                      <a:pt x="132361" y="31248"/>
                      <a:pt x="130969" y="33337"/>
                    </a:cubicBezTo>
                    <a:cubicBezTo>
                      <a:pt x="127302" y="38837"/>
                      <a:pt x="121953" y="41729"/>
                      <a:pt x="116682" y="45243"/>
                    </a:cubicBezTo>
                    <a:cubicBezTo>
                      <a:pt x="110332" y="44449"/>
                      <a:pt x="103659" y="45014"/>
                      <a:pt x="97632" y="42862"/>
                    </a:cubicBezTo>
                    <a:cubicBezTo>
                      <a:pt x="92241" y="40937"/>
                      <a:pt x="88957" y="34459"/>
                      <a:pt x="83344" y="33337"/>
                    </a:cubicBezTo>
                    <a:cubicBezTo>
                      <a:pt x="58431" y="28355"/>
                      <a:pt x="63103" y="25399"/>
                      <a:pt x="57150" y="2619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0" name="Freeform 219"/>
              <p:cNvSpPr/>
              <p:nvPr/>
            </p:nvSpPr>
            <p:spPr>
              <a:xfrm>
                <a:off x="9270886" y="3234417"/>
                <a:ext cx="1012881" cy="928688"/>
              </a:xfrm>
              <a:custGeom>
                <a:avLst/>
                <a:gdLst>
                  <a:gd name="connsiteX0" fmla="*/ 195262 w 1012881"/>
                  <a:gd name="connsiteY0" fmla="*/ 95250 h 928688"/>
                  <a:gd name="connsiteX1" fmla="*/ 123825 w 1012881"/>
                  <a:gd name="connsiteY1" fmla="*/ 97631 h 928688"/>
                  <a:gd name="connsiteX2" fmla="*/ 69056 w 1012881"/>
                  <a:gd name="connsiteY2" fmla="*/ 97631 h 928688"/>
                  <a:gd name="connsiteX3" fmla="*/ 73819 w 1012881"/>
                  <a:gd name="connsiteY3" fmla="*/ 128588 h 928688"/>
                  <a:gd name="connsiteX4" fmla="*/ 78581 w 1012881"/>
                  <a:gd name="connsiteY4" fmla="*/ 135731 h 928688"/>
                  <a:gd name="connsiteX5" fmla="*/ 85725 w 1012881"/>
                  <a:gd name="connsiteY5" fmla="*/ 150019 h 928688"/>
                  <a:gd name="connsiteX6" fmla="*/ 88106 w 1012881"/>
                  <a:gd name="connsiteY6" fmla="*/ 157163 h 928688"/>
                  <a:gd name="connsiteX7" fmla="*/ 85725 w 1012881"/>
                  <a:gd name="connsiteY7" fmla="*/ 178594 h 928688"/>
                  <a:gd name="connsiteX8" fmla="*/ 83344 w 1012881"/>
                  <a:gd name="connsiteY8" fmla="*/ 185738 h 928688"/>
                  <a:gd name="connsiteX9" fmla="*/ 54769 w 1012881"/>
                  <a:gd name="connsiteY9" fmla="*/ 200025 h 928688"/>
                  <a:gd name="connsiteX10" fmla="*/ 47625 w 1012881"/>
                  <a:gd name="connsiteY10" fmla="*/ 202406 h 928688"/>
                  <a:gd name="connsiteX11" fmla="*/ 33337 w 1012881"/>
                  <a:gd name="connsiteY11" fmla="*/ 211931 h 928688"/>
                  <a:gd name="connsiteX12" fmla="*/ 21431 w 1012881"/>
                  <a:gd name="connsiteY12" fmla="*/ 226219 h 928688"/>
                  <a:gd name="connsiteX13" fmla="*/ 7144 w 1012881"/>
                  <a:gd name="connsiteY13" fmla="*/ 235744 h 928688"/>
                  <a:gd name="connsiteX14" fmla="*/ 0 w 1012881"/>
                  <a:gd name="connsiteY14" fmla="*/ 240506 h 928688"/>
                  <a:gd name="connsiteX15" fmla="*/ 2381 w 1012881"/>
                  <a:gd name="connsiteY15" fmla="*/ 266700 h 928688"/>
                  <a:gd name="connsiteX16" fmla="*/ 19050 w 1012881"/>
                  <a:gd name="connsiteY16" fmla="*/ 276225 h 928688"/>
                  <a:gd name="connsiteX17" fmla="*/ 33337 w 1012881"/>
                  <a:gd name="connsiteY17" fmla="*/ 280988 h 928688"/>
                  <a:gd name="connsiteX18" fmla="*/ 40481 w 1012881"/>
                  <a:gd name="connsiteY18" fmla="*/ 283369 h 928688"/>
                  <a:gd name="connsiteX19" fmla="*/ 119062 w 1012881"/>
                  <a:gd name="connsiteY19" fmla="*/ 288131 h 928688"/>
                  <a:gd name="connsiteX20" fmla="*/ 221456 w 1012881"/>
                  <a:gd name="connsiteY20" fmla="*/ 290513 h 928688"/>
                  <a:gd name="connsiteX21" fmla="*/ 228600 w 1012881"/>
                  <a:gd name="connsiteY21" fmla="*/ 297656 h 928688"/>
                  <a:gd name="connsiteX22" fmla="*/ 235744 w 1012881"/>
                  <a:gd name="connsiteY22" fmla="*/ 302419 h 928688"/>
                  <a:gd name="connsiteX23" fmla="*/ 238125 w 1012881"/>
                  <a:gd name="connsiteY23" fmla="*/ 309563 h 928688"/>
                  <a:gd name="connsiteX24" fmla="*/ 242887 w 1012881"/>
                  <a:gd name="connsiteY24" fmla="*/ 316706 h 928688"/>
                  <a:gd name="connsiteX25" fmla="*/ 245269 w 1012881"/>
                  <a:gd name="connsiteY25" fmla="*/ 323850 h 928688"/>
                  <a:gd name="connsiteX26" fmla="*/ 252412 w 1012881"/>
                  <a:gd name="connsiteY26" fmla="*/ 354806 h 928688"/>
                  <a:gd name="connsiteX27" fmla="*/ 259556 w 1012881"/>
                  <a:gd name="connsiteY27" fmla="*/ 369094 h 928688"/>
                  <a:gd name="connsiteX28" fmla="*/ 266700 w 1012881"/>
                  <a:gd name="connsiteY28" fmla="*/ 390525 h 928688"/>
                  <a:gd name="connsiteX29" fmla="*/ 273844 w 1012881"/>
                  <a:gd name="connsiteY29" fmla="*/ 411956 h 928688"/>
                  <a:gd name="connsiteX30" fmla="*/ 276225 w 1012881"/>
                  <a:gd name="connsiteY30" fmla="*/ 419100 h 928688"/>
                  <a:gd name="connsiteX31" fmla="*/ 278606 w 1012881"/>
                  <a:gd name="connsiteY31" fmla="*/ 426244 h 928688"/>
                  <a:gd name="connsiteX32" fmla="*/ 290512 w 1012881"/>
                  <a:gd name="connsiteY32" fmla="*/ 440531 h 928688"/>
                  <a:gd name="connsiteX33" fmla="*/ 309562 w 1012881"/>
                  <a:gd name="connsiteY33" fmla="*/ 457200 h 928688"/>
                  <a:gd name="connsiteX34" fmla="*/ 323850 w 1012881"/>
                  <a:gd name="connsiteY34" fmla="*/ 461963 h 928688"/>
                  <a:gd name="connsiteX35" fmla="*/ 357187 w 1012881"/>
                  <a:gd name="connsiteY35" fmla="*/ 459581 h 928688"/>
                  <a:gd name="connsiteX36" fmla="*/ 371475 w 1012881"/>
                  <a:gd name="connsiteY36" fmla="*/ 450056 h 928688"/>
                  <a:gd name="connsiteX37" fmla="*/ 378619 w 1012881"/>
                  <a:gd name="connsiteY37" fmla="*/ 445294 h 928688"/>
                  <a:gd name="connsiteX38" fmla="*/ 392906 w 1012881"/>
                  <a:gd name="connsiteY38" fmla="*/ 447675 h 928688"/>
                  <a:gd name="connsiteX39" fmla="*/ 404812 w 1012881"/>
                  <a:gd name="connsiteY39" fmla="*/ 459581 h 928688"/>
                  <a:gd name="connsiteX40" fmla="*/ 411956 w 1012881"/>
                  <a:gd name="connsiteY40" fmla="*/ 461963 h 928688"/>
                  <a:gd name="connsiteX41" fmla="*/ 416719 w 1012881"/>
                  <a:gd name="connsiteY41" fmla="*/ 469106 h 928688"/>
                  <a:gd name="connsiteX42" fmla="*/ 450056 w 1012881"/>
                  <a:gd name="connsiteY42" fmla="*/ 471488 h 928688"/>
                  <a:gd name="connsiteX43" fmla="*/ 457200 w 1012881"/>
                  <a:gd name="connsiteY43" fmla="*/ 466725 h 928688"/>
                  <a:gd name="connsiteX44" fmla="*/ 471487 w 1012881"/>
                  <a:gd name="connsiteY44" fmla="*/ 461963 h 928688"/>
                  <a:gd name="connsiteX45" fmla="*/ 519112 w 1012881"/>
                  <a:gd name="connsiteY45" fmla="*/ 464344 h 928688"/>
                  <a:gd name="connsiteX46" fmla="*/ 535781 w 1012881"/>
                  <a:gd name="connsiteY46" fmla="*/ 466725 h 928688"/>
                  <a:gd name="connsiteX47" fmla="*/ 538162 w 1012881"/>
                  <a:gd name="connsiteY47" fmla="*/ 454819 h 928688"/>
                  <a:gd name="connsiteX48" fmla="*/ 545306 w 1012881"/>
                  <a:gd name="connsiteY48" fmla="*/ 452438 h 928688"/>
                  <a:gd name="connsiteX49" fmla="*/ 588169 w 1012881"/>
                  <a:gd name="connsiteY49" fmla="*/ 454819 h 928688"/>
                  <a:gd name="connsiteX50" fmla="*/ 631031 w 1012881"/>
                  <a:gd name="connsiteY50" fmla="*/ 459581 h 928688"/>
                  <a:gd name="connsiteX51" fmla="*/ 676275 w 1012881"/>
                  <a:gd name="connsiteY51" fmla="*/ 457200 h 928688"/>
                  <a:gd name="connsiteX52" fmla="*/ 690562 w 1012881"/>
                  <a:gd name="connsiteY52" fmla="*/ 452438 h 928688"/>
                  <a:gd name="connsiteX53" fmla="*/ 697706 w 1012881"/>
                  <a:gd name="connsiteY53" fmla="*/ 447675 h 928688"/>
                  <a:gd name="connsiteX54" fmla="*/ 733425 w 1012881"/>
                  <a:gd name="connsiteY54" fmla="*/ 447675 h 928688"/>
                  <a:gd name="connsiteX55" fmla="*/ 740569 w 1012881"/>
                  <a:gd name="connsiteY55" fmla="*/ 452438 h 928688"/>
                  <a:gd name="connsiteX56" fmla="*/ 740569 w 1012881"/>
                  <a:gd name="connsiteY56" fmla="*/ 478631 h 928688"/>
                  <a:gd name="connsiteX57" fmla="*/ 733425 w 1012881"/>
                  <a:gd name="connsiteY57" fmla="*/ 485775 h 928688"/>
                  <a:gd name="connsiteX58" fmla="*/ 723900 w 1012881"/>
                  <a:gd name="connsiteY58" fmla="*/ 500063 h 928688"/>
                  <a:gd name="connsiteX59" fmla="*/ 721519 w 1012881"/>
                  <a:gd name="connsiteY59" fmla="*/ 509588 h 928688"/>
                  <a:gd name="connsiteX60" fmla="*/ 716756 w 1012881"/>
                  <a:gd name="connsiteY60" fmla="*/ 516731 h 928688"/>
                  <a:gd name="connsiteX61" fmla="*/ 711994 w 1012881"/>
                  <a:gd name="connsiteY61" fmla="*/ 526256 h 928688"/>
                  <a:gd name="connsiteX62" fmla="*/ 702469 w 1012881"/>
                  <a:gd name="connsiteY62" fmla="*/ 540544 h 928688"/>
                  <a:gd name="connsiteX63" fmla="*/ 697706 w 1012881"/>
                  <a:gd name="connsiteY63" fmla="*/ 547688 h 928688"/>
                  <a:gd name="connsiteX64" fmla="*/ 690562 w 1012881"/>
                  <a:gd name="connsiteY64" fmla="*/ 550069 h 928688"/>
                  <a:gd name="connsiteX65" fmla="*/ 647700 w 1012881"/>
                  <a:gd name="connsiteY65" fmla="*/ 552450 h 928688"/>
                  <a:gd name="connsiteX66" fmla="*/ 633412 w 1012881"/>
                  <a:gd name="connsiteY66" fmla="*/ 547688 h 928688"/>
                  <a:gd name="connsiteX67" fmla="*/ 626269 w 1012881"/>
                  <a:gd name="connsiteY67" fmla="*/ 545306 h 928688"/>
                  <a:gd name="connsiteX68" fmla="*/ 616744 w 1012881"/>
                  <a:gd name="connsiteY68" fmla="*/ 531019 h 928688"/>
                  <a:gd name="connsiteX69" fmla="*/ 609600 w 1012881"/>
                  <a:gd name="connsiteY69" fmla="*/ 526256 h 928688"/>
                  <a:gd name="connsiteX70" fmla="*/ 597694 w 1012881"/>
                  <a:gd name="connsiteY70" fmla="*/ 523875 h 928688"/>
                  <a:gd name="connsiteX71" fmla="*/ 571500 w 1012881"/>
                  <a:gd name="connsiteY71" fmla="*/ 519113 h 928688"/>
                  <a:gd name="connsiteX72" fmla="*/ 533400 w 1012881"/>
                  <a:gd name="connsiteY72" fmla="*/ 521494 h 928688"/>
                  <a:gd name="connsiteX73" fmla="*/ 516731 w 1012881"/>
                  <a:gd name="connsiteY73" fmla="*/ 526256 h 928688"/>
                  <a:gd name="connsiteX74" fmla="*/ 500062 w 1012881"/>
                  <a:gd name="connsiteY74" fmla="*/ 538163 h 928688"/>
                  <a:gd name="connsiteX75" fmla="*/ 485775 w 1012881"/>
                  <a:gd name="connsiteY75" fmla="*/ 542925 h 928688"/>
                  <a:gd name="connsiteX76" fmla="*/ 478631 w 1012881"/>
                  <a:gd name="connsiteY76" fmla="*/ 545306 h 928688"/>
                  <a:gd name="connsiteX77" fmla="*/ 471487 w 1012881"/>
                  <a:gd name="connsiteY77" fmla="*/ 550069 h 928688"/>
                  <a:gd name="connsiteX78" fmla="*/ 466725 w 1012881"/>
                  <a:gd name="connsiteY78" fmla="*/ 557213 h 928688"/>
                  <a:gd name="connsiteX79" fmla="*/ 452437 w 1012881"/>
                  <a:gd name="connsiteY79" fmla="*/ 581025 h 928688"/>
                  <a:gd name="connsiteX80" fmla="*/ 447675 w 1012881"/>
                  <a:gd name="connsiteY80" fmla="*/ 588169 h 928688"/>
                  <a:gd name="connsiteX81" fmla="*/ 431006 w 1012881"/>
                  <a:gd name="connsiteY81" fmla="*/ 595313 h 928688"/>
                  <a:gd name="connsiteX82" fmla="*/ 414337 w 1012881"/>
                  <a:gd name="connsiteY82" fmla="*/ 590550 h 928688"/>
                  <a:gd name="connsiteX83" fmla="*/ 411956 w 1012881"/>
                  <a:gd name="connsiteY83" fmla="*/ 581025 h 928688"/>
                  <a:gd name="connsiteX84" fmla="*/ 404812 w 1012881"/>
                  <a:gd name="connsiteY84" fmla="*/ 576263 h 928688"/>
                  <a:gd name="connsiteX85" fmla="*/ 397669 w 1012881"/>
                  <a:gd name="connsiteY85" fmla="*/ 573881 h 928688"/>
                  <a:gd name="connsiteX86" fmla="*/ 376237 w 1012881"/>
                  <a:gd name="connsiteY86" fmla="*/ 569119 h 928688"/>
                  <a:gd name="connsiteX87" fmla="*/ 304800 w 1012881"/>
                  <a:gd name="connsiteY87" fmla="*/ 566738 h 928688"/>
                  <a:gd name="connsiteX88" fmla="*/ 280987 w 1012881"/>
                  <a:gd name="connsiteY88" fmla="*/ 571500 h 928688"/>
                  <a:gd name="connsiteX89" fmla="*/ 276225 w 1012881"/>
                  <a:gd name="connsiteY89" fmla="*/ 578644 h 928688"/>
                  <a:gd name="connsiteX90" fmla="*/ 273844 w 1012881"/>
                  <a:gd name="connsiteY90" fmla="*/ 588169 h 928688"/>
                  <a:gd name="connsiteX91" fmla="*/ 254794 w 1012881"/>
                  <a:gd name="connsiteY91" fmla="*/ 597694 h 928688"/>
                  <a:gd name="connsiteX92" fmla="*/ 259556 w 1012881"/>
                  <a:gd name="connsiteY92" fmla="*/ 614363 h 928688"/>
                  <a:gd name="connsiteX93" fmla="*/ 261937 w 1012881"/>
                  <a:gd name="connsiteY93" fmla="*/ 621506 h 928688"/>
                  <a:gd name="connsiteX94" fmla="*/ 276225 w 1012881"/>
                  <a:gd name="connsiteY94" fmla="*/ 628650 h 928688"/>
                  <a:gd name="connsiteX95" fmla="*/ 328612 w 1012881"/>
                  <a:gd name="connsiteY95" fmla="*/ 633413 h 928688"/>
                  <a:gd name="connsiteX96" fmla="*/ 342900 w 1012881"/>
                  <a:gd name="connsiteY96" fmla="*/ 635794 h 928688"/>
                  <a:gd name="connsiteX97" fmla="*/ 361950 w 1012881"/>
                  <a:gd name="connsiteY97" fmla="*/ 640556 h 928688"/>
                  <a:gd name="connsiteX98" fmla="*/ 373856 w 1012881"/>
                  <a:gd name="connsiteY98" fmla="*/ 657225 h 928688"/>
                  <a:gd name="connsiteX99" fmla="*/ 392906 w 1012881"/>
                  <a:gd name="connsiteY99" fmla="*/ 676275 h 928688"/>
                  <a:gd name="connsiteX100" fmla="*/ 402431 w 1012881"/>
                  <a:gd name="connsiteY100" fmla="*/ 685800 h 928688"/>
                  <a:gd name="connsiteX101" fmla="*/ 407194 w 1012881"/>
                  <a:gd name="connsiteY101" fmla="*/ 692944 h 928688"/>
                  <a:gd name="connsiteX102" fmla="*/ 409575 w 1012881"/>
                  <a:gd name="connsiteY102" fmla="*/ 700088 h 928688"/>
                  <a:gd name="connsiteX103" fmla="*/ 414337 w 1012881"/>
                  <a:gd name="connsiteY103" fmla="*/ 709613 h 928688"/>
                  <a:gd name="connsiteX104" fmla="*/ 419100 w 1012881"/>
                  <a:gd name="connsiteY104" fmla="*/ 731044 h 928688"/>
                  <a:gd name="connsiteX105" fmla="*/ 423862 w 1012881"/>
                  <a:gd name="connsiteY105" fmla="*/ 738188 h 928688"/>
                  <a:gd name="connsiteX106" fmla="*/ 450056 w 1012881"/>
                  <a:gd name="connsiteY106" fmla="*/ 735806 h 928688"/>
                  <a:gd name="connsiteX107" fmla="*/ 464344 w 1012881"/>
                  <a:gd name="connsiteY107" fmla="*/ 731044 h 928688"/>
                  <a:gd name="connsiteX108" fmla="*/ 466725 w 1012881"/>
                  <a:gd name="connsiteY108" fmla="*/ 738188 h 928688"/>
                  <a:gd name="connsiteX109" fmla="*/ 469106 w 1012881"/>
                  <a:gd name="connsiteY109" fmla="*/ 764381 h 928688"/>
                  <a:gd name="connsiteX110" fmla="*/ 476250 w 1012881"/>
                  <a:gd name="connsiteY110" fmla="*/ 769144 h 928688"/>
                  <a:gd name="connsiteX111" fmla="*/ 483394 w 1012881"/>
                  <a:gd name="connsiteY111" fmla="*/ 776288 h 928688"/>
                  <a:gd name="connsiteX112" fmla="*/ 485775 w 1012881"/>
                  <a:gd name="connsiteY112" fmla="*/ 785813 h 928688"/>
                  <a:gd name="connsiteX113" fmla="*/ 483394 w 1012881"/>
                  <a:gd name="connsiteY113" fmla="*/ 809625 h 928688"/>
                  <a:gd name="connsiteX114" fmla="*/ 476250 w 1012881"/>
                  <a:gd name="connsiteY114" fmla="*/ 816769 h 928688"/>
                  <a:gd name="connsiteX115" fmla="*/ 469106 w 1012881"/>
                  <a:gd name="connsiteY115" fmla="*/ 819150 h 928688"/>
                  <a:gd name="connsiteX116" fmla="*/ 433387 w 1012881"/>
                  <a:gd name="connsiteY116" fmla="*/ 821531 h 928688"/>
                  <a:gd name="connsiteX117" fmla="*/ 433387 w 1012881"/>
                  <a:gd name="connsiteY117" fmla="*/ 835819 h 928688"/>
                  <a:gd name="connsiteX118" fmla="*/ 442912 w 1012881"/>
                  <a:gd name="connsiteY118" fmla="*/ 850106 h 928688"/>
                  <a:gd name="connsiteX119" fmla="*/ 445294 w 1012881"/>
                  <a:gd name="connsiteY119" fmla="*/ 871538 h 928688"/>
                  <a:gd name="connsiteX120" fmla="*/ 447675 w 1012881"/>
                  <a:gd name="connsiteY120" fmla="*/ 878681 h 928688"/>
                  <a:gd name="connsiteX121" fmla="*/ 450056 w 1012881"/>
                  <a:gd name="connsiteY121" fmla="*/ 890588 h 928688"/>
                  <a:gd name="connsiteX122" fmla="*/ 452437 w 1012881"/>
                  <a:gd name="connsiteY122" fmla="*/ 909638 h 928688"/>
                  <a:gd name="connsiteX123" fmla="*/ 454819 w 1012881"/>
                  <a:gd name="connsiteY123" fmla="*/ 916781 h 928688"/>
                  <a:gd name="connsiteX124" fmla="*/ 469106 w 1012881"/>
                  <a:gd name="connsiteY124" fmla="*/ 921544 h 928688"/>
                  <a:gd name="connsiteX125" fmla="*/ 476250 w 1012881"/>
                  <a:gd name="connsiteY125" fmla="*/ 923925 h 928688"/>
                  <a:gd name="connsiteX126" fmla="*/ 483394 w 1012881"/>
                  <a:gd name="connsiteY126" fmla="*/ 926306 h 928688"/>
                  <a:gd name="connsiteX127" fmla="*/ 495300 w 1012881"/>
                  <a:gd name="connsiteY127" fmla="*/ 928688 h 928688"/>
                  <a:gd name="connsiteX128" fmla="*/ 547687 w 1012881"/>
                  <a:gd name="connsiteY128" fmla="*/ 926306 h 928688"/>
                  <a:gd name="connsiteX129" fmla="*/ 571500 w 1012881"/>
                  <a:gd name="connsiteY129" fmla="*/ 916781 h 928688"/>
                  <a:gd name="connsiteX130" fmla="*/ 578644 w 1012881"/>
                  <a:gd name="connsiteY130" fmla="*/ 912019 h 928688"/>
                  <a:gd name="connsiteX131" fmla="*/ 585787 w 1012881"/>
                  <a:gd name="connsiteY131" fmla="*/ 904875 h 928688"/>
                  <a:gd name="connsiteX132" fmla="*/ 590550 w 1012881"/>
                  <a:gd name="connsiteY132" fmla="*/ 897731 h 928688"/>
                  <a:gd name="connsiteX133" fmla="*/ 597694 w 1012881"/>
                  <a:gd name="connsiteY133" fmla="*/ 895350 h 928688"/>
                  <a:gd name="connsiteX134" fmla="*/ 604837 w 1012881"/>
                  <a:gd name="connsiteY134" fmla="*/ 890588 h 928688"/>
                  <a:gd name="connsiteX135" fmla="*/ 611981 w 1012881"/>
                  <a:gd name="connsiteY135" fmla="*/ 888206 h 928688"/>
                  <a:gd name="connsiteX136" fmla="*/ 623887 w 1012881"/>
                  <a:gd name="connsiteY136" fmla="*/ 873919 h 928688"/>
                  <a:gd name="connsiteX137" fmla="*/ 626269 w 1012881"/>
                  <a:gd name="connsiteY137" fmla="*/ 864394 h 928688"/>
                  <a:gd name="connsiteX138" fmla="*/ 619125 w 1012881"/>
                  <a:gd name="connsiteY138" fmla="*/ 842963 h 928688"/>
                  <a:gd name="connsiteX139" fmla="*/ 611981 w 1012881"/>
                  <a:gd name="connsiteY139" fmla="*/ 838200 h 928688"/>
                  <a:gd name="connsiteX140" fmla="*/ 604837 w 1012881"/>
                  <a:gd name="connsiteY140" fmla="*/ 835819 h 928688"/>
                  <a:gd name="connsiteX141" fmla="*/ 607219 w 1012881"/>
                  <a:gd name="connsiteY141" fmla="*/ 828675 h 928688"/>
                  <a:gd name="connsiteX142" fmla="*/ 621506 w 1012881"/>
                  <a:gd name="connsiteY142" fmla="*/ 823913 h 928688"/>
                  <a:gd name="connsiteX143" fmla="*/ 640556 w 1012881"/>
                  <a:gd name="connsiteY143" fmla="*/ 819150 h 928688"/>
                  <a:gd name="connsiteX144" fmla="*/ 650081 w 1012881"/>
                  <a:gd name="connsiteY144" fmla="*/ 814388 h 928688"/>
                  <a:gd name="connsiteX145" fmla="*/ 664369 w 1012881"/>
                  <a:gd name="connsiteY145" fmla="*/ 800100 h 928688"/>
                  <a:gd name="connsiteX146" fmla="*/ 671512 w 1012881"/>
                  <a:gd name="connsiteY146" fmla="*/ 795338 h 928688"/>
                  <a:gd name="connsiteX147" fmla="*/ 690562 w 1012881"/>
                  <a:gd name="connsiteY147" fmla="*/ 797719 h 928688"/>
                  <a:gd name="connsiteX148" fmla="*/ 695325 w 1012881"/>
                  <a:gd name="connsiteY148" fmla="*/ 812006 h 928688"/>
                  <a:gd name="connsiteX149" fmla="*/ 692944 w 1012881"/>
                  <a:gd name="connsiteY149" fmla="*/ 819150 h 928688"/>
                  <a:gd name="connsiteX150" fmla="*/ 728662 w 1012881"/>
                  <a:gd name="connsiteY150" fmla="*/ 828675 h 928688"/>
                  <a:gd name="connsiteX151" fmla="*/ 735806 w 1012881"/>
                  <a:gd name="connsiteY151" fmla="*/ 831056 h 928688"/>
                  <a:gd name="connsiteX152" fmla="*/ 742950 w 1012881"/>
                  <a:gd name="connsiteY152" fmla="*/ 845344 h 928688"/>
                  <a:gd name="connsiteX153" fmla="*/ 752475 w 1012881"/>
                  <a:gd name="connsiteY153" fmla="*/ 871538 h 928688"/>
                  <a:gd name="connsiteX154" fmla="*/ 769144 w 1012881"/>
                  <a:gd name="connsiteY154" fmla="*/ 869156 h 928688"/>
                  <a:gd name="connsiteX155" fmla="*/ 771525 w 1012881"/>
                  <a:gd name="connsiteY155" fmla="*/ 862013 h 928688"/>
                  <a:gd name="connsiteX156" fmla="*/ 800100 w 1012881"/>
                  <a:gd name="connsiteY156" fmla="*/ 859631 h 928688"/>
                  <a:gd name="connsiteX157" fmla="*/ 807244 w 1012881"/>
                  <a:gd name="connsiteY157" fmla="*/ 876300 h 928688"/>
                  <a:gd name="connsiteX158" fmla="*/ 812006 w 1012881"/>
                  <a:gd name="connsiteY158" fmla="*/ 902494 h 928688"/>
                  <a:gd name="connsiteX159" fmla="*/ 819150 w 1012881"/>
                  <a:gd name="connsiteY159" fmla="*/ 909638 h 928688"/>
                  <a:gd name="connsiteX160" fmla="*/ 833437 w 1012881"/>
                  <a:gd name="connsiteY160" fmla="*/ 907256 h 928688"/>
                  <a:gd name="connsiteX161" fmla="*/ 847725 w 1012881"/>
                  <a:gd name="connsiteY161" fmla="*/ 895350 h 928688"/>
                  <a:gd name="connsiteX162" fmla="*/ 850106 w 1012881"/>
                  <a:gd name="connsiteY162" fmla="*/ 888206 h 928688"/>
                  <a:gd name="connsiteX163" fmla="*/ 873919 w 1012881"/>
                  <a:gd name="connsiteY163" fmla="*/ 888206 h 928688"/>
                  <a:gd name="connsiteX164" fmla="*/ 881062 w 1012881"/>
                  <a:gd name="connsiteY164" fmla="*/ 892969 h 928688"/>
                  <a:gd name="connsiteX165" fmla="*/ 890587 w 1012881"/>
                  <a:gd name="connsiteY165" fmla="*/ 909638 h 928688"/>
                  <a:gd name="connsiteX166" fmla="*/ 897731 w 1012881"/>
                  <a:gd name="connsiteY166" fmla="*/ 914400 h 928688"/>
                  <a:gd name="connsiteX167" fmla="*/ 907256 w 1012881"/>
                  <a:gd name="connsiteY167" fmla="*/ 912019 h 928688"/>
                  <a:gd name="connsiteX168" fmla="*/ 921544 w 1012881"/>
                  <a:gd name="connsiteY168" fmla="*/ 907256 h 928688"/>
                  <a:gd name="connsiteX169" fmla="*/ 926306 w 1012881"/>
                  <a:gd name="connsiteY169" fmla="*/ 900113 h 928688"/>
                  <a:gd name="connsiteX170" fmla="*/ 940594 w 1012881"/>
                  <a:gd name="connsiteY170" fmla="*/ 890588 h 928688"/>
                  <a:gd name="connsiteX171" fmla="*/ 957262 w 1012881"/>
                  <a:gd name="connsiteY171" fmla="*/ 885825 h 928688"/>
                  <a:gd name="connsiteX172" fmla="*/ 1002506 w 1012881"/>
                  <a:gd name="connsiteY172" fmla="*/ 883444 h 928688"/>
                  <a:gd name="connsiteX173" fmla="*/ 1007269 w 1012881"/>
                  <a:gd name="connsiteY173" fmla="*/ 842963 h 928688"/>
                  <a:gd name="connsiteX174" fmla="*/ 1002506 w 1012881"/>
                  <a:gd name="connsiteY174" fmla="*/ 835819 h 928688"/>
                  <a:gd name="connsiteX175" fmla="*/ 995362 w 1012881"/>
                  <a:gd name="connsiteY175" fmla="*/ 819150 h 928688"/>
                  <a:gd name="connsiteX176" fmla="*/ 990600 w 1012881"/>
                  <a:gd name="connsiteY176" fmla="*/ 812006 h 928688"/>
                  <a:gd name="connsiteX177" fmla="*/ 988219 w 1012881"/>
                  <a:gd name="connsiteY177" fmla="*/ 804863 h 928688"/>
                  <a:gd name="connsiteX178" fmla="*/ 976312 w 1012881"/>
                  <a:gd name="connsiteY178" fmla="*/ 790575 h 928688"/>
                  <a:gd name="connsiteX179" fmla="*/ 969169 w 1012881"/>
                  <a:gd name="connsiteY179" fmla="*/ 788194 h 928688"/>
                  <a:gd name="connsiteX180" fmla="*/ 962025 w 1012881"/>
                  <a:gd name="connsiteY180" fmla="*/ 783431 h 928688"/>
                  <a:gd name="connsiteX181" fmla="*/ 950119 w 1012881"/>
                  <a:gd name="connsiteY181" fmla="*/ 769144 h 928688"/>
                  <a:gd name="connsiteX182" fmla="*/ 947737 w 1012881"/>
                  <a:gd name="connsiteY182" fmla="*/ 762000 h 928688"/>
                  <a:gd name="connsiteX183" fmla="*/ 938212 w 1012881"/>
                  <a:gd name="connsiteY183" fmla="*/ 747713 h 928688"/>
                  <a:gd name="connsiteX184" fmla="*/ 933450 w 1012881"/>
                  <a:gd name="connsiteY184" fmla="*/ 740569 h 928688"/>
                  <a:gd name="connsiteX185" fmla="*/ 931069 w 1012881"/>
                  <a:gd name="connsiteY185" fmla="*/ 733425 h 928688"/>
                  <a:gd name="connsiteX186" fmla="*/ 933450 w 1012881"/>
                  <a:gd name="connsiteY186" fmla="*/ 678656 h 928688"/>
                  <a:gd name="connsiteX187" fmla="*/ 935831 w 1012881"/>
                  <a:gd name="connsiteY187" fmla="*/ 659606 h 928688"/>
                  <a:gd name="connsiteX188" fmla="*/ 933450 w 1012881"/>
                  <a:gd name="connsiteY188" fmla="*/ 585788 h 928688"/>
                  <a:gd name="connsiteX189" fmla="*/ 928687 w 1012881"/>
                  <a:gd name="connsiteY189" fmla="*/ 547688 h 928688"/>
                  <a:gd name="connsiteX190" fmla="*/ 923925 w 1012881"/>
                  <a:gd name="connsiteY190" fmla="*/ 540544 h 928688"/>
                  <a:gd name="connsiteX191" fmla="*/ 921544 w 1012881"/>
                  <a:gd name="connsiteY191" fmla="*/ 516731 h 928688"/>
                  <a:gd name="connsiteX192" fmla="*/ 914400 w 1012881"/>
                  <a:gd name="connsiteY192" fmla="*/ 514350 h 928688"/>
                  <a:gd name="connsiteX193" fmla="*/ 890587 w 1012881"/>
                  <a:gd name="connsiteY193" fmla="*/ 516731 h 928688"/>
                  <a:gd name="connsiteX194" fmla="*/ 883444 w 1012881"/>
                  <a:gd name="connsiteY194" fmla="*/ 523875 h 928688"/>
                  <a:gd name="connsiteX195" fmla="*/ 881062 w 1012881"/>
                  <a:gd name="connsiteY195" fmla="*/ 561975 h 928688"/>
                  <a:gd name="connsiteX196" fmla="*/ 878681 w 1012881"/>
                  <a:gd name="connsiteY196" fmla="*/ 578644 h 928688"/>
                  <a:gd name="connsiteX197" fmla="*/ 873919 w 1012881"/>
                  <a:gd name="connsiteY197" fmla="*/ 600075 h 928688"/>
                  <a:gd name="connsiteX198" fmla="*/ 866775 w 1012881"/>
                  <a:gd name="connsiteY198" fmla="*/ 604838 h 928688"/>
                  <a:gd name="connsiteX199" fmla="*/ 857250 w 1012881"/>
                  <a:gd name="connsiteY199" fmla="*/ 600075 h 928688"/>
                  <a:gd name="connsiteX200" fmla="*/ 850106 w 1012881"/>
                  <a:gd name="connsiteY200" fmla="*/ 583406 h 928688"/>
                  <a:gd name="connsiteX201" fmla="*/ 847725 w 1012881"/>
                  <a:gd name="connsiteY201" fmla="*/ 576263 h 928688"/>
                  <a:gd name="connsiteX202" fmla="*/ 845344 w 1012881"/>
                  <a:gd name="connsiteY202" fmla="*/ 557213 h 928688"/>
                  <a:gd name="connsiteX203" fmla="*/ 838200 w 1012881"/>
                  <a:gd name="connsiteY203" fmla="*/ 542925 h 928688"/>
                  <a:gd name="connsiteX204" fmla="*/ 828675 w 1012881"/>
                  <a:gd name="connsiteY204" fmla="*/ 526256 h 928688"/>
                  <a:gd name="connsiteX205" fmla="*/ 821531 w 1012881"/>
                  <a:gd name="connsiteY205" fmla="*/ 490538 h 928688"/>
                  <a:gd name="connsiteX206" fmla="*/ 814387 w 1012881"/>
                  <a:gd name="connsiteY206" fmla="*/ 469106 h 928688"/>
                  <a:gd name="connsiteX207" fmla="*/ 812006 w 1012881"/>
                  <a:gd name="connsiteY207" fmla="*/ 461963 h 928688"/>
                  <a:gd name="connsiteX208" fmla="*/ 804862 w 1012881"/>
                  <a:gd name="connsiteY208" fmla="*/ 447675 h 928688"/>
                  <a:gd name="connsiteX209" fmla="*/ 802481 w 1012881"/>
                  <a:gd name="connsiteY209" fmla="*/ 435769 h 928688"/>
                  <a:gd name="connsiteX210" fmla="*/ 800100 w 1012881"/>
                  <a:gd name="connsiteY210" fmla="*/ 426244 h 928688"/>
                  <a:gd name="connsiteX211" fmla="*/ 797719 w 1012881"/>
                  <a:gd name="connsiteY211" fmla="*/ 414338 h 928688"/>
                  <a:gd name="connsiteX212" fmla="*/ 795337 w 1012881"/>
                  <a:gd name="connsiteY212" fmla="*/ 407194 h 928688"/>
                  <a:gd name="connsiteX213" fmla="*/ 792956 w 1012881"/>
                  <a:gd name="connsiteY213" fmla="*/ 395288 h 928688"/>
                  <a:gd name="connsiteX214" fmla="*/ 788194 w 1012881"/>
                  <a:gd name="connsiteY214" fmla="*/ 378619 h 928688"/>
                  <a:gd name="connsiteX215" fmla="*/ 781050 w 1012881"/>
                  <a:gd name="connsiteY215" fmla="*/ 347663 h 928688"/>
                  <a:gd name="connsiteX216" fmla="*/ 778669 w 1012881"/>
                  <a:gd name="connsiteY216" fmla="*/ 340519 h 928688"/>
                  <a:gd name="connsiteX217" fmla="*/ 790575 w 1012881"/>
                  <a:gd name="connsiteY217" fmla="*/ 316706 h 928688"/>
                  <a:gd name="connsiteX218" fmla="*/ 795337 w 1012881"/>
                  <a:gd name="connsiteY218" fmla="*/ 309563 h 928688"/>
                  <a:gd name="connsiteX219" fmla="*/ 802481 w 1012881"/>
                  <a:gd name="connsiteY219" fmla="*/ 307181 h 928688"/>
                  <a:gd name="connsiteX220" fmla="*/ 816769 w 1012881"/>
                  <a:gd name="connsiteY220" fmla="*/ 297656 h 928688"/>
                  <a:gd name="connsiteX221" fmla="*/ 821531 w 1012881"/>
                  <a:gd name="connsiteY221" fmla="*/ 280988 h 928688"/>
                  <a:gd name="connsiteX222" fmla="*/ 828675 w 1012881"/>
                  <a:gd name="connsiteY222" fmla="*/ 252413 h 928688"/>
                  <a:gd name="connsiteX223" fmla="*/ 833437 w 1012881"/>
                  <a:gd name="connsiteY223" fmla="*/ 245269 h 928688"/>
                  <a:gd name="connsiteX224" fmla="*/ 833437 w 1012881"/>
                  <a:gd name="connsiteY224" fmla="*/ 214313 h 928688"/>
                  <a:gd name="connsiteX225" fmla="*/ 826294 w 1012881"/>
                  <a:gd name="connsiteY225" fmla="*/ 207169 h 928688"/>
                  <a:gd name="connsiteX226" fmla="*/ 812006 w 1012881"/>
                  <a:gd name="connsiteY226" fmla="*/ 197644 h 928688"/>
                  <a:gd name="connsiteX227" fmla="*/ 804862 w 1012881"/>
                  <a:gd name="connsiteY227" fmla="*/ 192881 h 928688"/>
                  <a:gd name="connsiteX228" fmla="*/ 797719 w 1012881"/>
                  <a:gd name="connsiteY228" fmla="*/ 190500 h 928688"/>
                  <a:gd name="connsiteX229" fmla="*/ 785812 w 1012881"/>
                  <a:gd name="connsiteY229" fmla="*/ 178594 h 928688"/>
                  <a:gd name="connsiteX230" fmla="*/ 778669 w 1012881"/>
                  <a:gd name="connsiteY230" fmla="*/ 164306 h 928688"/>
                  <a:gd name="connsiteX231" fmla="*/ 781050 w 1012881"/>
                  <a:gd name="connsiteY231" fmla="*/ 147638 h 928688"/>
                  <a:gd name="connsiteX232" fmla="*/ 778669 w 1012881"/>
                  <a:gd name="connsiteY232" fmla="*/ 90488 h 928688"/>
                  <a:gd name="connsiteX233" fmla="*/ 764381 w 1012881"/>
                  <a:gd name="connsiteY233" fmla="*/ 85725 h 928688"/>
                  <a:gd name="connsiteX234" fmla="*/ 666750 w 1012881"/>
                  <a:gd name="connsiteY234" fmla="*/ 83344 h 928688"/>
                  <a:gd name="connsiteX235" fmla="*/ 654844 w 1012881"/>
                  <a:gd name="connsiteY235" fmla="*/ 80963 h 928688"/>
                  <a:gd name="connsiteX236" fmla="*/ 633412 w 1012881"/>
                  <a:gd name="connsiteY236" fmla="*/ 73819 h 928688"/>
                  <a:gd name="connsiteX237" fmla="*/ 626269 w 1012881"/>
                  <a:gd name="connsiteY237" fmla="*/ 71438 h 928688"/>
                  <a:gd name="connsiteX238" fmla="*/ 607219 w 1012881"/>
                  <a:gd name="connsiteY238" fmla="*/ 66675 h 928688"/>
                  <a:gd name="connsiteX239" fmla="*/ 592931 w 1012881"/>
                  <a:gd name="connsiteY239" fmla="*/ 61913 h 928688"/>
                  <a:gd name="connsiteX240" fmla="*/ 585787 w 1012881"/>
                  <a:gd name="connsiteY240" fmla="*/ 57150 h 928688"/>
                  <a:gd name="connsiteX241" fmla="*/ 571500 w 1012881"/>
                  <a:gd name="connsiteY241" fmla="*/ 45244 h 928688"/>
                  <a:gd name="connsiteX242" fmla="*/ 564356 w 1012881"/>
                  <a:gd name="connsiteY242" fmla="*/ 42863 h 928688"/>
                  <a:gd name="connsiteX243" fmla="*/ 542925 w 1012881"/>
                  <a:gd name="connsiteY243" fmla="*/ 26194 h 928688"/>
                  <a:gd name="connsiteX244" fmla="*/ 538162 w 1012881"/>
                  <a:gd name="connsiteY244" fmla="*/ 19050 h 928688"/>
                  <a:gd name="connsiteX245" fmla="*/ 528637 w 1012881"/>
                  <a:gd name="connsiteY245" fmla="*/ 14288 h 928688"/>
                  <a:gd name="connsiteX246" fmla="*/ 511969 w 1012881"/>
                  <a:gd name="connsiteY246" fmla="*/ 9525 h 928688"/>
                  <a:gd name="connsiteX247" fmla="*/ 485775 w 1012881"/>
                  <a:gd name="connsiteY247" fmla="*/ 4763 h 928688"/>
                  <a:gd name="connsiteX248" fmla="*/ 469106 w 1012881"/>
                  <a:gd name="connsiteY248" fmla="*/ 2381 h 928688"/>
                  <a:gd name="connsiteX249" fmla="*/ 457200 w 1012881"/>
                  <a:gd name="connsiteY249" fmla="*/ 0 h 928688"/>
                  <a:gd name="connsiteX250" fmla="*/ 340519 w 1012881"/>
                  <a:gd name="connsiteY250" fmla="*/ 2381 h 928688"/>
                  <a:gd name="connsiteX251" fmla="*/ 326231 w 1012881"/>
                  <a:gd name="connsiteY251" fmla="*/ 9525 h 928688"/>
                  <a:gd name="connsiteX252" fmla="*/ 311944 w 1012881"/>
                  <a:gd name="connsiteY252" fmla="*/ 14288 h 928688"/>
                  <a:gd name="connsiteX253" fmla="*/ 304800 w 1012881"/>
                  <a:gd name="connsiteY253" fmla="*/ 19050 h 928688"/>
                  <a:gd name="connsiteX254" fmla="*/ 295275 w 1012881"/>
                  <a:gd name="connsiteY254" fmla="*/ 21431 h 928688"/>
                  <a:gd name="connsiteX255" fmla="*/ 280987 w 1012881"/>
                  <a:gd name="connsiteY255" fmla="*/ 26194 h 928688"/>
                  <a:gd name="connsiteX256" fmla="*/ 273844 w 1012881"/>
                  <a:gd name="connsiteY256" fmla="*/ 28575 h 928688"/>
                  <a:gd name="connsiteX257" fmla="*/ 264319 w 1012881"/>
                  <a:gd name="connsiteY257" fmla="*/ 33338 h 928688"/>
                  <a:gd name="connsiteX258" fmla="*/ 250031 w 1012881"/>
                  <a:gd name="connsiteY258" fmla="*/ 40481 h 928688"/>
                  <a:gd name="connsiteX259" fmla="*/ 245269 w 1012881"/>
                  <a:gd name="connsiteY259" fmla="*/ 47625 h 928688"/>
                  <a:gd name="connsiteX260" fmla="*/ 230981 w 1012881"/>
                  <a:gd name="connsiteY260" fmla="*/ 59531 h 928688"/>
                  <a:gd name="connsiteX261" fmla="*/ 223837 w 1012881"/>
                  <a:gd name="connsiteY261" fmla="*/ 61913 h 928688"/>
                  <a:gd name="connsiteX262" fmla="*/ 209550 w 1012881"/>
                  <a:gd name="connsiteY262" fmla="*/ 71438 h 928688"/>
                  <a:gd name="connsiteX263" fmla="*/ 202406 w 1012881"/>
                  <a:gd name="connsiteY263" fmla="*/ 73819 h 928688"/>
                  <a:gd name="connsiteX264" fmla="*/ 195262 w 1012881"/>
                  <a:gd name="connsiteY264" fmla="*/ 78581 h 928688"/>
                  <a:gd name="connsiteX265" fmla="*/ 185737 w 1012881"/>
                  <a:gd name="connsiteY265" fmla="*/ 80963 h 928688"/>
                  <a:gd name="connsiteX266" fmla="*/ 142875 w 1012881"/>
                  <a:gd name="connsiteY266" fmla="*/ 88106 h 928688"/>
                  <a:gd name="connsiteX267" fmla="*/ 195262 w 1012881"/>
                  <a:gd name="connsiteY267" fmla="*/ 95250 h 92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12881" h="928688">
                    <a:moveTo>
                      <a:pt x="195262" y="95250"/>
                    </a:moveTo>
                    <a:cubicBezTo>
                      <a:pt x="192087" y="96837"/>
                      <a:pt x="147651" y="97631"/>
                      <a:pt x="123825" y="97631"/>
                    </a:cubicBezTo>
                    <a:cubicBezTo>
                      <a:pt x="54984" y="97631"/>
                      <a:pt x="126238" y="91913"/>
                      <a:pt x="69056" y="97631"/>
                    </a:cubicBezTo>
                    <a:cubicBezTo>
                      <a:pt x="69740" y="104471"/>
                      <a:pt x="69526" y="120003"/>
                      <a:pt x="73819" y="128588"/>
                    </a:cubicBezTo>
                    <a:cubicBezTo>
                      <a:pt x="75099" y="131147"/>
                      <a:pt x="76994" y="133350"/>
                      <a:pt x="78581" y="135731"/>
                    </a:cubicBezTo>
                    <a:cubicBezTo>
                      <a:pt x="84566" y="153687"/>
                      <a:pt x="76493" y="131554"/>
                      <a:pt x="85725" y="150019"/>
                    </a:cubicBezTo>
                    <a:cubicBezTo>
                      <a:pt x="86848" y="152264"/>
                      <a:pt x="87312" y="154782"/>
                      <a:pt x="88106" y="157163"/>
                    </a:cubicBezTo>
                    <a:cubicBezTo>
                      <a:pt x="87312" y="164307"/>
                      <a:pt x="86907" y="171504"/>
                      <a:pt x="85725" y="178594"/>
                    </a:cubicBezTo>
                    <a:cubicBezTo>
                      <a:pt x="85312" y="181070"/>
                      <a:pt x="85119" y="183963"/>
                      <a:pt x="83344" y="185738"/>
                    </a:cubicBezTo>
                    <a:cubicBezTo>
                      <a:pt x="74112" y="194970"/>
                      <a:pt x="66389" y="196152"/>
                      <a:pt x="54769" y="200025"/>
                    </a:cubicBezTo>
                    <a:lnTo>
                      <a:pt x="47625" y="202406"/>
                    </a:lnTo>
                    <a:cubicBezTo>
                      <a:pt x="42862" y="205581"/>
                      <a:pt x="36512" y="207168"/>
                      <a:pt x="33337" y="211931"/>
                    </a:cubicBezTo>
                    <a:cubicBezTo>
                      <a:pt x="29103" y="218282"/>
                      <a:pt x="27779" y="221282"/>
                      <a:pt x="21431" y="226219"/>
                    </a:cubicBezTo>
                    <a:cubicBezTo>
                      <a:pt x="16913" y="229733"/>
                      <a:pt x="11906" y="232569"/>
                      <a:pt x="7144" y="235744"/>
                    </a:cubicBezTo>
                    <a:lnTo>
                      <a:pt x="0" y="240506"/>
                    </a:lnTo>
                    <a:cubicBezTo>
                      <a:pt x="794" y="249237"/>
                      <a:pt x="-28" y="258270"/>
                      <a:pt x="2381" y="266700"/>
                    </a:cubicBezTo>
                    <a:cubicBezTo>
                      <a:pt x="4656" y="274662"/>
                      <a:pt x="13239" y="274481"/>
                      <a:pt x="19050" y="276225"/>
                    </a:cubicBezTo>
                    <a:cubicBezTo>
                      <a:pt x="23858" y="277668"/>
                      <a:pt x="28575" y="279400"/>
                      <a:pt x="33337" y="280988"/>
                    </a:cubicBezTo>
                    <a:lnTo>
                      <a:pt x="40481" y="283369"/>
                    </a:lnTo>
                    <a:cubicBezTo>
                      <a:pt x="70077" y="293233"/>
                      <a:pt x="46550" y="286144"/>
                      <a:pt x="119062" y="288131"/>
                    </a:cubicBezTo>
                    <a:lnTo>
                      <a:pt x="221456" y="290513"/>
                    </a:lnTo>
                    <a:cubicBezTo>
                      <a:pt x="223837" y="292894"/>
                      <a:pt x="226013" y="295500"/>
                      <a:pt x="228600" y="297656"/>
                    </a:cubicBezTo>
                    <a:cubicBezTo>
                      <a:pt x="230799" y="299488"/>
                      <a:pt x="233956" y="300184"/>
                      <a:pt x="235744" y="302419"/>
                    </a:cubicBezTo>
                    <a:cubicBezTo>
                      <a:pt x="237312" y="304379"/>
                      <a:pt x="237003" y="307318"/>
                      <a:pt x="238125" y="309563"/>
                    </a:cubicBezTo>
                    <a:cubicBezTo>
                      <a:pt x="239405" y="312123"/>
                      <a:pt x="241607" y="314147"/>
                      <a:pt x="242887" y="316706"/>
                    </a:cubicBezTo>
                    <a:cubicBezTo>
                      <a:pt x="244010" y="318951"/>
                      <a:pt x="244579" y="321436"/>
                      <a:pt x="245269" y="323850"/>
                    </a:cubicBezTo>
                    <a:cubicBezTo>
                      <a:pt x="248186" y="334059"/>
                      <a:pt x="249495" y="344597"/>
                      <a:pt x="252412" y="354806"/>
                    </a:cubicBezTo>
                    <a:cubicBezTo>
                      <a:pt x="257621" y="373037"/>
                      <a:pt x="251210" y="350317"/>
                      <a:pt x="259556" y="369094"/>
                    </a:cubicBezTo>
                    <a:cubicBezTo>
                      <a:pt x="259562" y="369108"/>
                      <a:pt x="265507" y="386946"/>
                      <a:pt x="266700" y="390525"/>
                    </a:cubicBezTo>
                    <a:lnTo>
                      <a:pt x="273844" y="411956"/>
                    </a:lnTo>
                    <a:lnTo>
                      <a:pt x="276225" y="419100"/>
                    </a:lnTo>
                    <a:cubicBezTo>
                      <a:pt x="277019" y="421481"/>
                      <a:pt x="277214" y="424156"/>
                      <a:pt x="278606" y="426244"/>
                    </a:cubicBezTo>
                    <a:cubicBezTo>
                      <a:pt x="290432" y="443982"/>
                      <a:pt x="275233" y="422196"/>
                      <a:pt x="290512" y="440531"/>
                    </a:cubicBezTo>
                    <a:cubicBezTo>
                      <a:pt x="297991" y="449506"/>
                      <a:pt x="293811" y="451949"/>
                      <a:pt x="309562" y="457200"/>
                    </a:cubicBezTo>
                    <a:lnTo>
                      <a:pt x="323850" y="461963"/>
                    </a:lnTo>
                    <a:cubicBezTo>
                      <a:pt x="334962" y="461169"/>
                      <a:pt x="346379" y="462283"/>
                      <a:pt x="357187" y="459581"/>
                    </a:cubicBezTo>
                    <a:cubicBezTo>
                      <a:pt x="362740" y="458193"/>
                      <a:pt x="366712" y="453231"/>
                      <a:pt x="371475" y="450056"/>
                    </a:cubicBezTo>
                    <a:lnTo>
                      <a:pt x="378619" y="445294"/>
                    </a:lnTo>
                    <a:cubicBezTo>
                      <a:pt x="383381" y="446088"/>
                      <a:pt x="388326" y="446148"/>
                      <a:pt x="392906" y="447675"/>
                    </a:cubicBezTo>
                    <a:cubicBezTo>
                      <a:pt x="405152" y="451757"/>
                      <a:pt x="395741" y="452324"/>
                      <a:pt x="404812" y="459581"/>
                    </a:cubicBezTo>
                    <a:cubicBezTo>
                      <a:pt x="406772" y="461149"/>
                      <a:pt x="409575" y="461169"/>
                      <a:pt x="411956" y="461963"/>
                    </a:cubicBezTo>
                    <a:cubicBezTo>
                      <a:pt x="413544" y="464344"/>
                      <a:pt x="414695" y="467082"/>
                      <a:pt x="416719" y="469106"/>
                    </a:cubicBezTo>
                    <a:cubicBezTo>
                      <a:pt x="426747" y="479134"/>
                      <a:pt x="434521" y="472900"/>
                      <a:pt x="450056" y="471488"/>
                    </a:cubicBezTo>
                    <a:cubicBezTo>
                      <a:pt x="452437" y="469900"/>
                      <a:pt x="454585" y="467887"/>
                      <a:pt x="457200" y="466725"/>
                    </a:cubicBezTo>
                    <a:cubicBezTo>
                      <a:pt x="461787" y="464686"/>
                      <a:pt x="471487" y="461963"/>
                      <a:pt x="471487" y="461963"/>
                    </a:cubicBezTo>
                    <a:cubicBezTo>
                      <a:pt x="487362" y="462757"/>
                      <a:pt x="503261" y="463170"/>
                      <a:pt x="519112" y="464344"/>
                    </a:cubicBezTo>
                    <a:cubicBezTo>
                      <a:pt x="524709" y="464759"/>
                      <a:pt x="530761" y="469235"/>
                      <a:pt x="535781" y="466725"/>
                    </a:cubicBezTo>
                    <a:cubicBezTo>
                      <a:pt x="539401" y="464915"/>
                      <a:pt x="535917" y="458186"/>
                      <a:pt x="538162" y="454819"/>
                    </a:cubicBezTo>
                    <a:cubicBezTo>
                      <a:pt x="539554" y="452730"/>
                      <a:pt x="542925" y="453232"/>
                      <a:pt x="545306" y="452438"/>
                    </a:cubicBezTo>
                    <a:lnTo>
                      <a:pt x="588169" y="454819"/>
                    </a:lnTo>
                    <a:cubicBezTo>
                      <a:pt x="623027" y="456997"/>
                      <a:pt x="611210" y="454626"/>
                      <a:pt x="631031" y="459581"/>
                    </a:cubicBezTo>
                    <a:cubicBezTo>
                      <a:pt x="646112" y="458787"/>
                      <a:pt x="661280" y="458999"/>
                      <a:pt x="676275" y="457200"/>
                    </a:cubicBezTo>
                    <a:cubicBezTo>
                      <a:pt x="681259" y="456602"/>
                      <a:pt x="690562" y="452438"/>
                      <a:pt x="690562" y="452438"/>
                    </a:cubicBezTo>
                    <a:cubicBezTo>
                      <a:pt x="692943" y="450850"/>
                      <a:pt x="695026" y="448680"/>
                      <a:pt x="697706" y="447675"/>
                    </a:cubicBezTo>
                    <a:cubicBezTo>
                      <a:pt x="710165" y="443003"/>
                      <a:pt x="719913" y="446324"/>
                      <a:pt x="733425" y="447675"/>
                    </a:cubicBezTo>
                    <a:cubicBezTo>
                      <a:pt x="735806" y="449263"/>
                      <a:pt x="739149" y="449953"/>
                      <a:pt x="740569" y="452438"/>
                    </a:cubicBezTo>
                    <a:cubicBezTo>
                      <a:pt x="744207" y="458804"/>
                      <a:pt x="743246" y="472608"/>
                      <a:pt x="740569" y="478631"/>
                    </a:cubicBezTo>
                    <a:cubicBezTo>
                      <a:pt x="739201" y="481708"/>
                      <a:pt x="735493" y="483117"/>
                      <a:pt x="733425" y="485775"/>
                    </a:cubicBezTo>
                    <a:cubicBezTo>
                      <a:pt x="729911" y="490293"/>
                      <a:pt x="723900" y="500063"/>
                      <a:pt x="723900" y="500063"/>
                    </a:cubicBezTo>
                    <a:cubicBezTo>
                      <a:pt x="723106" y="503238"/>
                      <a:pt x="722808" y="506580"/>
                      <a:pt x="721519" y="509588"/>
                    </a:cubicBezTo>
                    <a:cubicBezTo>
                      <a:pt x="720392" y="512218"/>
                      <a:pt x="718176" y="514246"/>
                      <a:pt x="716756" y="516731"/>
                    </a:cubicBezTo>
                    <a:cubicBezTo>
                      <a:pt x="714995" y="519813"/>
                      <a:pt x="713820" y="523212"/>
                      <a:pt x="711994" y="526256"/>
                    </a:cubicBezTo>
                    <a:cubicBezTo>
                      <a:pt x="709049" y="531164"/>
                      <a:pt x="705644" y="535781"/>
                      <a:pt x="702469" y="540544"/>
                    </a:cubicBezTo>
                    <a:cubicBezTo>
                      <a:pt x="700881" y="542925"/>
                      <a:pt x="700421" y="546783"/>
                      <a:pt x="697706" y="547688"/>
                    </a:cubicBezTo>
                    <a:lnTo>
                      <a:pt x="690562" y="550069"/>
                    </a:lnTo>
                    <a:cubicBezTo>
                      <a:pt x="675451" y="565182"/>
                      <a:pt x="684883" y="559532"/>
                      <a:pt x="647700" y="552450"/>
                    </a:cubicBezTo>
                    <a:cubicBezTo>
                      <a:pt x="642768" y="551511"/>
                      <a:pt x="638175" y="549276"/>
                      <a:pt x="633412" y="547688"/>
                    </a:cubicBezTo>
                    <a:lnTo>
                      <a:pt x="626269" y="545306"/>
                    </a:lnTo>
                    <a:cubicBezTo>
                      <a:pt x="623094" y="540544"/>
                      <a:pt x="621506" y="534194"/>
                      <a:pt x="616744" y="531019"/>
                    </a:cubicBezTo>
                    <a:cubicBezTo>
                      <a:pt x="614363" y="529431"/>
                      <a:pt x="612280" y="527261"/>
                      <a:pt x="609600" y="526256"/>
                    </a:cubicBezTo>
                    <a:cubicBezTo>
                      <a:pt x="605810" y="524835"/>
                      <a:pt x="601620" y="524857"/>
                      <a:pt x="597694" y="523875"/>
                    </a:cubicBezTo>
                    <a:cubicBezTo>
                      <a:pt x="575670" y="518370"/>
                      <a:pt x="615498" y="524612"/>
                      <a:pt x="571500" y="519113"/>
                    </a:cubicBezTo>
                    <a:cubicBezTo>
                      <a:pt x="558800" y="519907"/>
                      <a:pt x="546062" y="520228"/>
                      <a:pt x="533400" y="521494"/>
                    </a:cubicBezTo>
                    <a:cubicBezTo>
                      <a:pt x="529129" y="521921"/>
                      <a:pt x="521082" y="524806"/>
                      <a:pt x="516731" y="526256"/>
                    </a:cubicBezTo>
                    <a:cubicBezTo>
                      <a:pt x="515453" y="527215"/>
                      <a:pt x="502910" y="536897"/>
                      <a:pt x="500062" y="538163"/>
                    </a:cubicBezTo>
                    <a:cubicBezTo>
                      <a:pt x="495475" y="540202"/>
                      <a:pt x="490537" y="541338"/>
                      <a:pt x="485775" y="542925"/>
                    </a:cubicBezTo>
                    <a:lnTo>
                      <a:pt x="478631" y="545306"/>
                    </a:lnTo>
                    <a:cubicBezTo>
                      <a:pt x="476250" y="546894"/>
                      <a:pt x="473511" y="548045"/>
                      <a:pt x="471487" y="550069"/>
                    </a:cubicBezTo>
                    <a:cubicBezTo>
                      <a:pt x="469463" y="552093"/>
                      <a:pt x="468225" y="554776"/>
                      <a:pt x="466725" y="557213"/>
                    </a:cubicBezTo>
                    <a:cubicBezTo>
                      <a:pt x="461874" y="565096"/>
                      <a:pt x="457288" y="573142"/>
                      <a:pt x="452437" y="581025"/>
                    </a:cubicBezTo>
                    <a:cubicBezTo>
                      <a:pt x="450937" y="583462"/>
                      <a:pt x="450056" y="586582"/>
                      <a:pt x="447675" y="588169"/>
                    </a:cubicBezTo>
                    <a:cubicBezTo>
                      <a:pt x="437808" y="594746"/>
                      <a:pt x="443307" y="592237"/>
                      <a:pt x="431006" y="595313"/>
                    </a:cubicBezTo>
                    <a:cubicBezTo>
                      <a:pt x="425450" y="593725"/>
                      <a:pt x="418960" y="594017"/>
                      <a:pt x="414337" y="590550"/>
                    </a:cubicBezTo>
                    <a:cubicBezTo>
                      <a:pt x="411719" y="588586"/>
                      <a:pt x="413771" y="583748"/>
                      <a:pt x="411956" y="581025"/>
                    </a:cubicBezTo>
                    <a:cubicBezTo>
                      <a:pt x="410368" y="578644"/>
                      <a:pt x="407372" y="577543"/>
                      <a:pt x="404812" y="576263"/>
                    </a:cubicBezTo>
                    <a:cubicBezTo>
                      <a:pt x="402567" y="575140"/>
                      <a:pt x="400082" y="574571"/>
                      <a:pt x="397669" y="573881"/>
                    </a:cubicBezTo>
                    <a:cubicBezTo>
                      <a:pt x="389828" y="571640"/>
                      <a:pt x="384414" y="570754"/>
                      <a:pt x="376237" y="569119"/>
                    </a:cubicBezTo>
                    <a:cubicBezTo>
                      <a:pt x="349105" y="555552"/>
                      <a:pt x="365225" y="561702"/>
                      <a:pt x="304800" y="566738"/>
                    </a:cubicBezTo>
                    <a:cubicBezTo>
                      <a:pt x="296733" y="567410"/>
                      <a:pt x="280987" y="571500"/>
                      <a:pt x="280987" y="571500"/>
                    </a:cubicBezTo>
                    <a:cubicBezTo>
                      <a:pt x="279400" y="573881"/>
                      <a:pt x="277352" y="576013"/>
                      <a:pt x="276225" y="578644"/>
                    </a:cubicBezTo>
                    <a:cubicBezTo>
                      <a:pt x="274936" y="581652"/>
                      <a:pt x="275746" y="585506"/>
                      <a:pt x="273844" y="588169"/>
                    </a:cubicBezTo>
                    <a:cubicBezTo>
                      <a:pt x="268564" y="595561"/>
                      <a:pt x="262510" y="595765"/>
                      <a:pt x="254794" y="597694"/>
                    </a:cubicBezTo>
                    <a:cubicBezTo>
                      <a:pt x="250677" y="610043"/>
                      <a:pt x="251665" y="600554"/>
                      <a:pt x="259556" y="614363"/>
                    </a:cubicBezTo>
                    <a:cubicBezTo>
                      <a:pt x="260801" y="616542"/>
                      <a:pt x="260369" y="619546"/>
                      <a:pt x="261937" y="621506"/>
                    </a:cubicBezTo>
                    <a:cubicBezTo>
                      <a:pt x="264614" y="624852"/>
                      <a:pt x="272115" y="627828"/>
                      <a:pt x="276225" y="628650"/>
                    </a:cubicBezTo>
                    <a:cubicBezTo>
                      <a:pt x="292498" y="631904"/>
                      <a:pt x="313250" y="632388"/>
                      <a:pt x="328612" y="633413"/>
                    </a:cubicBezTo>
                    <a:cubicBezTo>
                      <a:pt x="333375" y="634207"/>
                      <a:pt x="338179" y="634782"/>
                      <a:pt x="342900" y="635794"/>
                    </a:cubicBezTo>
                    <a:cubicBezTo>
                      <a:pt x="349300" y="637165"/>
                      <a:pt x="361950" y="640556"/>
                      <a:pt x="361950" y="640556"/>
                    </a:cubicBezTo>
                    <a:cubicBezTo>
                      <a:pt x="365129" y="645326"/>
                      <a:pt x="370242" y="653283"/>
                      <a:pt x="373856" y="657225"/>
                    </a:cubicBezTo>
                    <a:cubicBezTo>
                      <a:pt x="379924" y="663845"/>
                      <a:pt x="386556" y="669925"/>
                      <a:pt x="392906" y="676275"/>
                    </a:cubicBezTo>
                    <a:cubicBezTo>
                      <a:pt x="396081" y="679450"/>
                      <a:pt x="399940" y="682064"/>
                      <a:pt x="402431" y="685800"/>
                    </a:cubicBezTo>
                    <a:lnTo>
                      <a:pt x="407194" y="692944"/>
                    </a:lnTo>
                    <a:cubicBezTo>
                      <a:pt x="407988" y="695325"/>
                      <a:pt x="408586" y="697781"/>
                      <a:pt x="409575" y="700088"/>
                    </a:cubicBezTo>
                    <a:cubicBezTo>
                      <a:pt x="410973" y="703351"/>
                      <a:pt x="413317" y="706213"/>
                      <a:pt x="414337" y="709613"/>
                    </a:cubicBezTo>
                    <a:cubicBezTo>
                      <a:pt x="417080" y="718754"/>
                      <a:pt x="415220" y="723282"/>
                      <a:pt x="419100" y="731044"/>
                    </a:cubicBezTo>
                    <a:cubicBezTo>
                      <a:pt x="420380" y="733604"/>
                      <a:pt x="422275" y="735807"/>
                      <a:pt x="423862" y="738188"/>
                    </a:cubicBezTo>
                    <a:cubicBezTo>
                      <a:pt x="432593" y="737394"/>
                      <a:pt x="441422" y="737330"/>
                      <a:pt x="450056" y="735806"/>
                    </a:cubicBezTo>
                    <a:cubicBezTo>
                      <a:pt x="455000" y="734934"/>
                      <a:pt x="464344" y="731044"/>
                      <a:pt x="464344" y="731044"/>
                    </a:cubicBezTo>
                    <a:cubicBezTo>
                      <a:pt x="465138" y="733425"/>
                      <a:pt x="466370" y="735703"/>
                      <a:pt x="466725" y="738188"/>
                    </a:cubicBezTo>
                    <a:cubicBezTo>
                      <a:pt x="467965" y="746867"/>
                      <a:pt x="466528" y="756002"/>
                      <a:pt x="469106" y="764381"/>
                    </a:cubicBezTo>
                    <a:cubicBezTo>
                      <a:pt x="469948" y="767117"/>
                      <a:pt x="474051" y="767312"/>
                      <a:pt x="476250" y="769144"/>
                    </a:cubicBezTo>
                    <a:cubicBezTo>
                      <a:pt x="478837" y="771300"/>
                      <a:pt x="481013" y="773907"/>
                      <a:pt x="483394" y="776288"/>
                    </a:cubicBezTo>
                    <a:cubicBezTo>
                      <a:pt x="484188" y="779463"/>
                      <a:pt x="485775" y="782540"/>
                      <a:pt x="485775" y="785813"/>
                    </a:cubicBezTo>
                    <a:cubicBezTo>
                      <a:pt x="485775" y="793790"/>
                      <a:pt x="485740" y="802001"/>
                      <a:pt x="483394" y="809625"/>
                    </a:cubicBezTo>
                    <a:cubicBezTo>
                      <a:pt x="482404" y="812844"/>
                      <a:pt x="479052" y="814901"/>
                      <a:pt x="476250" y="816769"/>
                    </a:cubicBezTo>
                    <a:cubicBezTo>
                      <a:pt x="474161" y="818161"/>
                      <a:pt x="471601" y="818873"/>
                      <a:pt x="469106" y="819150"/>
                    </a:cubicBezTo>
                    <a:cubicBezTo>
                      <a:pt x="457246" y="820468"/>
                      <a:pt x="445293" y="820737"/>
                      <a:pt x="433387" y="821531"/>
                    </a:cubicBezTo>
                    <a:cubicBezTo>
                      <a:pt x="431006" y="828674"/>
                      <a:pt x="429418" y="828676"/>
                      <a:pt x="433387" y="835819"/>
                    </a:cubicBezTo>
                    <a:cubicBezTo>
                      <a:pt x="436167" y="840822"/>
                      <a:pt x="442912" y="850106"/>
                      <a:pt x="442912" y="850106"/>
                    </a:cubicBezTo>
                    <a:cubicBezTo>
                      <a:pt x="443706" y="857250"/>
                      <a:pt x="444112" y="864448"/>
                      <a:pt x="445294" y="871538"/>
                    </a:cubicBezTo>
                    <a:cubicBezTo>
                      <a:pt x="445707" y="874014"/>
                      <a:pt x="447066" y="876246"/>
                      <a:pt x="447675" y="878681"/>
                    </a:cubicBezTo>
                    <a:cubicBezTo>
                      <a:pt x="448657" y="882608"/>
                      <a:pt x="449441" y="886587"/>
                      <a:pt x="450056" y="890588"/>
                    </a:cubicBezTo>
                    <a:cubicBezTo>
                      <a:pt x="451029" y="896913"/>
                      <a:pt x="451292" y="903342"/>
                      <a:pt x="452437" y="909638"/>
                    </a:cubicBezTo>
                    <a:cubicBezTo>
                      <a:pt x="452886" y="912107"/>
                      <a:pt x="452777" y="915322"/>
                      <a:pt x="454819" y="916781"/>
                    </a:cubicBezTo>
                    <a:cubicBezTo>
                      <a:pt x="458904" y="919699"/>
                      <a:pt x="464344" y="919956"/>
                      <a:pt x="469106" y="921544"/>
                    </a:cubicBezTo>
                    <a:lnTo>
                      <a:pt x="476250" y="923925"/>
                    </a:lnTo>
                    <a:cubicBezTo>
                      <a:pt x="478631" y="924719"/>
                      <a:pt x="480933" y="925814"/>
                      <a:pt x="483394" y="926306"/>
                    </a:cubicBezTo>
                    <a:lnTo>
                      <a:pt x="495300" y="928688"/>
                    </a:lnTo>
                    <a:cubicBezTo>
                      <a:pt x="512762" y="927894"/>
                      <a:pt x="530306" y="928168"/>
                      <a:pt x="547687" y="926306"/>
                    </a:cubicBezTo>
                    <a:cubicBezTo>
                      <a:pt x="553696" y="925662"/>
                      <a:pt x="565720" y="920084"/>
                      <a:pt x="571500" y="916781"/>
                    </a:cubicBezTo>
                    <a:cubicBezTo>
                      <a:pt x="573985" y="915361"/>
                      <a:pt x="576445" y="913851"/>
                      <a:pt x="578644" y="912019"/>
                    </a:cubicBezTo>
                    <a:cubicBezTo>
                      <a:pt x="581231" y="909863"/>
                      <a:pt x="583631" y="907462"/>
                      <a:pt x="585787" y="904875"/>
                    </a:cubicBezTo>
                    <a:cubicBezTo>
                      <a:pt x="587619" y="902676"/>
                      <a:pt x="588315" y="899519"/>
                      <a:pt x="590550" y="897731"/>
                    </a:cubicBezTo>
                    <a:cubicBezTo>
                      <a:pt x="592510" y="896163"/>
                      <a:pt x="595313" y="896144"/>
                      <a:pt x="597694" y="895350"/>
                    </a:cubicBezTo>
                    <a:cubicBezTo>
                      <a:pt x="600075" y="893763"/>
                      <a:pt x="602278" y="891868"/>
                      <a:pt x="604837" y="890588"/>
                    </a:cubicBezTo>
                    <a:cubicBezTo>
                      <a:pt x="607082" y="889465"/>
                      <a:pt x="609892" y="889598"/>
                      <a:pt x="611981" y="888206"/>
                    </a:cubicBezTo>
                    <a:cubicBezTo>
                      <a:pt x="617484" y="884537"/>
                      <a:pt x="620372" y="879193"/>
                      <a:pt x="623887" y="873919"/>
                    </a:cubicBezTo>
                    <a:cubicBezTo>
                      <a:pt x="624681" y="870744"/>
                      <a:pt x="626269" y="867667"/>
                      <a:pt x="626269" y="864394"/>
                    </a:cubicBezTo>
                    <a:cubicBezTo>
                      <a:pt x="626269" y="856413"/>
                      <a:pt x="624875" y="848713"/>
                      <a:pt x="619125" y="842963"/>
                    </a:cubicBezTo>
                    <a:cubicBezTo>
                      <a:pt x="617101" y="840939"/>
                      <a:pt x="614541" y="839480"/>
                      <a:pt x="611981" y="838200"/>
                    </a:cubicBezTo>
                    <a:cubicBezTo>
                      <a:pt x="609736" y="837077"/>
                      <a:pt x="607218" y="836613"/>
                      <a:pt x="604837" y="835819"/>
                    </a:cubicBezTo>
                    <a:cubicBezTo>
                      <a:pt x="605631" y="833438"/>
                      <a:pt x="605176" y="830134"/>
                      <a:pt x="607219" y="828675"/>
                    </a:cubicBezTo>
                    <a:cubicBezTo>
                      <a:pt x="611304" y="825757"/>
                      <a:pt x="616744" y="825500"/>
                      <a:pt x="621506" y="823913"/>
                    </a:cubicBezTo>
                    <a:cubicBezTo>
                      <a:pt x="632496" y="820250"/>
                      <a:pt x="626178" y="822025"/>
                      <a:pt x="640556" y="819150"/>
                    </a:cubicBezTo>
                    <a:cubicBezTo>
                      <a:pt x="643731" y="817563"/>
                      <a:pt x="647309" y="816605"/>
                      <a:pt x="650081" y="814388"/>
                    </a:cubicBezTo>
                    <a:cubicBezTo>
                      <a:pt x="655341" y="810180"/>
                      <a:pt x="658765" y="803836"/>
                      <a:pt x="664369" y="800100"/>
                    </a:cubicBezTo>
                    <a:lnTo>
                      <a:pt x="671512" y="795338"/>
                    </a:lnTo>
                    <a:cubicBezTo>
                      <a:pt x="677862" y="796132"/>
                      <a:pt x="685319" y="794049"/>
                      <a:pt x="690562" y="797719"/>
                    </a:cubicBezTo>
                    <a:cubicBezTo>
                      <a:pt x="694675" y="800598"/>
                      <a:pt x="695325" y="812006"/>
                      <a:pt x="695325" y="812006"/>
                    </a:cubicBezTo>
                    <a:cubicBezTo>
                      <a:pt x="694531" y="814387"/>
                      <a:pt x="692944" y="816640"/>
                      <a:pt x="692944" y="819150"/>
                    </a:cubicBezTo>
                    <a:cubicBezTo>
                      <a:pt x="692944" y="836441"/>
                      <a:pt x="719023" y="827987"/>
                      <a:pt x="728662" y="828675"/>
                    </a:cubicBezTo>
                    <a:cubicBezTo>
                      <a:pt x="731043" y="829469"/>
                      <a:pt x="733846" y="829488"/>
                      <a:pt x="735806" y="831056"/>
                    </a:cubicBezTo>
                    <a:cubicBezTo>
                      <a:pt x="740003" y="834414"/>
                      <a:pt x="741381" y="840637"/>
                      <a:pt x="742950" y="845344"/>
                    </a:cubicBezTo>
                    <a:cubicBezTo>
                      <a:pt x="743548" y="850731"/>
                      <a:pt x="740186" y="870309"/>
                      <a:pt x="752475" y="871538"/>
                    </a:cubicBezTo>
                    <a:cubicBezTo>
                      <a:pt x="758060" y="872096"/>
                      <a:pt x="763588" y="869950"/>
                      <a:pt x="769144" y="869156"/>
                    </a:cubicBezTo>
                    <a:cubicBezTo>
                      <a:pt x="769938" y="866775"/>
                      <a:pt x="769957" y="863973"/>
                      <a:pt x="771525" y="862013"/>
                    </a:cubicBezTo>
                    <a:cubicBezTo>
                      <a:pt x="779025" y="852638"/>
                      <a:pt x="789949" y="858503"/>
                      <a:pt x="800100" y="859631"/>
                    </a:cubicBezTo>
                    <a:cubicBezTo>
                      <a:pt x="805481" y="867704"/>
                      <a:pt x="805536" y="866051"/>
                      <a:pt x="807244" y="876300"/>
                    </a:cubicBezTo>
                    <a:cubicBezTo>
                      <a:pt x="807390" y="877173"/>
                      <a:pt x="808601" y="897386"/>
                      <a:pt x="812006" y="902494"/>
                    </a:cubicBezTo>
                    <a:cubicBezTo>
                      <a:pt x="813874" y="905296"/>
                      <a:pt x="816769" y="907257"/>
                      <a:pt x="819150" y="909638"/>
                    </a:cubicBezTo>
                    <a:cubicBezTo>
                      <a:pt x="823912" y="908844"/>
                      <a:pt x="828857" y="908783"/>
                      <a:pt x="833437" y="907256"/>
                    </a:cubicBezTo>
                    <a:cubicBezTo>
                      <a:pt x="838412" y="905598"/>
                      <a:pt x="844408" y="898667"/>
                      <a:pt x="847725" y="895350"/>
                    </a:cubicBezTo>
                    <a:cubicBezTo>
                      <a:pt x="848519" y="892969"/>
                      <a:pt x="848331" y="889981"/>
                      <a:pt x="850106" y="888206"/>
                    </a:cubicBezTo>
                    <a:cubicBezTo>
                      <a:pt x="855301" y="883011"/>
                      <a:pt x="871030" y="887793"/>
                      <a:pt x="873919" y="888206"/>
                    </a:cubicBezTo>
                    <a:cubicBezTo>
                      <a:pt x="876300" y="889794"/>
                      <a:pt x="879230" y="890770"/>
                      <a:pt x="881062" y="892969"/>
                    </a:cubicBezTo>
                    <a:cubicBezTo>
                      <a:pt x="890386" y="904159"/>
                      <a:pt x="881211" y="900262"/>
                      <a:pt x="890587" y="909638"/>
                    </a:cubicBezTo>
                    <a:cubicBezTo>
                      <a:pt x="892611" y="911662"/>
                      <a:pt x="895350" y="912813"/>
                      <a:pt x="897731" y="914400"/>
                    </a:cubicBezTo>
                    <a:cubicBezTo>
                      <a:pt x="900906" y="913606"/>
                      <a:pt x="904121" y="912959"/>
                      <a:pt x="907256" y="912019"/>
                    </a:cubicBezTo>
                    <a:cubicBezTo>
                      <a:pt x="912065" y="910576"/>
                      <a:pt x="921544" y="907256"/>
                      <a:pt x="921544" y="907256"/>
                    </a:cubicBezTo>
                    <a:cubicBezTo>
                      <a:pt x="923131" y="904875"/>
                      <a:pt x="924152" y="901997"/>
                      <a:pt x="926306" y="900113"/>
                    </a:cubicBezTo>
                    <a:cubicBezTo>
                      <a:pt x="930614" y="896344"/>
                      <a:pt x="935164" y="892399"/>
                      <a:pt x="940594" y="890588"/>
                    </a:cubicBezTo>
                    <a:cubicBezTo>
                      <a:pt x="944776" y="889193"/>
                      <a:pt x="953211" y="886177"/>
                      <a:pt x="957262" y="885825"/>
                    </a:cubicBezTo>
                    <a:cubicBezTo>
                      <a:pt x="972307" y="884517"/>
                      <a:pt x="987425" y="884238"/>
                      <a:pt x="1002506" y="883444"/>
                    </a:cubicBezTo>
                    <a:cubicBezTo>
                      <a:pt x="1015460" y="864012"/>
                      <a:pt x="1015370" y="871315"/>
                      <a:pt x="1007269" y="842963"/>
                    </a:cubicBezTo>
                    <a:cubicBezTo>
                      <a:pt x="1006483" y="840211"/>
                      <a:pt x="1004094" y="838200"/>
                      <a:pt x="1002506" y="835819"/>
                    </a:cubicBezTo>
                    <a:cubicBezTo>
                      <a:pt x="999834" y="827802"/>
                      <a:pt x="1000072" y="827393"/>
                      <a:pt x="995362" y="819150"/>
                    </a:cubicBezTo>
                    <a:cubicBezTo>
                      <a:pt x="993942" y="816665"/>
                      <a:pt x="991880" y="814566"/>
                      <a:pt x="990600" y="812006"/>
                    </a:cubicBezTo>
                    <a:cubicBezTo>
                      <a:pt x="989478" y="809761"/>
                      <a:pt x="989341" y="807108"/>
                      <a:pt x="988219" y="804863"/>
                    </a:cubicBezTo>
                    <a:cubicBezTo>
                      <a:pt x="986023" y="800470"/>
                      <a:pt x="980262" y="793208"/>
                      <a:pt x="976312" y="790575"/>
                    </a:cubicBezTo>
                    <a:cubicBezTo>
                      <a:pt x="974224" y="789183"/>
                      <a:pt x="971550" y="788988"/>
                      <a:pt x="969169" y="788194"/>
                    </a:cubicBezTo>
                    <a:cubicBezTo>
                      <a:pt x="966788" y="786606"/>
                      <a:pt x="964224" y="785263"/>
                      <a:pt x="962025" y="783431"/>
                    </a:cubicBezTo>
                    <a:cubicBezTo>
                      <a:pt x="957508" y="779667"/>
                      <a:pt x="952796" y="774499"/>
                      <a:pt x="950119" y="769144"/>
                    </a:cubicBezTo>
                    <a:cubicBezTo>
                      <a:pt x="948996" y="766899"/>
                      <a:pt x="948956" y="764194"/>
                      <a:pt x="947737" y="762000"/>
                    </a:cubicBezTo>
                    <a:cubicBezTo>
                      <a:pt x="944957" y="756997"/>
                      <a:pt x="941387" y="752475"/>
                      <a:pt x="938212" y="747713"/>
                    </a:cubicBezTo>
                    <a:cubicBezTo>
                      <a:pt x="936625" y="745332"/>
                      <a:pt x="934355" y="743284"/>
                      <a:pt x="933450" y="740569"/>
                    </a:cubicBezTo>
                    <a:lnTo>
                      <a:pt x="931069" y="733425"/>
                    </a:lnTo>
                    <a:cubicBezTo>
                      <a:pt x="931863" y="715169"/>
                      <a:pt x="932274" y="696892"/>
                      <a:pt x="933450" y="678656"/>
                    </a:cubicBezTo>
                    <a:cubicBezTo>
                      <a:pt x="933862" y="672270"/>
                      <a:pt x="935831" y="666005"/>
                      <a:pt x="935831" y="659606"/>
                    </a:cubicBezTo>
                    <a:cubicBezTo>
                      <a:pt x="935831" y="634987"/>
                      <a:pt x="934621" y="610379"/>
                      <a:pt x="933450" y="585788"/>
                    </a:cubicBezTo>
                    <a:cubicBezTo>
                      <a:pt x="933331" y="583292"/>
                      <a:pt x="931576" y="555391"/>
                      <a:pt x="928687" y="547688"/>
                    </a:cubicBezTo>
                    <a:cubicBezTo>
                      <a:pt x="927682" y="545008"/>
                      <a:pt x="925512" y="542925"/>
                      <a:pt x="923925" y="540544"/>
                    </a:cubicBezTo>
                    <a:cubicBezTo>
                      <a:pt x="923131" y="532606"/>
                      <a:pt x="924270" y="524228"/>
                      <a:pt x="921544" y="516731"/>
                    </a:cubicBezTo>
                    <a:cubicBezTo>
                      <a:pt x="920686" y="514372"/>
                      <a:pt x="916910" y="514350"/>
                      <a:pt x="914400" y="514350"/>
                    </a:cubicBezTo>
                    <a:cubicBezTo>
                      <a:pt x="906423" y="514350"/>
                      <a:pt x="898525" y="515937"/>
                      <a:pt x="890587" y="516731"/>
                    </a:cubicBezTo>
                    <a:cubicBezTo>
                      <a:pt x="888206" y="519112"/>
                      <a:pt x="884138" y="520580"/>
                      <a:pt x="883444" y="523875"/>
                    </a:cubicBezTo>
                    <a:cubicBezTo>
                      <a:pt x="880823" y="536327"/>
                      <a:pt x="882164" y="549298"/>
                      <a:pt x="881062" y="561975"/>
                    </a:cubicBezTo>
                    <a:cubicBezTo>
                      <a:pt x="880576" y="567567"/>
                      <a:pt x="879604" y="573108"/>
                      <a:pt x="878681" y="578644"/>
                    </a:cubicBezTo>
                    <a:cubicBezTo>
                      <a:pt x="878640" y="578889"/>
                      <a:pt x="874870" y="598648"/>
                      <a:pt x="873919" y="600075"/>
                    </a:cubicBezTo>
                    <a:cubicBezTo>
                      <a:pt x="872331" y="602456"/>
                      <a:pt x="869156" y="603250"/>
                      <a:pt x="866775" y="604838"/>
                    </a:cubicBezTo>
                    <a:cubicBezTo>
                      <a:pt x="863600" y="603250"/>
                      <a:pt x="859977" y="602348"/>
                      <a:pt x="857250" y="600075"/>
                    </a:cubicBezTo>
                    <a:cubicBezTo>
                      <a:pt x="851811" y="595543"/>
                      <a:pt x="851878" y="589608"/>
                      <a:pt x="850106" y="583406"/>
                    </a:cubicBezTo>
                    <a:cubicBezTo>
                      <a:pt x="849417" y="580993"/>
                      <a:pt x="848519" y="578644"/>
                      <a:pt x="847725" y="576263"/>
                    </a:cubicBezTo>
                    <a:cubicBezTo>
                      <a:pt x="846931" y="569913"/>
                      <a:pt x="846489" y="563509"/>
                      <a:pt x="845344" y="557213"/>
                    </a:cubicBezTo>
                    <a:cubicBezTo>
                      <a:pt x="843634" y="547810"/>
                      <a:pt x="842556" y="551638"/>
                      <a:pt x="838200" y="542925"/>
                    </a:cubicBezTo>
                    <a:cubicBezTo>
                      <a:pt x="829112" y="524747"/>
                      <a:pt x="845945" y="549282"/>
                      <a:pt x="828675" y="526256"/>
                    </a:cubicBezTo>
                    <a:cubicBezTo>
                      <a:pt x="817540" y="492857"/>
                      <a:pt x="830334" y="534560"/>
                      <a:pt x="821531" y="490538"/>
                    </a:cubicBezTo>
                    <a:cubicBezTo>
                      <a:pt x="821527" y="490518"/>
                      <a:pt x="815581" y="472687"/>
                      <a:pt x="814387" y="469106"/>
                    </a:cubicBezTo>
                    <a:cubicBezTo>
                      <a:pt x="813593" y="466725"/>
                      <a:pt x="813398" y="464051"/>
                      <a:pt x="812006" y="461963"/>
                    </a:cubicBezTo>
                    <a:cubicBezTo>
                      <a:pt x="807352" y="454981"/>
                      <a:pt x="806833" y="455560"/>
                      <a:pt x="804862" y="447675"/>
                    </a:cubicBezTo>
                    <a:cubicBezTo>
                      <a:pt x="803880" y="443749"/>
                      <a:pt x="803359" y="439720"/>
                      <a:pt x="802481" y="435769"/>
                    </a:cubicBezTo>
                    <a:cubicBezTo>
                      <a:pt x="801771" y="432574"/>
                      <a:pt x="800810" y="429439"/>
                      <a:pt x="800100" y="426244"/>
                    </a:cubicBezTo>
                    <a:cubicBezTo>
                      <a:pt x="799222" y="422293"/>
                      <a:pt x="798701" y="418264"/>
                      <a:pt x="797719" y="414338"/>
                    </a:cubicBezTo>
                    <a:cubicBezTo>
                      <a:pt x="797110" y="411903"/>
                      <a:pt x="795946" y="409629"/>
                      <a:pt x="795337" y="407194"/>
                    </a:cubicBezTo>
                    <a:cubicBezTo>
                      <a:pt x="794355" y="403268"/>
                      <a:pt x="793834" y="399239"/>
                      <a:pt x="792956" y="395288"/>
                    </a:cubicBezTo>
                    <a:cubicBezTo>
                      <a:pt x="790963" y="386318"/>
                      <a:pt x="790845" y="386574"/>
                      <a:pt x="788194" y="378619"/>
                    </a:cubicBezTo>
                    <a:cubicBezTo>
                      <a:pt x="785102" y="356980"/>
                      <a:pt x="787587" y="367276"/>
                      <a:pt x="781050" y="347663"/>
                    </a:cubicBezTo>
                    <a:lnTo>
                      <a:pt x="778669" y="340519"/>
                    </a:lnTo>
                    <a:cubicBezTo>
                      <a:pt x="782438" y="325441"/>
                      <a:pt x="779235" y="333717"/>
                      <a:pt x="790575" y="316706"/>
                    </a:cubicBezTo>
                    <a:cubicBezTo>
                      <a:pt x="792162" y="314325"/>
                      <a:pt x="792622" y="310468"/>
                      <a:pt x="795337" y="309563"/>
                    </a:cubicBezTo>
                    <a:cubicBezTo>
                      <a:pt x="797718" y="308769"/>
                      <a:pt x="800287" y="308400"/>
                      <a:pt x="802481" y="307181"/>
                    </a:cubicBezTo>
                    <a:cubicBezTo>
                      <a:pt x="807485" y="304401"/>
                      <a:pt x="816769" y="297656"/>
                      <a:pt x="816769" y="297656"/>
                    </a:cubicBezTo>
                    <a:cubicBezTo>
                      <a:pt x="819039" y="290847"/>
                      <a:pt x="820036" y="288464"/>
                      <a:pt x="821531" y="280988"/>
                    </a:cubicBezTo>
                    <a:cubicBezTo>
                      <a:pt x="823062" y="273333"/>
                      <a:pt x="824127" y="259236"/>
                      <a:pt x="828675" y="252413"/>
                    </a:cubicBezTo>
                    <a:lnTo>
                      <a:pt x="833437" y="245269"/>
                    </a:lnTo>
                    <a:cubicBezTo>
                      <a:pt x="834945" y="234717"/>
                      <a:pt x="838082" y="224763"/>
                      <a:pt x="833437" y="214313"/>
                    </a:cubicBezTo>
                    <a:cubicBezTo>
                      <a:pt x="832069" y="211236"/>
                      <a:pt x="828952" y="209236"/>
                      <a:pt x="826294" y="207169"/>
                    </a:cubicBezTo>
                    <a:cubicBezTo>
                      <a:pt x="821776" y="203655"/>
                      <a:pt x="816769" y="200819"/>
                      <a:pt x="812006" y="197644"/>
                    </a:cubicBezTo>
                    <a:cubicBezTo>
                      <a:pt x="809625" y="196056"/>
                      <a:pt x="807577" y="193786"/>
                      <a:pt x="804862" y="192881"/>
                    </a:cubicBezTo>
                    <a:lnTo>
                      <a:pt x="797719" y="190500"/>
                    </a:lnTo>
                    <a:cubicBezTo>
                      <a:pt x="785015" y="171445"/>
                      <a:pt x="801691" y="194473"/>
                      <a:pt x="785812" y="178594"/>
                    </a:cubicBezTo>
                    <a:cubicBezTo>
                      <a:pt x="781197" y="173979"/>
                      <a:pt x="780605" y="170115"/>
                      <a:pt x="778669" y="164306"/>
                    </a:cubicBezTo>
                    <a:cubicBezTo>
                      <a:pt x="779463" y="158750"/>
                      <a:pt x="781050" y="153250"/>
                      <a:pt x="781050" y="147638"/>
                    </a:cubicBezTo>
                    <a:cubicBezTo>
                      <a:pt x="781050" y="128571"/>
                      <a:pt x="783626" y="108899"/>
                      <a:pt x="778669" y="90488"/>
                    </a:cubicBezTo>
                    <a:cubicBezTo>
                      <a:pt x="777364" y="85640"/>
                      <a:pt x="769400" y="85847"/>
                      <a:pt x="764381" y="85725"/>
                    </a:cubicBezTo>
                    <a:lnTo>
                      <a:pt x="666750" y="83344"/>
                    </a:lnTo>
                    <a:cubicBezTo>
                      <a:pt x="662781" y="82550"/>
                      <a:pt x="658736" y="82075"/>
                      <a:pt x="654844" y="80963"/>
                    </a:cubicBezTo>
                    <a:cubicBezTo>
                      <a:pt x="647603" y="78894"/>
                      <a:pt x="640556" y="76200"/>
                      <a:pt x="633412" y="73819"/>
                    </a:cubicBezTo>
                    <a:cubicBezTo>
                      <a:pt x="631031" y="73025"/>
                      <a:pt x="628704" y="72047"/>
                      <a:pt x="626269" y="71438"/>
                    </a:cubicBezTo>
                    <a:cubicBezTo>
                      <a:pt x="619919" y="69850"/>
                      <a:pt x="613429" y="68745"/>
                      <a:pt x="607219" y="66675"/>
                    </a:cubicBezTo>
                    <a:lnTo>
                      <a:pt x="592931" y="61913"/>
                    </a:lnTo>
                    <a:cubicBezTo>
                      <a:pt x="590550" y="60325"/>
                      <a:pt x="587986" y="58982"/>
                      <a:pt x="585787" y="57150"/>
                    </a:cubicBezTo>
                    <a:cubicBezTo>
                      <a:pt x="577886" y="50565"/>
                      <a:pt x="580371" y="49679"/>
                      <a:pt x="571500" y="45244"/>
                    </a:cubicBezTo>
                    <a:cubicBezTo>
                      <a:pt x="569255" y="44122"/>
                      <a:pt x="566737" y="43657"/>
                      <a:pt x="564356" y="42863"/>
                    </a:cubicBezTo>
                    <a:cubicBezTo>
                      <a:pt x="554399" y="36225"/>
                      <a:pt x="549920" y="34588"/>
                      <a:pt x="542925" y="26194"/>
                    </a:cubicBezTo>
                    <a:cubicBezTo>
                      <a:pt x="541093" y="23995"/>
                      <a:pt x="540361" y="20882"/>
                      <a:pt x="538162" y="19050"/>
                    </a:cubicBezTo>
                    <a:cubicBezTo>
                      <a:pt x="535435" y="16778"/>
                      <a:pt x="531900" y="15686"/>
                      <a:pt x="528637" y="14288"/>
                    </a:cubicBezTo>
                    <a:cubicBezTo>
                      <a:pt x="524347" y="12449"/>
                      <a:pt x="516161" y="10456"/>
                      <a:pt x="511969" y="9525"/>
                    </a:cubicBezTo>
                    <a:cubicBezTo>
                      <a:pt x="503609" y="7668"/>
                      <a:pt x="494176" y="6056"/>
                      <a:pt x="485775" y="4763"/>
                    </a:cubicBezTo>
                    <a:cubicBezTo>
                      <a:pt x="480228" y="3909"/>
                      <a:pt x="474642" y="3304"/>
                      <a:pt x="469106" y="2381"/>
                    </a:cubicBezTo>
                    <a:cubicBezTo>
                      <a:pt x="465114" y="1716"/>
                      <a:pt x="461169" y="794"/>
                      <a:pt x="457200" y="0"/>
                    </a:cubicBezTo>
                    <a:lnTo>
                      <a:pt x="340519" y="2381"/>
                    </a:lnTo>
                    <a:cubicBezTo>
                      <a:pt x="333392" y="2655"/>
                      <a:pt x="332349" y="6806"/>
                      <a:pt x="326231" y="9525"/>
                    </a:cubicBezTo>
                    <a:cubicBezTo>
                      <a:pt x="321644" y="11564"/>
                      <a:pt x="316121" y="11504"/>
                      <a:pt x="311944" y="14288"/>
                    </a:cubicBezTo>
                    <a:cubicBezTo>
                      <a:pt x="309563" y="15875"/>
                      <a:pt x="307431" y="17923"/>
                      <a:pt x="304800" y="19050"/>
                    </a:cubicBezTo>
                    <a:cubicBezTo>
                      <a:pt x="301792" y="20339"/>
                      <a:pt x="298410" y="20491"/>
                      <a:pt x="295275" y="21431"/>
                    </a:cubicBezTo>
                    <a:cubicBezTo>
                      <a:pt x="290466" y="22874"/>
                      <a:pt x="285750" y="24606"/>
                      <a:pt x="280987" y="26194"/>
                    </a:cubicBezTo>
                    <a:cubicBezTo>
                      <a:pt x="278606" y="26988"/>
                      <a:pt x="276089" y="27452"/>
                      <a:pt x="273844" y="28575"/>
                    </a:cubicBezTo>
                    <a:cubicBezTo>
                      <a:pt x="270669" y="30163"/>
                      <a:pt x="267582" y="31940"/>
                      <a:pt x="264319" y="33338"/>
                    </a:cubicBezTo>
                    <a:cubicBezTo>
                      <a:pt x="250512" y="39255"/>
                      <a:pt x="263764" y="31327"/>
                      <a:pt x="250031" y="40481"/>
                    </a:cubicBezTo>
                    <a:cubicBezTo>
                      <a:pt x="248444" y="42862"/>
                      <a:pt x="247101" y="45426"/>
                      <a:pt x="245269" y="47625"/>
                    </a:cubicBezTo>
                    <a:cubicBezTo>
                      <a:pt x="241506" y="52141"/>
                      <a:pt x="236334" y="56854"/>
                      <a:pt x="230981" y="59531"/>
                    </a:cubicBezTo>
                    <a:cubicBezTo>
                      <a:pt x="228736" y="60654"/>
                      <a:pt x="226031" y="60694"/>
                      <a:pt x="223837" y="61913"/>
                    </a:cubicBezTo>
                    <a:cubicBezTo>
                      <a:pt x="218834" y="64693"/>
                      <a:pt x="214980" y="69628"/>
                      <a:pt x="209550" y="71438"/>
                    </a:cubicBezTo>
                    <a:cubicBezTo>
                      <a:pt x="207169" y="72232"/>
                      <a:pt x="204651" y="72697"/>
                      <a:pt x="202406" y="73819"/>
                    </a:cubicBezTo>
                    <a:cubicBezTo>
                      <a:pt x="199846" y="75099"/>
                      <a:pt x="197892" y="77454"/>
                      <a:pt x="195262" y="78581"/>
                    </a:cubicBezTo>
                    <a:cubicBezTo>
                      <a:pt x="192254" y="79870"/>
                      <a:pt x="188872" y="80023"/>
                      <a:pt x="185737" y="80963"/>
                    </a:cubicBezTo>
                    <a:cubicBezTo>
                      <a:pt x="158794" y="89046"/>
                      <a:pt x="183285" y="84739"/>
                      <a:pt x="142875" y="88106"/>
                    </a:cubicBezTo>
                    <a:cubicBezTo>
                      <a:pt x="152278" y="91241"/>
                      <a:pt x="198437" y="93663"/>
                      <a:pt x="195262" y="9525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1" name="Freeform 220"/>
              <p:cNvSpPr/>
              <p:nvPr/>
            </p:nvSpPr>
            <p:spPr>
              <a:xfrm>
                <a:off x="9111342" y="3158027"/>
                <a:ext cx="161925" cy="114490"/>
              </a:xfrm>
              <a:custGeom>
                <a:avLst/>
                <a:gdLst>
                  <a:gd name="connsiteX0" fmla="*/ 78581 w 161925"/>
                  <a:gd name="connsiteY0" fmla="*/ 2571 h 114490"/>
                  <a:gd name="connsiteX1" fmla="*/ 59531 w 161925"/>
                  <a:gd name="connsiteY1" fmla="*/ 190 h 114490"/>
                  <a:gd name="connsiteX2" fmla="*/ 19050 w 161925"/>
                  <a:gd name="connsiteY2" fmla="*/ 4953 h 114490"/>
                  <a:gd name="connsiteX3" fmla="*/ 11906 w 161925"/>
                  <a:gd name="connsiteY3" fmla="*/ 12096 h 114490"/>
                  <a:gd name="connsiteX4" fmla="*/ 4763 w 161925"/>
                  <a:gd name="connsiteY4" fmla="*/ 16859 h 114490"/>
                  <a:gd name="connsiteX5" fmla="*/ 0 w 161925"/>
                  <a:gd name="connsiteY5" fmla="*/ 24003 h 114490"/>
                  <a:gd name="connsiteX6" fmla="*/ 2381 w 161925"/>
                  <a:gd name="connsiteY6" fmla="*/ 35909 h 114490"/>
                  <a:gd name="connsiteX7" fmla="*/ 16669 w 161925"/>
                  <a:gd name="connsiteY7" fmla="*/ 47815 h 114490"/>
                  <a:gd name="connsiteX8" fmla="*/ 28575 w 161925"/>
                  <a:gd name="connsiteY8" fmla="*/ 57340 h 114490"/>
                  <a:gd name="connsiteX9" fmla="*/ 35719 w 161925"/>
                  <a:gd name="connsiteY9" fmla="*/ 62103 h 114490"/>
                  <a:gd name="connsiteX10" fmla="*/ 57150 w 161925"/>
                  <a:gd name="connsiteY10" fmla="*/ 74009 h 114490"/>
                  <a:gd name="connsiteX11" fmla="*/ 64294 w 161925"/>
                  <a:gd name="connsiteY11" fmla="*/ 76390 h 114490"/>
                  <a:gd name="connsiteX12" fmla="*/ 78581 w 161925"/>
                  <a:gd name="connsiteY12" fmla="*/ 85915 h 114490"/>
                  <a:gd name="connsiteX13" fmla="*/ 95250 w 161925"/>
                  <a:gd name="connsiteY13" fmla="*/ 97821 h 114490"/>
                  <a:gd name="connsiteX14" fmla="*/ 102394 w 161925"/>
                  <a:gd name="connsiteY14" fmla="*/ 100203 h 114490"/>
                  <a:gd name="connsiteX15" fmla="*/ 116681 w 161925"/>
                  <a:gd name="connsiteY15" fmla="*/ 112109 h 114490"/>
                  <a:gd name="connsiteX16" fmla="*/ 128588 w 161925"/>
                  <a:gd name="connsiteY16" fmla="*/ 114490 h 114490"/>
                  <a:gd name="connsiteX17" fmla="*/ 154781 w 161925"/>
                  <a:gd name="connsiteY17" fmla="*/ 112109 h 114490"/>
                  <a:gd name="connsiteX18" fmla="*/ 159544 w 161925"/>
                  <a:gd name="connsiteY18" fmla="*/ 95440 h 114490"/>
                  <a:gd name="connsiteX19" fmla="*/ 157163 w 161925"/>
                  <a:gd name="connsiteY19" fmla="*/ 88296 h 114490"/>
                  <a:gd name="connsiteX20" fmla="*/ 154781 w 161925"/>
                  <a:gd name="connsiteY20" fmla="*/ 76390 h 114490"/>
                  <a:gd name="connsiteX21" fmla="*/ 142875 w 161925"/>
                  <a:gd name="connsiteY21" fmla="*/ 64484 h 114490"/>
                  <a:gd name="connsiteX22" fmla="*/ 130969 w 161925"/>
                  <a:gd name="connsiteY22" fmla="*/ 50196 h 114490"/>
                  <a:gd name="connsiteX23" fmla="*/ 123825 w 161925"/>
                  <a:gd name="connsiteY23" fmla="*/ 43053 h 114490"/>
                  <a:gd name="connsiteX24" fmla="*/ 119063 w 161925"/>
                  <a:gd name="connsiteY24" fmla="*/ 35909 h 114490"/>
                  <a:gd name="connsiteX25" fmla="*/ 104775 w 161925"/>
                  <a:gd name="connsiteY25" fmla="*/ 21621 h 114490"/>
                  <a:gd name="connsiteX26" fmla="*/ 78581 w 161925"/>
                  <a:gd name="connsiteY26" fmla="*/ 2571 h 11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14490">
                    <a:moveTo>
                      <a:pt x="78581" y="2571"/>
                    </a:moveTo>
                    <a:cubicBezTo>
                      <a:pt x="71040" y="-1001"/>
                      <a:pt x="65930" y="190"/>
                      <a:pt x="59531" y="190"/>
                    </a:cubicBezTo>
                    <a:cubicBezTo>
                      <a:pt x="31368" y="190"/>
                      <a:pt x="35033" y="-376"/>
                      <a:pt x="19050" y="4953"/>
                    </a:cubicBezTo>
                    <a:cubicBezTo>
                      <a:pt x="16669" y="7334"/>
                      <a:pt x="14493" y="9940"/>
                      <a:pt x="11906" y="12096"/>
                    </a:cubicBezTo>
                    <a:cubicBezTo>
                      <a:pt x="9708" y="13928"/>
                      <a:pt x="6787" y="14835"/>
                      <a:pt x="4763" y="16859"/>
                    </a:cubicBezTo>
                    <a:cubicBezTo>
                      <a:pt x="2739" y="18883"/>
                      <a:pt x="1588" y="21622"/>
                      <a:pt x="0" y="24003"/>
                    </a:cubicBezTo>
                    <a:cubicBezTo>
                      <a:pt x="794" y="27972"/>
                      <a:pt x="571" y="32289"/>
                      <a:pt x="2381" y="35909"/>
                    </a:cubicBezTo>
                    <a:cubicBezTo>
                      <a:pt x="4673" y="40494"/>
                      <a:pt x="12565" y="45080"/>
                      <a:pt x="16669" y="47815"/>
                    </a:cubicBezTo>
                    <a:cubicBezTo>
                      <a:pt x="24697" y="59858"/>
                      <a:pt x="17073" y="51589"/>
                      <a:pt x="28575" y="57340"/>
                    </a:cubicBezTo>
                    <a:cubicBezTo>
                      <a:pt x="31135" y="58620"/>
                      <a:pt x="33292" y="60586"/>
                      <a:pt x="35719" y="62103"/>
                    </a:cubicBezTo>
                    <a:cubicBezTo>
                      <a:pt x="42280" y="66204"/>
                      <a:pt x="49920" y="70910"/>
                      <a:pt x="57150" y="74009"/>
                    </a:cubicBezTo>
                    <a:cubicBezTo>
                      <a:pt x="59457" y="74998"/>
                      <a:pt x="61913" y="75596"/>
                      <a:pt x="64294" y="76390"/>
                    </a:cubicBezTo>
                    <a:cubicBezTo>
                      <a:pt x="69056" y="79565"/>
                      <a:pt x="74002" y="82481"/>
                      <a:pt x="78581" y="85915"/>
                    </a:cubicBezTo>
                    <a:cubicBezTo>
                      <a:pt x="80744" y="87537"/>
                      <a:pt x="91763" y="96078"/>
                      <a:pt x="95250" y="97821"/>
                    </a:cubicBezTo>
                    <a:cubicBezTo>
                      <a:pt x="97495" y="98944"/>
                      <a:pt x="100013" y="99409"/>
                      <a:pt x="102394" y="100203"/>
                    </a:cubicBezTo>
                    <a:cubicBezTo>
                      <a:pt x="106097" y="103906"/>
                      <a:pt x="111380" y="110121"/>
                      <a:pt x="116681" y="112109"/>
                    </a:cubicBezTo>
                    <a:cubicBezTo>
                      <a:pt x="120471" y="113530"/>
                      <a:pt x="124619" y="113696"/>
                      <a:pt x="128588" y="114490"/>
                    </a:cubicBezTo>
                    <a:cubicBezTo>
                      <a:pt x="137319" y="113696"/>
                      <a:pt x="146351" y="114518"/>
                      <a:pt x="154781" y="112109"/>
                    </a:cubicBezTo>
                    <a:cubicBezTo>
                      <a:pt x="165589" y="109021"/>
                      <a:pt x="161430" y="102042"/>
                      <a:pt x="159544" y="95440"/>
                    </a:cubicBezTo>
                    <a:cubicBezTo>
                      <a:pt x="158854" y="93026"/>
                      <a:pt x="157772" y="90731"/>
                      <a:pt x="157163" y="88296"/>
                    </a:cubicBezTo>
                    <a:cubicBezTo>
                      <a:pt x="156181" y="84370"/>
                      <a:pt x="156202" y="80180"/>
                      <a:pt x="154781" y="76390"/>
                    </a:cubicBezTo>
                    <a:cubicBezTo>
                      <a:pt x="151605" y="67921"/>
                      <a:pt x="149227" y="69777"/>
                      <a:pt x="142875" y="64484"/>
                    </a:cubicBezTo>
                    <a:cubicBezTo>
                      <a:pt x="131488" y="54995"/>
                      <a:pt x="139485" y="60415"/>
                      <a:pt x="130969" y="50196"/>
                    </a:cubicBezTo>
                    <a:cubicBezTo>
                      <a:pt x="128813" y="47609"/>
                      <a:pt x="125981" y="45640"/>
                      <a:pt x="123825" y="43053"/>
                    </a:cubicBezTo>
                    <a:cubicBezTo>
                      <a:pt x="121993" y="40854"/>
                      <a:pt x="120964" y="38048"/>
                      <a:pt x="119063" y="35909"/>
                    </a:cubicBezTo>
                    <a:cubicBezTo>
                      <a:pt x="114588" y="30875"/>
                      <a:pt x="109538" y="26384"/>
                      <a:pt x="104775" y="21621"/>
                    </a:cubicBezTo>
                    <a:cubicBezTo>
                      <a:pt x="96509" y="13356"/>
                      <a:pt x="86122" y="6143"/>
                      <a:pt x="78581" y="257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2" name="Freeform 221"/>
              <p:cNvSpPr/>
              <p:nvPr/>
            </p:nvSpPr>
            <p:spPr>
              <a:xfrm>
                <a:off x="9216117" y="3132010"/>
                <a:ext cx="161925" cy="97645"/>
              </a:xfrm>
              <a:custGeom>
                <a:avLst/>
                <a:gdLst>
                  <a:gd name="connsiteX0" fmla="*/ 90488 w 161925"/>
                  <a:gd name="connsiteY0" fmla="*/ 7157 h 97645"/>
                  <a:gd name="connsiteX1" fmla="*/ 45244 w 161925"/>
                  <a:gd name="connsiteY1" fmla="*/ 4776 h 97645"/>
                  <a:gd name="connsiteX2" fmla="*/ 35719 w 161925"/>
                  <a:gd name="connsiteY2" fmla="*/ 2395 h 97645"/>
                  <a:gd name="connsiteX3" fmla="*/ 23813 w 161925"/>
                  <a:gd name="connsiteY3" fmla="*/ 13 h 97645"/>
                  <a:gd name="connsiteX4" fmla="*/ 0 w 161925"/>
                  <a:gd name="connsiteY4" fmla="*/ 9538 h 97645"/>
                  <a:gd name="connsiteX5" fmla="*/ 16669 w 161925"/>
                  <a:gd name="connsiteY5" fmla="*/ 35732 h 97645"/>
                  <a:gd name="connsiteX6" fmla="*/ 23813 w 161925"/>
                  <a:gd name="connsiteY6" fmla="*/ 42876 h 97645"/>
                  <a:gd name="connsiteX7" fmla="*/ 35719 w 161925"/>
                  <a:gd name="connsiteY7" fmla="*/ 59545 h 97645"/>
                  <a:gd name="connsiteX8" fmla="*/ 40481 w 161925"/>
                  <a:gd name="connsiteY8" fmla="*/ 66688 h 97645"/>
                  <a:gd name="connsiteX9" fmla="*/ 50006 w 161925"/>
                  <a:gd name="connsiteY9" fmla="*/ 73832 h 97645"/>
                  <a:gd name="connsiteX10" fmla="*/ 69056 w 161925"/>
                  <a:gd name="connsiteY10" fmla="*/ 78595 h 97645"/>
                  <a:gd name="connsiteX11" fmla="*/ 92869 w 161925"/>
                  <a:gd name="connsiteY11" fmla="*/ 92882 h 97645"/>
                  <a:gd name="connsiteX12" fmla="*/ 100013 w 161925"/>
                  <a:gd name="connsiteY12" fmla="*/ 95263 h 97645"/>
                  <a:gd name="connsiteX13" fmla="*/ 114300 w 161925"/>
                  <a:gd name="connsiteY13" fmla="*/ 97645 h 97645"/>
                  <a:gd name="connsiteX14" fmla="*/ 150019 w 161925"/>
                  <a:gd name="connsiteY14" fmla="*/ 92882 h 97645"/>
                  <a:gd name="connsiteX15" fmla="*/ 157163 w 161925"/>
                  <a:gd name="connsiteY15" fmla="*/ 90501 h 97645"/>
                  <a:gd name="connsiteX16" fmla="*/ 161925 w 161925"/>
                  <a:gd name="connsiteY16" fmla="*/ 83357 h 97645"/>
                  <a:gd name="connsiteX17" fmla="*/ 157163 w 161925"/>
                  <a:gd name="connsiteY17" fmla="*/ 61926 h 97645"/>
                  <a:gd name="connsiteX18" fmla="*/ 150019 w 161925"/>
                  <a:gd name="connsiteY18" fmla="*/ 57163 h 97645"/>
                  <a:gd name="connsiteX19" fmla="*/ 140494 w 161925"/>
                  <a:gd name="connsiteY19" fmla="*/ 50020 h 97645"/>
                  <a:gd name="connsiteX20" fmla="*/ 133350 w 161925"/>
                  <a:gd name="connsiteY20" fmla="*/ 47638 h 97645"/>
                  <a:gd name="connsiteX21" fmla="*/ 119063 w 161925"/>
                  <a:gd name="connsiteY21" fmla="*/ 38113 h 97645"/>
                  <a:gd name="connsiteX22" fmla="*/ 109538 w 161925"/>
                  <a:gd name="connsiteY22" fmla="*/ 23826 h 97645"/>
                  <a:gd name="connsiteX23" fmla="*/ 90488 w 161925"/>
                  <a:gd name="connsiteY23" fmla="*/ 7157 h 9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1925" h="97645">
                    <a:moveTo>
                      <a:pt x="90488" y="7157"/>
                    </a:moveTo>
                    <a:cubicBezTo>
                      <a:pt x="79772" y="3982"/>
                      <a:pt x="60289" y="6084"/>
                      <a:pt x="45244" y="4776"/>
                    </a:cubicBezTo>
                    <a:cubicBezTo>
                      <a:pt x="41984" y="4493"/>
                      <a:pt x="38914" y="3105"/>
                      <a:pt x="35719" y="2395"/>
                    </a:cubicBezTo>
                    <a:cubicBezTo>
                      <a:pt x="31768" y="1517"/>
                      <a:pt x="27782" y="807"/>
                      <a:pt x="23813" y="13"/>
                    </a:cubicBezTo>
                    <a:cubicBezTo>
                      <a:pt x="13216" y="1191"/>
                      <a:pt x="0" y="-3907"/>
                      <a:pt x="0" y="9538"/>
                    </a:cubicBezTo>
                    <a:cubicBezTo>
                      <a:pt x="0" y="24348"/>
                      <a:pt x="5678" y="24742"/>
                      <a:pt x="16669" y="35732"/>
                    </a:cubicBezTo>
                    <a:lnTo>
                      <a:pt x="23813" y="42876"/>
                    </a:lnTo>
                    <a:cubicBezTo>
                      <a:pt x="28188" y="56002"/>
                      <a:pt x="23392" y="45164"/>
                      <a:pt x="35719" y="59545"/>
                    </a:cubicBezTo>
                    <a:cubicBezTo>
                      <a:pt x="37581" y="61718"/>
                      <a:pt x="38458" y="64665"/>
                      <a:pt x="40481" y="66688"/>
                    </a:cubicBezTo>
                    <a:cubicBezTo>
                      <a:pt x="43287" y="69494"/>
                      <a:pt x="46560" y="71863"/>
                      <a:pt x="50006" y="73832"/>
                    </a:cubicBezTo>
                    <a:cubicBezTo>
                      <a:pt x="53946" y="76084"/>
                      <a:pt x="66045" y="77993"/>
                      <a:pt x="69056" y="78595"/>
                    </a:cubicBezTo>
                    <a:cubicBezTo>
                      <a:pt x="79214" y="85367"/>
                      <a:pt x="82617" y="88489"/>
                      <a:pt x="92869" y="92882"/>
                    </a:cubicBezTo>
                    <a:cubicBezTo>
                      <a:pt x="95176" y="93871"/>
                      <a:pt x="97563" y="94718"/>
                      <a:pt x="100013" y="95263"/>
                    </a:cubicBezTo>
                    <a:cubicBezTo>
                      <a:pt x="104726" y="96310"/>
                      <a:pt x="109538" y="96851"/>
                      <a:pt x="114300" y="97645"/>
                    </a:cubicBezTo>
                    <a:cubicBezTo>
                      <a:pt x="126206" y="96057"/>
                      <a:pt x="138171" y="94857"/>
                      <a:pt x="150019" y="92882"/>
                    </a:cubicBezTo>
                    <a:cubicBezTo>
                      <a:pt x="152495" y="92469"/>
                      <a:pt x="155203" y="92069"/>
                      <a:pt x="157163" y="90501"/>
                    </a:cubicBezTo>
                    <a:cubicBezTo>
                      <a:pt x="159398" y="88713"/>
                      <a:pt x="160338" y="85738"/>
                      <a:pt x="161925" y="83357"/>
                    </a:cubicBezTo>
                    <a:cubicBezTo>
                      <a:pt x="161901" y="83211"/>
                      <a:pt x="159631" y="65011"/>
                      <a:pt x="157163" y="61926"/>
                    </a:cubicBezTo>
                    <a:cubicBezTo>
                      <a:pt x="155375" y="59691"/>
                      <a:pt x="152348" y="58827"/>
                      <a:pt x="150019" y="57163"/>
                    </a:cubicBezTo>
                    <a:cubicBezTo>
                      <a:pt x="146790" y="54856"/>
                      <a:pt x="143940" y="51989"/>
                      <a:pt x="140494" y="50020"/>
                    </a:cubicBezTo>
                    <a:cubicBezTo>
                      <a:pt x="138315" y="48775"/>
                      <a:pt x="135544" y="48857"/>
                      <a:pt x="133350" y="47638"/>
                    </a:cubicBezTo>
                    <a:cubicBezTo>
                      <a:pt x="128347" y="44858"/>
                      <a:pt x="119063" y="38113"/>
                      <a:pt x="119063" y="38113"/>
                    </a:cubicBezTo>
                    <a:cubicBezTo>
                      <a:pt x="115888" y="33351"/>
                      <a:pt x="114300" y="27001"/>
                      <a:pt x="109538" y="23826"/>
                    </a:cubicBezTo>
                    <a:cubicBezTo>
                      <a:pt x="100917" y="18079"/>
                      <a:pt x="101204" y="10332"/>
                      <a:pt x="90488" y="7157"/>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3" name="Freeform 222"/>
              <p:cNvSpPr/>
              <p:nvPr/>
            </p:nvSpPr>
            <p:spPr>
              <a:xfrm>
                <a:off x="9199328" y="3358242"/>
                <a:ext cx="100133" cy="119063"/>
              </a:xfrm>
              <a:custGeom>
                <a:avLst/>
                <a:gdLst>
                  <a:gd name="connsiteX0" fmla="*/ 2502 w 100133"/>
                  <a:gd name="connsiteY0" fmla="*/ 16669 h 119063"/>
                  <a:gd name="connsiteX1" fmla="*/ 7264 w 100133"/>
                  <a:gd name="connsiteY1" fmla="*/ 59531 h 119063"/>
                  <a:gd name="connsiteX2" fmla="*/ 12027 w 100133"/>
                  <a:gd name="connsiteY2" fmla="*/ 66675 h 119063"/>
                  <a:gd name="connsiteX3" fmla="*/ 19170 w 100133"/>
                  <a:gd name="connsiteY3" fmla="*/ 71438 h 119063"/>
                  <a:gd name="connsiteX4" fmla="*/ 23933 w 100133"/>
                  <a:gd name="connsiteY4" fmla="*/ 78581 h 119063"/>
                  <a:gd name="connsiteX5" fmla="*/ 28695 w 100133"/>
                  <a:gd name="connsiteY5" fmla="*/ 92869 h 119063"/>
                  <a:gd name="connsiteX6" fmla="*/ 31077 w 100133"/>
                  <a:gd name="connsiteY6" fmla="*/ 100013 h 119063"/>
                  <a:gd name="connsiteX7" fmla="*/ 38220 w 100133"/>
                  <a:gd name="connsiteY7" fmla="*/ 114300 h 119063"/>
                  <a:gd name="connsiteX8" fmla="*/ 45364 w 100133"/>
                  <a:gd name="connsiteY8" fmla="*/ 119063 h 119063"/>
                  <a:gd name="connsiteX9" fmla="*/ 52508 w 100133"/>
                  <a:gd name="connsiteY9" fmla="*/ 116681 h 119063"/>
                  <a:gd name="connsiteX10" fmla="*/ 66795 w 100133"/>
                  <a:gd name="connsiteY10" fmla="*/ 107156 h 119063"/>
                  <a:gd name="connsiteX11" fmla="*/ 73939 w 100133"/>
                  <a:gd name="connsiteY11" fmla="*/ 73819 h 119063"/>
                  <a:gd name="connsiteX12" fmla="*/ 81083 w 100133"/>
                  <a:gd name="connsiteY12" fmla="*/ 59531 h 119063"/>
                  <a:gd name="connsiteX13" fmla="*/ 97752 w 100133"/>
                  <a:gd name="connsiteY13" fmla="*/ 52388 h 119063"/>
                  <a:gd name="connsiteX14" fmla="*/ 100133 w 100133"/>
                  <a:gd name="connsiteY14" fmla="*/ 45244 h 119063"/>
                  <a:gd name="connsiteX15" fmla="*/ 92989 w 100133"/>
                  <a:gd name="connsiteY15" fmla="*/ 21431 h 119063"/>
                  <a:gd name="connsiteX16" fmla="*/ 78702 w 100133"/>
                  <a:gd name="connsiteY16" fmla="*/ 11906 h 119063"/>
                  <a:gd name="connsiteX17" fmla="*/ 73939 w 100133"/>
                  <a:gd name="connsiteY17" fmla="*/ 4763 h 119063"/>
                  <a:gd name="connsiteX18" fmla="*/ 59652 w 100133"/>
                  <a:gd name="connsiteY18" fmla="*/ 2381 h 119063"/>
                  <a:gd name="connsiteX19" fmla="*/ 40602 w 100133"/>
                  <a:gd name="connsiteY19" fmla="*/ 0 h 119063"/>
                  <a:gd name="connsiteX20" fmla="*/ 2502 w 100133"/>
                  <a:gd name="connsiteY20" fmla="*/ 16669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133" h="119063">
                    <a:moveTo>
                      <a:pt x="2502" y="16669"/>
                    </a:moveTo>
                    <a:cubicBezTo>
                      <a:pt x="-3054" y="26591"/>
                      <a:pt x="1583" y="48170"/>
                      <a:pt x="7264" y="59531"/>
                    </a:cubicBezTo>
                    <a:cubicBezTo>
                      <a:pt x="8544" y="62091"/>
                      <a:pt x="10003" y="64651"/>
                      <a:pt x="12027" y="66675"/>
                    </a:cubicBezTo>
                    <a:cubicBezTo>
                      <a:pt x="14051" y="68699"/>
                      <a:pt x="16789" y="69850"/>
                      <a:pt x="19170" y="71438"/>
                    </a:cubicBezTo>
                    <a:cubicBezTo>
                      <a:pt x="20758" y="73819"/>
                      <a:pt x="22771" y="75966"/>
                      <a:pt x="23933" y="78581"/>
                    </a:cubicBezTo>
                    <a:cubicBezTo>
                      <a:pt x="25972" y="83169"/>
                      <a:pt x="27107" y="88106"/>
                      <a:pt x="28695" y="92869"/>
                    </a:cubicBezTo>
                    <a:lnTo>
                      <a:pt x="31077" y="100013"/>
                    </a:lnTo>
                    <a:cubicBezTo>
                      <a:pt x="33014" y="105823"/>
                      <a:pt x="33604" y="109684"/>
                      <a:pt x="38220" y="114300"/>
                    </a:cubicBezTo>
                    <a:cubicBezTo>
                      <a:pt x="40244" y="116324"/>
                      <a:pt x="42983" y="117475"/>
                      <a:pt x="45364" y="119063"/>
                    </a:cubicBezTo>
                    <a:cubicBezTo>
                      <a:pt x="47745" y="118269"/>
                      <a:pt x="50314" y="117900"/>
                      <a:pt x="52508" y="116681"/>
                    </a:cubicBezTo>
                    <a:cubicBezTo>
                      <a:pt x="57511" y="113901"/>
                      <a:pt x="66795" y="107156"/>
                      <a:pt x="66795" y="107156"/>
                    </a:cubicBezTo>
                    <a:cubicBezTo>
                      <a:pt x="69800" y="83124"/>
                      <a:pt x="67153" y="94178"/>
                      <a:pt x="73939" y="73819"/>
                    </a:cubicBezTo>
                    <a:cubicBezTo>
                      <a:pt x="75876" y="68008"/>
                      <a:pt x="76466" y="64148"/>
                      <a:pt x="81083" y="59531"/>
                    </a:cubicBezTo>
                    <a:cubicBezTo>
                      <a:pt x="86564" y="54050"/>
                      <a:pt x="90466" y="54209"/>
                      <a:pt x="97752" y="52388"/>
                    </a:cubicBezTo>
                    <a:cubicBezTo>
                      <a:pt x="98546" y="50007"/>
                      <a:pt x="100133" y="47754"/>
                      <a:pt x="100133" y="45244"/>
                    </a:cubicBezTo>
                    <a:cubicBezTo>
                      <a:pt x="100133" y="37831"/>
                      <a:pt x="99445" y="27080"/>
                      <a:pt x="92989" y="21431"/>
                    </a:cubicBezTo>
                    <a:cubicBezTo>
                      <a:pt x="88682" y="17662"/>
                      <a:pt x="78702" y="11906"/>
                      <a:pt x="78702" y="11906"/>
                    </a:cubicBezTo>
                    <a:cubicBezTo>
                      <a:pt x="77114" y="9525"/>
                      <a:pt x="76499" y="6043"/>
                      <a:pt x="73939" y="4763"/>
                    </a:cubicBezTo>
                    <a:cubicBezTo>
                      <a:pt x="69621" y="2604"/>
                      <a:pt x="64432" y="3064"/>
                      <a:pt x="59652" y="2381"/>
                    </a:cubicBezTo>
                    <a:cubicBezTo>
                      <a:pt x="53317" y="1476"/>
                      <a:pt x="46952" y="794"/>
                      <a:pt x="40602" y="0"/>
                    </a:cubicBezTo>
                    <a:cubicBezTo>
                      <a:pt x="8526" y="2467"/>
                      <a:pt x="8058" y="6747"/>
                      <a:pt x="2502" y="166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4" name="Freeform 223"/>
              <p:cNvSpPr/>
              <p:nvPr/>
            </p:nvSpPr>
            <p:spPr>
              <a:xfrm>
                <a:off x="8957805" y="3565221"/>
                <a:ext cx="163062" cy="88296"/>
              </a:xfrm>
              <a:custGeom>
                <a:avLst/>
                <a:gdLst>
                  <a:gd name="connsiteX0" fmla="*/ 103531 w 163062"/>
                  <a:gd name="connsiteY0" fmla="*/ 190 h 88296"/>
                  <a:gd name="connsiteX1" fmla="*/ 89243 w 163062"/>
                  <a:gd name="connsiteY1" fmla="*/ 4952 h 88296"/>
                  <a:gd name="connsiteX2" fmla="*/ 67812 w 163062"/>
                  <a:gd name="connsiteY2" fmla="*/ 9715 h 88296"/>
                  <a:gd name="connsiteX3" fmla="*/ 46381 w 163062"/>
                  <a:gd name="connsiteY3" fmla="*/ 21621 h 88296"/>
                  <a:gd name="connsiteX4" fmla="*/ 39237 w 163062"/>
                  <a:gd name="connsiteY4" fmla="*/ 19240 h 88296"/>
                  <a:gd name="connsiteX5" fmla="*/ 5900 w 163062"/>
                  <a:gd name="connsiteY5" fmla="*/ 24002 h 88296"/>
                  <a:gd name="connsiteX6" fmla="*/ 3518 w 163062"/>
                  <a:gd name="connsiteY6" fmla="*/ 45434 h 88296"/>
                  <a:gd name="connsiteX7" fmla="*/ 10662 w 163062"/>
                  <a:gd name="connsiteY7" fmla="*/ 47815 h 88296"/>
                  <a:gd name="connsiteX8" fmla="*/ 17806 w 163062"/>
                  <a:gd name="connsiteY8" fmla="*/ 52577 h 88296"/>
                  <a:gd name="connsiteX9" fmla="*/ 36856 w 163062"/>
                  <a:gd name="connsiteY9" fmla="*/ 57340 h 88296"/>
                  <a:gd name="connsiteX10" fmla="*/ 51143 w 163062"/>
                  <a:gd name="connsiteY10" fmla="*/ 62102 h 88296"/>
                  <a:gd name="connsiteX11" fmla="*/ 72575 w 163062"/>
                  <a:gd name="connsiteY11" fmla="*/ 69246 h 88296"/>
                  <a:gd name="connsiteX12" fmla="*/ 79718 w 163062"/>
                  <a:gd name="connsiteY12" fmla="*/ 71627 h 88296"/>
                  <a:gd name="connsiteX13" fmla="*/ 108293 w 163062"/>
                  <a:gd name="connsiteY13" fmla="*/ 85915 h 88296"/>
                  <a:gd name="connsiteX14" fmla="*/ 115437 w 163062"/>
                  <a:gd name="connsiteY14" fmla="*/ 88296 h 88296"/>
                  <a:gd name="connsiteX15" fmla="*/ 146393 w 163062"/>
                  <a:gd name="connsiteY15" fmla="*/ 85915 h 88296"/>
                  <a:gd name="connsiteX16" fmla="*/ 153537 w 163062"/>
                  <a:gd name="connsiteY16" fmla="*/ 81152 h 88296"/>
                  <a:gd name="connsiteX17" fmla="*/ 163062 w 163062"/>
                  <a:gd name="connsiteY17" fmla="*/ 66865 h 88296"/>
                  <a:gd name="connsiteX18" fmla="*/ 160681 w 163062"/>
                  <a:gd name="connsiteY18" fmla="*/ 33527 h 88296"/>
                  <a:gd name="connsiteX19" fmla="*/ 153537 w 163062"/>
                  <a:gd name="connsiteY19" fmla="*/ 12096 h 88296"/>
                  <a:gd name="connsiteX20" fmla="*/ 103531 w 163062"/>
                  <a:gd name="connsiteY20" fmla="*/ 190 h 8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3062" h="88296">
                    <a:moveTo>
                      <a:pt x="103531" y="190"/>
                    </a:moveTo>
                    <a:cubicBezTo>
                      <a:pt x="92816" y="-1001"/>
                      <a:pt x="94113" y="3734"/>
                      <a:pt x="89243" y="4952"/>
                    </a:cubicBezTo>
                    <a:cubicBezTo>
                      <a:pt x="84316" y="6184"/>
                      <a:pt x="73383" y="6620"/>
                      <a:pt x="67812" y="9715"/>
                    </a:cubicBezTo>
                    <a:cubicBezTo>
                      <a:pt x="43248" y="23361"/>
                      <a:pt x="62546" y="16233"/>
                      <a:pt x="46381" y="21621"/>
                    </a:cubicBezTo>
                    <a:cubicBezTo>
                      <a:pt x="44000" y="20827"/>
                      <a:pt x="41747" y="19240"/>
                      <a:pt x="39237" y="19240"/>
                    </a:cubicBezTo>
                    <a:cubicBezTo>
                      <a:pt x="18368" y="19240"/>
                      <a:pt x="19120" y="19595"/>
                      <a:pt x="5900" y="24002"/>
                    </a:cubicBezTo>
                    <a:cubicBezTo>
                      <a:pt x="669" y="31847"/>
                      <a:pt x="-3063" y="33917"/>
                      <a:pt x="3518" y="45434"/>
                    </a:cubicBezTo>
                    <a:cubicBezTo>
                      <a:pt x="4763" y="47613"/>
                      <a:pt x="8417" y="46693"/>
                      <a:pt x="10662" y="47815"/>
                    </a:cubicBezTo>
                    <a:cubicBezTo>
                      <a:pt x="13222" y="49095"/>
                      <a:pt x="15246" y="51297"/>
                      <a:pt x="17806" y="52577"/>
                    </a:cubicBezTo>
                    <a:cubicBezTo>
                      <a:pt x="23591" y="55470"/>
                      <a:pt x="30870" y="55707"/>
                      <a:pt x="36856" y="57340"/>
                    </a:cubicBezTo>
                    <a:cubicBezTo>
                      <a:pt x="41699" y="58661"/>
                      <a:pt x="46381" y="60515"/>
                      <a:pt x="51143" y="62102"/>
                    </a:cubicBezTo>
                    <a:lnTo>
                      <a:pt x="72575" y="69246"/>
                    </a:lnTo>
                    <a:lnTo>
                      <a:pt x="79718" y="71627"/>
                    </a:lnTo>
                    <a:cubicBezTo>
                      <a:pt x="98181" y="83935"/>
                      <a:pt x="88578" y="79343"/>
                      <a:pt x="108293" y="85915"/>
                    </a:cubicBezTo>
                    <a:lnTo>
                      <a:pt x="115437" y="88296"/>
                    </a:lnTo>
                    <a:cubicBezTo>
                      <a:pt x="125756" y="87502"/>
                      <a:pt x="136221" y="87822"/>
                      <a:pt x="146393" y="85915"/>
                    </a:cubicBezTo>
                    <a:cubicBezTo>
                      <a:pt x="149206" y="85388"/>
                      <a:pt x="151652" y="83306"/>
                      <a:pt x="153537" y="81152"/>
                    </a:cubicBezTo>
                    <a:cubicBezTo>
                      <a:pt x="157306" y="76845"/>
                      <a:pt x="163062" y="66865"/>
                      <a:pt x="163062" y="66865"/>
                    </a:cubicBezTo>
                    <a:cubicBezTo>
                      <a:pt x="162268" y="55752"/>
                      <a:pt x="161789" y="44613"/>
                      <a:pt x="160681" y="33527"/>
                    </a:cubicBezTo>
                    <a:cubicBezTo>
                      <a:pt x="160456" y="31274"/>
                      <a:pt x="159421" y="14450"/>
                      <a:pt x="153537" y="12096"/>
                    </a:cubicBezTo>
                    <a:cubicBezTo>
                      <a:pt x="146600" y="9321"/>
                      <a:pt x="114246" y="1381"/>
                      <a:pt x="103531" y="19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5" name="Freeform 224"/>
              <p:cNvSpPr/>
              <p:nvPr/>
            </p:nvSpPr>
            <p:spPr>
              <a:xfrm>
                <a:off x="8554130" y="3820205"/>
                <a:ext cx="716803" cy="288131"/>
              </a:xfrm>
              <a:custGeom>
                <a:avLst/>
                <a:gdLst>
                  <a:gd name="connsiteX0" fmla="*/ 9525 w 716803"/>
                  <a:gd name="connsiteY0" fmla="*/ 33337 h 288131"/>
                  <a:gd name="connsiteX1" fmla="*/ 7143 w 716803"/>
                  <a:gd name="connsiteY1" fmla="*/ 45243 h 288131"/>
                  <a:gd name="connsiteX2" fmla="*/ 2381 w 716803"/>
                  <a:gd name="connsiteY2" fmla="*/ 52387 h 288131"/>
                  <a:gd name="connsiteX3" fmla="*/ 0 w 716803"/>
                  <a:gd name="connsiteY3" fmla="*/ 59531 h 288131"/>
                  <a:gd name="connsiteX4" fmla="*/ 2381 w 716803"/>
                  <a:gd name="connsiteY4" fmla="*/ 66675 h 288131"/>
                  <a:gd name="connsiteX5" fmla="*/ 9525 w 716803"/>
                  <a:gd name="connsiteY5" fmla="*/ 69056 h 288131"/>
                  <a:gd name="connsiteX6" fmla="*/ 21431 w 716803"/>
                  <a:gd name="connsiteY6" fmla="*/ 71437 h 288131"/>
                  <a:gd name="connsiteX7" fmla="*/ 30956 w 716803"/>
                  <a:gd name="connsiteY7" fmla="*/ 73818 h 288131"/>
                  <a:gd name="connsiteX8" fmla="*/ 40481 w 716803"/>
                  <a:gd name="connsiteY8" fmla="*/ 95250 h 288131"/>
                  <a:gd name="connsiteX9" fmla="*/ 42862 w 716803"/>
                  <a:gd name="connsiteY9" fmla="*/ 102393 h 288131"/>
                  <a:gd name="connsiteX10" fmla="*/ 52387 w 716803"/>
                  <a:gd name="connsiteY10" fmla="*/ 116681 h 288131"/>
                  <a:gd name="connsiteX11" fmla="*/ 54768 w 716803"/>
                  <a:gd name="connsiteY11" fmla="*/ 123825 h 288131"/>
                  <a:gd name="connsiteX12" fmla="*/ 64293 w 716803"/>
                  <a:gd name="connsiteY12" fmla="*/ 138112 h 288131"/>
                  <a:gd name="connsiteX13" fmla="*/ 66675 w 716803"/>
                  <a:gd name="connsiteY13" fmla="*/ 145256 h 288131"/>
                  <a:gd name="connsiteX14" fmla="*/ 76200 w 716803"/>
                  <a:gd name="connsiteY14" fmla="*/ 159543 h 288131"/>
                  <a:gd name="connsiteX15" fmla="*/ 80962 w 716803"/>
                  <a:gd name="connsiteY15" fmla="*/ 166687 h 288131"/>
                  <a:gd name="connsiteX16" fmla="*/ 83343 w 716803"/>
                  <a:gd name="connsiteY16" fmla="*/ 176212 h 288131"/>
                  <a:gd name="connsiteX17" fmla="*/ 157162 w 716803"/>
                  <a:gd name="connsiteY17" fmla="*/ 169068 h 288131"/>
                  <a:gd name="connsiteX18" fmla="*/ 161925 w 716803"/>
                  <a:gd name="connsiteY18" fmla="*/ 145256 h 288131"/>
                  <a:gd name="connsiteX19" fmla="*/ 169068 w 716803"/>
                  <a:gd name="connsiteY19" fmla="*/ 140493 h 288131"/>
                  <a:gd name="connsiteX20" fmla="*/ 190500 w 716803"/>
                  <a:gd name="connsiteY20" fmla="*/ 133350 h 288131"/>
                  <a:gd name="connsiteX21" fmla="*/ 197643 w 716803"/>
                  <a:gd name="connsiteY21" fmla="*/ 130968 h 288131"/>
                  <a:gd name="connsiteX22" fmla="*/ 204787 w 716803"/>
                  <a:gd name="connsiteY22" fmla="*/ 133350 h 288131"/>
                  <a:gd name="connsiteX23" fmla="*/ 207168 w 716803"/>
                  <a:gd name="connsiteY23" fmla="*/ 140493 h 288131"/>
                  <a:gd name="connsiteX24" fmla="*/ 209550 w 716803"/>
                  <a:gd name="connsiteY24" fmla="*/ 154781 h 288131"/>
                  <a:gd name="connsiteX25" fmla="*/ 223837 w 716803"/>
                  <a:gd name="connsiteY25" fmla="*/ 159543 h 288131"/>
                  <a:gd name="connsiteX26" fmla="*/ 271462 w 716803"/>
                  <a:gd name="connsiteY26" fmla="*/ 161925 h 288131"/>
                  <a:gd name="connsiteX27" fmla="*/ 276225 w 716803"/>
                  <a:gd name="connsiteY27" fmla="*/ 169068 h 288131"/>
                  <a:gd name="connsiteX28" fmla="*/ 278606 w 716803"/>
                  <a:gd name="connsiteY28" fmla="*/ 176212 h 288131"/>
                  <a:gd name="connsiteX29" fmla="*/ 292893 w 716803"/>
                  <a:gd name="connsiteY29" fmla="*/ 183356 h 288131"/>
                  <a:gd name="connsiteX30" fmla="*/ 364331 w 716803"/>
                  <a:gd name="connsiteY30" fmla="*/ 180975 h 288131"/>
                  <a:gd name="connsiteX31" fmla="*/ 371475 w 716803"/>
                  <a:gd name="connsiteY31" fmla="*/ 176212 h 288131"/>
                  <a:gd name="connsiteX32" fmla="*/ 366712 w 716803"/>
                  <a:gd name="connsiteY32" fmla="*/ 152400 h 288131"/>
                  <a:gd name="connsiteX33" fmla="*/ 373856 w 716803"/>
                  <a:gd name="connsiteY33" fmla="*/ 145256 h 288131"/>
                  <a:gd name="connsiteX34" fmla="*/ 409575 w 716803"/>
                  <a:gd name="connsiteY34" fmla="*/ 147637 h 288131"/>
                  <a:gd name="connsiteX35" fmla="*/ 426243 w 716803"/>
                  <a:gd name="connsiteY35" fmla="*/ 150018 h 288131"/>
                  <a:gd name="connsiteX36" fmla="*/ 447675 w 716803"/>
                  <a:gd name="connsiteY36" fmla="*/ 154781 h 288131"/>
                  <a:gd name="connsiteX37" fmla="*/ 454818 w 716803"/>
                  <a:gd name="connsiteY37" fmla="*/ 161925 h 288131"/>
                  <a:gd name="connsiteX38" fmla="*/ 457200 w 716803"/>
                  <a:gd name="connsiteY38" fmla="*/ 183356 h 288131"/>
                  <a:gd name="connsiteX39" fmla="*/ 459581 w 716803"/>
                  <a:gd name="connsiteY39" fmla="*/ 190500 h 288131"/>
                  <a:gd name="connsiteX40" fmla="*/ 478631 w 716803"/>
                  <a:gd name="connsiteY40" fmla="*/ 197643 h 288131"/>
                  <a:gd name="connsiteX41" fmla="*/ 488156 w 716803"/>
                  <a:gd name="connsiteY41" fmla="*/ 200025 h 288131"/>
                  <a:gd name="connsiteX42" fmla="*/ 495300 w 716803"/>
                  <a:gd name="connsiteY42" fmla="*/ 202406 h 288131"/>
                  <a:gd name="connsiteX43" fmla="*/ 526256 w 716803"/>
                  <a:gd name="connsiteY43" fmla="*/ 207168 h 288131"/>
                  <a:gd name="connsiteX44" fmla="*/ 535781 w 716803"/>
                  <a:gd name="connsiteY44" fmla="*/ 209550 h 288131"/>
                  <a:gd name="connsiteX45" fmla="*/ 552450 w 716803"/>
                  <a:gd name="connsiteY45" fmla="*/ 214312 h 288131"/>
                  <a:gd name="connsiteX46" fmla="*/ 576262 w 716803"/>
                  <a:gd name="connsiteY46" fmla="*/ 216693 h 288131"/>
                  <a:gd name="connsiteX47" fmla="*/ 583406 w 716803"/>
                  <a:gd name="connsiteY47" fmla="*/ 219075 h 288131"/>
                  <a:gd name="connsiteX48" fmla="*/ 597693 w 716803"/>
                  <a:gd name="connsiteY48" fmla="*/ 228600 h 288131"/>
                  <a:gd name="connsiteX49" fmla="*/ 609600 w 716803"/>
                  <a:gd name="connsiteY49" fmla="*/ 242887 h 288131"/>
                  <a:gd name="connsiteX50" fmla="*/ 614362 w 716803"/>
                  <a:gd name="connsiteY50" fmla="*/ 250031 h 288131"/>
                  <a:gd name="connsiteX51" fmla="*/ 621506 w 716803"/>
                  <a:gd name="connsiteY51" fmla="*/ 252412 h 288131"/>
                  <a:gd name="connsiteX52" fmla="*/ 626268 w 716803"/>
                  <a:gd name="connsiteY52" fmla="*/ 259556 h 288131"/>
                  <a:gd name="connsiteX53" fmla="*/ 633412 w 716803"/>
                  <a:gd name="connsiteY53" fmla="*/ 261937 h 288131"/>
                  <a:gd name="connsiteX54" fmla="*/ 640556 w 716803"/>
                  <a:gd name="connsiteY54" fmla="*/ 266700 h 288131"/>
                  <a:gd name="connsiteX55" fmla="*/ 654843 w 716803"/>
                  <a:gd name="connsiteY55" fmla="*/ 276225 h 288131"/>
                  <a:gd name="connsiteX56" fmla="*/ 659606 w 716803"/>
                  <a:gd name="connsiteY56" fmla="*/ 283368 h 288131"/>
                  <a:gd name="connsiteX57" fmla="*/ 673893 w 716803"/>
                  <a:gd name="connsiteY57" fmla="*/ 288131 h 288131"/>
                  <a:gd name="connsiteX58" fmla="*/ 681037 w 716803"/>
                  <a:gd name="connsiteY58" fmla="*/ 285750 h 288131"/>
                  <a:gd name="connsiteX59" fmla="*/ 695325 w 716803"/>
                  <a:gd name="connsiteY59" fmla="*/ 273843 h 288131"/>
                  <a:gd name="connsiteX60" fmla="*/ 702468 w 716803"/>
                  <a:gd name="connsiteY60" fmla="*/ 228600 h 288131"/>
                  <a:gd name="connsiteX61" fmla="*/ 709612 w 716803"/>
                  <a:gd name="connsiteY61" fmla="*/ 223837 h 288131"/>
                  <a:gd name="connsiteX62" fmla="*/ 716756 w 716803"/>
                  <a:gd name="connsiteY62" fmla="*/ 192881 h 288131"/>
                  <a:gd name="connsiteX63" fmla="*/ 714375 w 716803"/>
                  <a:gd name="connsiteY63" fmla="*/ 180975 h 288131"/>
                  <a:gd name="connsiteX64" fmla="*/ 707231 w 716803"/>
                  <a:gd name="connsiteY64" fmla="*/ 178593 h 288131"/>
                  <a:gd name="connsiteX65" fmla="*/ 697706 w 716803"/>
                  <a:gd name="connsiteY65" fmla="*/ 176212 h 288131"/>
                  <a:gd name="connsiteX66" fmla="*/ 683418 w 716803"/>
                  <a:gd name="connsiteY66" fmla="*/ 171450 h 288131"/>
                  <a:gd name="connsiteX67" fmla="*/ 678656 w 716803"/>
                  <a:gd name="connsiteY67" fmla="*/ 164306 h 288131"/>
                  <a:gd name="connsiteX68" fmla="*/ 676275 w 716803"/>
                  <a:gd name="connsiteY68" fmla="*/ 157162 h 288131"/>
                  <a:gd name="connsiteX69" fmla="*/ 659606 w 716803"/>
                  <a:gd name="connsiteY69" fmla="*/ 154781 h 288131"/>
                  <a:gd name="connsiteX70" fmla="*/ 645318 w 716803"/>
                  <a:gd name="connsiteY70" fmla="*/ 152400 h 288131"/>
                  <a:gd name="connsiteX71" fmla="*/ 638175 w 716803"/>
                  <a:gd name="connsiteY71" fmla="*/ 150018 h 288131"/>
                  <a:gd name="connsiteX72" fmla="*/ 628650 w 716803"/>
                  <a:gd name="connsiteY72" fmla="*/ 116681 h 288131"/>
                  <a:gd name="connsiteX73" fmla="*/ 623887 w 716803"/>
                  <a:gd name="connsiteY73" fmla="*/ 100012 h 288131"/>
                  <a:gd name="connsiteX74" fmla="*/ 607218 w 716803"/>
                  <a:gd name="connsiteY74" fmla="*/ 76200 h 288131"/>
                  <a:gd name="connsiteX75" fmla="*/ 585787 w 716803"/>
                  <a:gd name="connsiteY75" fmla="*/ 66675 h 288131"/>
                  <a:gd name="connsiteX76" fmla="*/ 571500 w 716803"/>
                  <a:gd name="connsiteY76" fmla="*/ 64293 h 288131"/>
                  <a:gd name="connsiteX77" fmla="*/ 561975 w 716803"/>
                  <a:gd name="connsiteY77" fmla="*/ 61912 h 288131"/>
                  <a:gd name="connsiteX78" fmla="*/ 535781 w 716803"/>
                  <a:gd name="connsiteY78" fmla="*/ 59531 h 288131"/>
                  <a:gd name="connsiteX79" fmla="*/ 495300 w 716803"/>
                  <a:gd name="connsiteY79" fmla="*/ 54768 h 288131"/>
                  <a:gd name="connsiteX80" fmla="*/ 461962 w 716803"/>
                  <a:gd name="connsiteY80" fmla="*/ 45243 h 288131"/>
                  <a:gd name="connsiteX81" fmla="*/ 445293 w 716803"/>
                  <a:gd name="connsiteY81" fmla="*/ 38100 h 288131"/>
                  <a:gd name="connsiteX82" fmla="*/ 431006 w 716803"/>
                  <a:gd name="connsiteY82" fmla="*/ 33337 h 288131"/>
                  <a:gd name="connsiteX83" fmla="*/ 423862 w 716803"/>
                  <a:gd name="connsiteY83" fmla="*/ 30956 h 288131"/>
                  <a:gd name="connsiteX84" fmla="*/ 407193 w 716803"/>
                  <a:gd name="connsiteY84" fmla="*/ 21431 h 288131"/>
                  <a:gd name="connsiteX85" fmla="*/ 400050 w 716803"/>
                  <a:gd name="connsiteY85" fmla="*/ 19050 h 288131"/>
                  <a:gd name="connsiteX86" fmla="*/ 376237 w 716803"/>
                  <a:gd name="connsiteY86" fmla="*/ 4762 h 288131"/>
                  <a:gd name="connsiteX87" fmla="*/ 361950 w 716803"/>
                  <a:gd name="connsiteY87" fmla="*/ 0 h 288131"/>
                  <a:gd name="connsiteX88" fmla="*/ 314325 w 716803"/>
                  <a:gd name="connsiteY88" fmla="*/ 2381 h 288131"/>
                  <a:gd name="connsiteX89" fmla="*/ 307181 w 716803"/>
                  <a:gd name="connsiteY89" fmla="*/ 4762 h 288131"/>
                  <a:gd name="connsiteX90" fmla="*/ 300037 w 716803"/>
                  <a:gd name="connsiteY90" fmla="*/ 14287 h 288131"/>
                  <a:gd name="connsiteX91" fmla="*/ 292893 w 716803"/>
                  <a:gd name="connsiteY91" fmla="*/ 28575 h 288131"/>
                  <a:gd name="connsiteX92" fmla="*/ 280987 w 716803"/>
                  <a:gd name="connsiteY92" fmla="*/ 35718 h 288131"/>
                  <a:gd name="connsiteX93" fmla="*/ 273843 w 716803"/>
                  <a:gd name="connsiteY93" fmla="*/ 40481 h 288131"/>
                  <a:gd name="connsiteX94" fmla="*/ 264318 w 716803"/>
                  <a:gd name="connsiteY94" fmla="*/ 42862 h 288131"/>
                  <a:gd name="connsiteX95" fmla="*/ 250031 w 716803"/>
                  <a:gd name="connsiteY95" fmla="*/ 47625 h 288131"/>
                  <a:gd name="connsiteX96" fmla="*/ 252412 w 716803"/>
                  <a:gd name="connsiteY96" fmla="*/ 40481 h 288131"/>
                  <a:gd name="connsiteX97" fmla="*/ 257175 w 716803"/>
                  <a:gd name="connsiteY97" fmla="*/ 30956 h 288131"/>
                  <a:gd name="connsiteX98" fmla="*/ 250031 w 716803"/>
                  <a:gd name="connsiteY98" fmla="*/ 9525 h 288131"/>
                  <a:gd name="connsiteX99" fmla="*/ 223837 w 716803"/>
                  <a:gd name="connsiteY99" fmla="*/ 11906 h 288131"/>
                  <a:gd name="connsiteX100" fmla="*/ 200025 w 716803"/>
                  <a:gd name="connsiteY100" fmla="*/ 16668 h 288131"/>
                  <a:gd name="connsiteX101" fmla="*/ 192881 w 716803"/>
                  <a:gd name="connsiteY101" fmla="*/ 21431 h 288131"/>
                  <a:gd name="connsiteX102" fmla="*/ 128587 w 716803"/>
                  <a:gd name="connsiteY102" fmla="*/ 21431 h 288131"/>
                  <a:gd name="connsiteX103" fmla="*/ 114300 w 716803"/>
                  <a:gd name="connsiteY103" fmla="*/ 19050 h 288131"/>
                  <a:gd name="connsiteX104" fmla="*/ 107156 w 716803"/>
                  <a:gd name="connsiteY104" fmla="*/ 16668 h 288131"/>
                  <a:gd name="connsiteX105" fmla="*/ 64293 w 716803"/>
                  <a:gd name="connsiteY105" fmla="*/ 19050 h 288131"/>
                  <a:gd name="connsiteX106" fmla="*/ 23812 w 716803"/>
                  <a:gd name="connsiteY106" fmla="*/ 23812 h 288131"/>
                  <a:gd name="connsiteX107" fmla="*/ 9525 w 716803"/>
                  <a:gd name="connsiteY107" fmla="*/ 33337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716803" h="288131">
                    <a:moveTo>
                      <a:pt x="9525" y="33337"/>
                    </a:moveTo>
                    <a:cubicBezTo>
                      <a:pt x="8731" y="37306"/>
                      <a:pt x="8564" y="41453"/>
                      <a:pt x="7143" y="45243"/>
                    </a:cubicBezTo>
                    <a:cubicBezTo>
                      <a:pt x="6138" y="47923"/>
                      <a:pt x="3661" y="49827"/>
                      <a:pt x="2381" y="52387"/>
                    </a:cubicBezTo>
                    <a:cubicBezTo>
                      <a:pt x="1259" y="54632"/>
                      <a:pt x="794" y="57150"/>
                      <a:pt x="0" y="59531"/>
                    </a:cubicBezTo>
                    <a:cubicBezTo>
                      <a:pt x="794" y="61912"/>
                      <a:pt x="606" y="64900"/>
                      <a:pt x="2381" y="66675"/>
                    </a:cubicBezTo>
                    <a:cubicBezTo>
                      <a:pt x="4156" y="68450"/>
                      <a:pt x="7090" y="68447"/>
                      <a:pt x="9525" y="69056"/>
                    </a:cubicBezTo>
                    <a:cubicBezTo>
                      <a:pt x="13451" y="70038"/>
                      <a:pt x="17480" y="70559"/>
                      <a:pt x="21431" y="71437"/>
                    </a:cubicBezTo>
                    <a:cubicBezTo>
                      <a:pt x="24626" y="72147"/>
                      <a:pt x="27781" y="73024"/>
                      <a:pt x="30956" y="73818"/>
                    </a:cubicBezTo>
                    <a:cubicBezTo>
                      <a:pt x="36623" y="90821"/>
                      <a:pt x="32933" y="83929"/>
                      <a:pt x="40481" y="95250"/>
                    </a:cubicBezTo>
                    <a:cubicBezTo>
                      <a:pt x="41275" y="97631"/>
                      <a:pt x="41643" y="100199"/>
                      <a:pt x="42862" y="102393"/>
                    </a:cubicBezTo>
                    <a:cubicBezTo>
                      <a:pt x="45642" y="107397"/>
                      <a:pt x="50577" y="111251"/>
                      <a:pt x="52387" y="116681"/>
                    </a:cubicBezTo>
                    <a:cubicBezTo>
                      <a:pt x="53181" y="119062"/>
                      <a:pt x="53549" y="121631"/>
                      <a:pt x="54768" y="123825"/>
                    </a:cubicBezTo>
                    <a:cubicBezTo>
                      <a:pt x="57548" y="128828"/>
                      <a:pt x="62483" y="132682"/>
                      <a:pt x="64293" y="138112"/>
                    </a:cubicBezTo>
                    <a:cubicBezTo>
                      <a:pt x="65087" y="140493"/>
                      <a:pt x="65456" y="143062"/>
                      <a:pt x="66675" y="145256"/>
                    </a:cubicBezTo>
                    <a:cubicBezTo>
                      <a:pt x="69455" y="150259"/>
                      <a:pt x="73025" y="154781"/>
                      <a:pt x="76200" y="159543"/>
                    </a:cubicBezTo>
                    <a:lnTo>
                      <a:pt x="80962" y="166687"/>
                    </a:lnTo>
                    <a:cubicBezTo>
                      <a:pt x="81756" y="169862"/>
                      <a:pt x="80088" y="175875"/>
                      <a:pt x="83343" y="176212"/>
                    </a:cubicBezTo>
                    <a:cubicBezTo>
                      <a:pt x="140314" y="182106"/>
                      <a:pt x="133131" y="185090"/>
                      <a:pt x="157162" y="169068"/>
                    </a:cubicBezTo>
                    <a:cubicBezTo>
                      <a:pt x="157171" y="169016"/>
                      <a:pt x="160345" y="147627"/>
                      <a:pt x="161925" y="145256"/>
                    </a:cubicBezTo>
                    <a:cubicBezTo>
                      <a:pt x="163512" y="142875"/>
                      <a:pt x="166453" y="141655"/>
                      <a:pt x="169068" y="140493"/>
                    </a:cubicBezTo>
                    <a:cubicBezTo>
                      <a:pt x="169074" y="140490"/>
                      <a:pt x="186925" y="134542"/>
                      <a:pt x="190500" y="133350"/>
                    </a:cubicBezTo>
                    <a:lnTo>
                      <a:pt x="197643" y="130968"/>
                    </a:lnTo>
                    <a:cubicBezTo>
                      <a:pt x="200024" y="131762"/>
                      <a:pt x="203012" y="131575"/>
                      <a:pt x="204787" y="133350"/>
                    </a:cubicBezTo>
                    <a:cubicBezTo>
                      <a:pt x="206562" y="135125"/>
                      <a:pt x="206623" y="138043"/>
                      <a:pt x="207168" y="140493"/>
                    </a:cubicBezTo>
                    <a:cubicBezTo>
                      <a:pt x="208216" y="145206"/>
                      <a:pt x="206370" y="151147"/>
                      <a:pt x="209550" y="154781"/>
                    </a:cubicBezTo>
                    <a:cubicBezTo>
                      <a:pt x="212856" y="158559"/>
                      <a:pt x="218823" y="159292"/>
                      <a:pt x="223837" y="159543"/>
                    </a:cubicBezTo>
                    <a:lnTo>
                      <a:pt x="271462" y="161925"/>
                    </a:lnTo>
                    <a:cubicBezTo>
                      <a:pt x="273050" y="164306"/>
                      <a:pt x="274945" y="166508"/>
                      <a:pt x="276225" y="169068"/>
                    </a:cubicBezTo>
                    <a:cubicBezTo>
                      <a:pt x="277348" y="171313"/>
                      <a:pt x="277038" y="174252"/>
                      <a:pt x="278606" y="176212"/>
                    </a:cubicBezTo>
                    <a:cubicBezTo>
                      <a:pt x="281963" y="180409"/>
                      <a:pt x="288187" y="181787"/>
                      <a:pt x="292893" y="183356"/>
                    </a:cubicBezTo>
                    <a:cubicBezTo>
                      <a:pt x="316706" y="182562"/>
                      <a:pt x="340603" y="183132"/>
                      <a:pt x="364331" y="180975"/>
                    </a:cubicBezTo>
                    <a:cubicBezTo>
                      <a:pt x="367181" y="180716"/>
                      <a:pt x="370854" y="179006"/>
                      <a:pt x="371475" y="176212"/>
                    </a:cubicBezTo>
                    <a:cubicBezTo>
                      <a:pt x="372934" y="169646"/>
                      <a:pt x="368992" y="159239"/>
                      <a:pt x="366712" y="152400"/>
                    </a:cubicBezTo>
                    <a:cubicBezTo>
                      <a:pt x="369093" y="150019"/>
                      <a:pt x="370509" y="145628"/>
                      <a:pt x="373856" y="145256"/>
                    </a:cubicBezTo>
                    <a:cubicBezTo>
                      <a:pt x="385716" y="143938"/>
                      <a:pt x="397691" y="146557"/>
                      <a:pt x="409575" y="147637"/>
                    </a:cubicBezTo>
                    <a:cubicBezTo>
                      <a:pt x="415164" y="148145"/>
                      <a:pt x="420696" y="149164"/>
                      <a:pt x="426243" y="150018"/>
                    </a:cubicBezTo>
                    <a:cubicBezTo>
                      <a:pt x="441806" y="152413"/>
                      <a:pt x="436574" y="151081"/>
                      <a:pt x="447675" y="154781"/>
                    </a:cubicBezTo>
                    <a:cubicBezTo>
                      <a:pt x="450056" y="157162"/>
                      <a:pt x="453753" y="158730"/>
                      <a:pt x="454818" y="161925"/>
                    </a:cubicBezTo>
                    <a:cubicBezTo>
                      <a:pt x="457091" y="168744"/>
                      <a:pt x="456018" y="176266"/>
                      <a:pt x="457200" y="183356"/>
                    </a:cubicBezTo>
                    <a:cubicBezTo>
                      <a:pt x="457613" y="185832"/>
                      <a:pt x="458013" y="188540"/>
                      <a:pt x="459581" y="190500"/>
                    </a:cubicBezTo>
                    <a:cubicBezTo>
                      <a:pt x="464351" y="196462"/>
                      <a:pt x="472039" y="196178"/>
                      <a:pt x="478631" y="197643"/>
                    </a:cubicBezTo>
                    <a:cubicBezTo>
                      <a:pt x="481826" y="198353"/>
                      <a:pt x="485009" y="199126"/>
                      <a:pt x="488156" y="200025"/>
                    </a:cubicBezTo>
                    <a:cubicBezTo>
                      <a:pt x="490570" y="200715"/>
                      <a:pt x="492850" y="201862"/>
                      <a:pt x="495300" y="202406"/>
                    </a:cubicBezTo>
                    <a:cubicBezTo>
                      <a:pt x="505668" y="204710"/>
                      <a:pt x="515799" y="205267"/>
                      <a:pt x="526256" y="207168"/>
                    </a:cubicBezTo>
                    <a:cubicBezTo>
                      <a:pt x="529476" y="207754"/>
                      <a:pt x="532634" y="208651"/>
                      <a:pt x="535781" y="209550"/>
                    </a:cubicBezTo>
                    <a:cubicBezTo>
                      <a:pt x="542563" y="211488"/>
                      <a:pt x="545010" y="213249"/>
                      <a:pt x="552450" y="214312"/>
                    </a:cubicBezTo>
                    <a:cubicBezTo>
                      <a:pt x="560347" y="215440"/>
                      <a:pt x="568325" y="215899"/>
                      <a:pt x="576262" y="216693"/>
                    </a:cubicBezTo>
                    <a:cubicBezTo>
                      <a:pt x="578643" y="217487"/>
                      <a:pt x="581212" y="217856"/>
                      <a:pt x="583406" y="219075"/>
                    </a:cubicBezTo>
                    <a:cubicBezTo>
                      <a:pt x="588409" y="221855"/>
                      <a:pt x="597693" y="228600"/>
                      <a:pt x="597693" y="228600"/>
                    </a:cubicBezTo>
                    <a:cubicBezTo>
                      <a:pt x="609526" y="246346"/>
                      <a:pt x="594311" y="224539"/>
                      <a:pt x="609600" y="242887"/>
                    </a:cubicBezTo>
                    <a:cubicBezTo>
                      <a:pt x="611432" y="245086"/>
                      <a:pt x="612127" y="248243"/>
                      <a:pt x="614362" y="250031"/>
                    </a:cubicBezTo>
                    <a:cubicBezTo>
                      <a:pt x="616322" y="251599"/>
                      <a:pt x="619125" y="251618"/>
                      <a:pt x="621506" y="252412"/>
                    </a:cubicBezTo>
                    <a:cubicBezTo>
                      <a:pt x="623093" y="254793"/>
                      <a:pt x="624033" y="257768"/>
                      <a:pt x="626268" y="259556"/>
                    </a:cubicBezTo>
                    <a:cubicBezTo>
                      <a:pt x="628228" y="261124"/>
                      <a:pt x="631167" y="260814"/>
                      <a:pt x="633412" y="261937"/>
                    </a:cubicBezTo>
                    <a:cubicBezTo>
                      <a:pt x="635972" y="263217"/>
                      <a:pt x="638357" y="264868"/>
                      <a:pt x="640556" y="266700"/>
                    </a:cubicBezTo>
                    <a:cubicBezTo>
                      <a:pt x="652447" y="276609"/>
                      <a:pt x="642290" y="272039"/>
                      <a:pt x="654843" y="276225"/>
                    </a:cubicBezTo>
                    <a:cubicBezTo>
                      <a:pt x="656431" y="278606"/>
                      <a:pt x="657179" y="281851"/>
                      <a:pt x="659606" y="283368"/>
                    </a:cubicBezTo>
                    <a:cubicBezTo>
                      <a:pt x="663863" y="286029"/>
                      <a:pt x="673893" y="288131"/>
                      <a:pt x="673893" y="288131"/>
                    </a:cubicBezTo>
                    <a:cubicBezTo>
                      <a:pt x="676274" y="287337"/>
                      <a:pt x="678792" y="286873"/>
                      <a:pt x="681037" y="285750"/>
                    </a:cubicBezTo>
                    <a:cubicBezTo>
                      <a:pt x="687667" y="282435"/>
                      <a:pt x="690059" y="279109"/>
                      <a:pt x="695325" y="273843"/>
                    </a:cubicBezTo>
                    <a:cubicBezTo>
                      <a:pt x="696133" y="260920"/>
                      <a:pt x="691042" y="240026"/>
                      <a:pt x="702468" y="228600"/>
                    </a:cubicBezTo>
                    <a:cubicBezTo>
                      <a:pt x="704492" y="226576"/>
                      <a:pt x="707231" y="225425"/>
                      <a:pt x="709612" y="223837"/>
                    </a:cubicBezTo>
                    <a:cubicBezTo>
                      <a:pt x="717844" y="211491"/>
                      <a:pt x="716756" y="215543"/>
                      <a:pt x="716756" y="192881"/>
                    </a:cubicBezTo>
                    <a:cubicBezTo>
                      <a:pt x="716756" y="188834"/>
                      <a:pt x="716620" y="184343"/>
                      <a:pt x="714375" y="180975"/>
                    </a:cubicBezTo>
                    <a:cubicBezTo>
                      <a:pt x="712983" y="178886"/>
                      <a:pt x="709645" y="179283"/>
                      <a:pt x="707231" y="178593"/>
                    </a:cubicBezTo>
                    <a:cubicBezTo>
                      <a:pt x="704084" y="177694"/>
                      <a:pt x="700841" y="177152"/>
                      <a:pt x="697706" y="176212"/>
                    </a:cubicBezTo>
                    <a:cubicBezTo>
                      <a:pt x="692897" y="174770"/>
                      <a:pt x="683418" y="171450"/>
                      <a:pt x="683418" y="171450"/>
                    </a:cubicBezTo>
                    <a:cubicBezTo>
                      <a:pt x="681831" y="169069"/>
                      <a:pt x="679936" y="166866"/>
                      <a:pt x="678656" y="164306"/>
                    </a:cubicBezTo>
                    <a:cubicBezTo>
                      <a:pt x="677534" y="162061"/>
                      <a:pt x="678520" y="158285"/>
                      <a:pt x="676275" y="157162"/>
                    </a:cubicBezTo>
                    <a:cubicBezTo>
                      <a:pt x="671255" y="154652"/>
                      <a:pt x="665153" y="155634"/>
                      <a:pt x="659606" y="154781"/>
                    </a:cubicBezTo>
                    <a:cubicBezTo>
                      <a:pt x="654834" y="154047"/>
                      <a:pt x="650081" y="153194"/>
                      <a:pt x="645318" y="152400"/>
                    </a:cubicBezTo>
                    <a:cubicBezTo>
                      <a:pt x="642937" y="151606"/>
                      <a:pt x="639634" y="152060"/>
                      <a:pt x="638175" y="150018"/>
                    </a:cubicBezTo>
                    <a:cubicBezTo>
                      <a:pt x="635545" y="146336"/>
                      <a:pt x="629149" y="118678"/>
                      <a:pt x="628650" y="116681"/>
                    </a:cubicBezTo>
                    <a:cubicBezTo>
                      <a:pt x="628091" y="114444"/>
                      <a:pt x="625438" y="102803"/>
                      <a:pt x="623887" y="100012"/>
                    </a:cubicBezTo>
                    <a:cubicBezTo>
                      <a:pt x="622914" y="98260"/>
                      <a:pt x="610340" y="79322"/>
                      <a:pt x="607218" y="76200"/>
                    </a:cubicBezTo>
                    <a:cubicBezTo>
                      <a:pt x="602362" y="71344"/>
                      <a:pt x="591450" y="67619"/>
                      <a:pt x="585787" y="66675"/>
                    </a:cubicBezTo>
                    <a:cubicBezTo>
                      <a:pt x="581025" y="65881"/>
                      <a:pt x="576234" y="65240"/>
                      <a:pt x="571500" y="64293"/>
                    </a:cubicBezTo>
                    <a:cubicBezTo>
                      <a:pt x="568291" y="63651"/>
                      <a:pt x="565219" y="62344"/>
                      <a:pt x="561975" y="61912"/>
                    </a:cubicBezTo>
                    <a:cubicBezTo>
                      <a:pt x="553285" y="60753"/>
                      <a:pt x="544512" y="60325"/>
                      <a:pt x="535781" y="59531"/>
                    </a:cubicBezTo>
                    <a:cubicBezTo>
                      <a:pt x="508750" y="54125"/>
                      <a:pt x="541493" y="60203"/>
                      <a:pt x="495300" y="54768"/>
                    </a:cubicBezTo>
                    <a:cubicBezTo>
                      <a:pt x="483710" y="53404"/>
                      <a:pt x="472937" y="48901"/>
                      <a:pt x="461962" y="45243"/>
                    </a:cubicBezTo>
                    <a:cubicBezTo>
                      <a:pt x="438960" y="37575"/>
                      <a:pt x="474727" y="49874"/>
                      <a:pt x="445293" y="38100"/>
                    </a:cubicBezTo>
                    <a:cubicBezTo>
                      <a:pt x="440632" y="36236"/>
                      <a:pt x="435768" y="34925"/>
                      <a:pt x="431006" y="33337"/>
                    </a:cubicBezTo>
                    <a:lnTo>
                      <a:pt x="423862" y="30956"/>
                    </a:lnTo>
                    <a:cubicBezTo>
                      <a:pt x="416686" y="26172"/>
                      <a:pt x="415655" y="25057"/>
                      <a:pt x="407193" y="21431"/>
                    </a:cubicBezTo>
                    <a:cubicBezTo>
                      <a:pt x="404886" y="20442"/>
                      <a:pt x="402431" y="19844"/>
                      <a:pt x="400050" y="19050"/>
                    </a:cubicBezTo>
                    <a:cubicBezTo>
                      <a:pt x="389589" y="11204"/>
                      <a:pt x="389615" y="10336"/>
                      <a:pt x="376237" y="4762"/>
                    </a:cubicBezTo>
                    <a:cubicBezTo>
                      <a:pt x="371603" y="2831"/>
                      <a:pt x="361950" y="0"/>
                      <a:pt x="361950" y="0"/>
                    </a:cubicBezTo>
                    <a:cubicBezTo>
                      <a:pt x="346075" y="794"/>
                      <a:pt x="330160" y="1004"/>
                      <a:pt x="314325" y="2381"/>
                    </a:cubicBezTo>
                    <a:cubicBezTo>
                      <a:pt x="311824" y="2598"/>
                      <a:pt x="309109" y="3155"/>
                      <a:pt x="307181" y="4762"/>
                    </a:cubicBezTo>
                    <a:cubicBezTo>
                      <a:pt x="304132" y="7303"/>
                      <a:pt x="302418" y="11112"/>
                      <a:pt x="300037" y="14287"/>
                    </a:cubicBezTo>
                    <a:cubicBezTo>
                      <a:pt x="298370" y="19288"/>
                      <a:pt x="297202" y="24881"/>
                      <a:pt x="292893" y="28575"/>
                    </a:cubicBezTo>
                    <a:cubicBezTo>
                      <a:pt x="289379" y="31587"/>
                      <a:pt x="284912" y="33265"/>
                      <a:pt x="280987" y="35718"/>
                    </a:cubicBezTo>
                    <a:cubicBezTo>
                      <a:pt x="278560" y="37235"/>
                      <a:pt x="276474" y="39354"/>
                      <a:pt x="273843" y="40481"/>
                    </a:cubicBezTo>
                    <a:cubicBezTo>
                      <a:pt x="270835" y="41770"/>
                      <a:pt x="267453" y="41922"/>
                      <a:pt x="264318" y="42862"/>
                    </a:cubicBezTo>
                    <a:cubicBezTo>
                      <a:pt x="259510" y="44305"/>
                      <a:pt x="250031" y="47625"/>
                      <a:pt x="250031" y="47625"/>
                    </a:cubicBezTo>
                    <a:cubicBezTo>
                      <a:pt x="250825" y="45244"/>
                      <a:pt x="251423" y="42788"/>
                      <a:pt x="252412" y="40481"/>
                    </a:cubicBezTo>
                    <a:cubicBezTo>
                      <a:pt x="253810" y="37218"/>
                      <a:pt x="256822" y="34488"/>
                      <a:pt x="257175" y="30956"/>
                    </a:cubicBezTo>
                    <a:cubicBezTo>
                      <a:pt x="258291" y="19798"/>
                      <a:pt x="255119" y="17158"/>
                      <a:pt x="250031" y="9525"/>
                    </a:cubicBezTo>
                    <a:cubicBezTo>
                      <a:pt x="241300" y="10319"/>
                      <a:pt x="232516" y="10666"/>
                      <a:pt x="223837" y="11906"/>
                    </a:cubicBezTo>
                    <a:cubicBezTo>
                      <a:pt x="215824" y="13051"/>
                      <a:pt x="200025" y="16668"/>
                      <a:pt x="200025" y="16668"/>
                    </a:cubicBezTo>
                    <a:cubicBezTo>
                      <a:pt x="197644" y="18256"/>
                      <a:pt x="195441" y="20151"/>
                      <a:pt x="192881" y="21431"/>
                    </a:cubicBezTo>
                    <a:cubicBezTo>
                      <a:pt x="175415" y="30164"/>
                      <a:pt x="129255" y="21459"/>
                      <a:pt x="128587" y="21431"/>
                    </a:cubicBezTo>
                    <a:cubicBezTo>
                      <a:pt x="123825" y="20637"/>
                      <a:pt x="119013" y="20097"/>
                      <a:pt x="114300" y="19050"/>
                    </a:cubicBezTo>
                    <a:cubicBezTo>
                      <a:pt x="111850" y="18505"/>
                      <a:pt x="109666" y="16668"/>
                      <a:pt x="107156" y="16668"/>
                    </a:cubicBezTo>
                    <a:cubicBezTo>
                      <a:pt x="92846" y="16668"/>
                      <a:pt x="78566" y="18030"/>
                      <a:pt x="64293" y="19050"/>
                    </a:cubicBezTo>
                    <a:cubicBezTo>
                      <a:pt x="46652" y="20310"/>
                      <a:pt x="40106" y="21485"/>
                      <a:pt x="23812" y="23812"/>
                    </a:cubicBezTo>
                    <a:lnTo>
                      <a:pt x="9525" y="33337"/>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6" name="Freeform 225"/>
              <p:cNvSpPr/>
              <p:nvPr/>
            </p:nvSpPr>
            <p:spPr>
              <a:xfrm>
                <a:off x="10187236" y="3504292"/>
                <a:ext cx="1601736" cy="1908175"/>
              </a:xfrm>
              <a:custGeom>
                <a:avLst/>
                <a:gdLst>
                  <a:gd name="connsiteX0" fmla="*/ 22656 w 1601736"/>
                  <a:gd name="connsiteY0" fmla="*/ 349250 h 1908175"/>
                  <a:gd name="connsiteX1" fmla="*/ 38531 w 1601736"/>
                  <a:gd name="connsiteY1" fmla="*/ 355600 h 1908175"/>
                  <a:gd name="connsiteX2" fmla="*/ 48056 w 1601736"/>
                  <a:gd name="connsiteY2" fmla="*/ 358775 h 1908175"/>
                  <a:gd name="connsiteX3" fmla="*/ 54406 w 1601736"/>
                  <a:gd name="connsiteY3" fmla="*/ 377825 h 1908175"/>
                  <a:gd name="connsiteX4" fmla="*/ 57581 w 1601736"/>
                  <a:gd name="connsiteY4" fmla="*/ 387350 h 1908175"/>
                  <a:gd name="connsiteX5" fmla="*/ 70281 w 1601736"/>
                  <a:gd name="connsiteY5" fmla="*/ 406400 h 1908175"/>
                  <a:gd name="connsiteX6" fmla="*/ 76631 w 1601736"/>
                  <a:gd name="connsiteY6" fmla="*/ 415925 h 1908175"/>
                  <a:gd name="connsiteX7" fmla="*/ 82981 w 1601736"/>
                  <a:gd name="connsiteY7" fmla="*/ 434975 h 1908175"/>
                  <a:gd name="connsiteX8" fmla="*/ 102031 w 1601736"/>
                  <a:gd name="connsiteY8" fmla="*/ 454025 h 1908175"/>
                  <a:gd name="connsiteX9" fmla="*/ 111556 w 1601736"/>
                  <a:gd name="connsiteY9" fmla="*/ 463550 h 1908175"/>
                  <a:gd name="connsiteX10" fmla="*/ 178231 w 1601736"/>
                  <a:gd name="connsiteY10" fmla="*/ 460375 h 1908175"/>
                  <a:gd name="connsiteX11" fmla="*/ 209981 w 1601736"/>
                  <a:gd name="connsiteY11" fmla="*/ 454025 h 1908175"/>
                  <a:gd name="connsiteX12" fmla="*/ 229031 w 1601736"/>
                  <a:gd name="connsiteY12" fmla="*/ 447675 h 1908175"/>
                  <a:gd name="connsiteX13" fmla="*/ 238556 w 1601736"/>
                  <a:gd name="connsiteY13" fmla="*/ 428625 h 1908175"/>
                  <a:gd name="connsiteX14" fmla="*/ 248081 w 1601736"/>
                  <a:gd name="connsiteY14" fmla="*/ 400050 h 1908175"/>
                  <a:gd name="connsiteX15" fmla="*/ 267131 w 1601736"/>
                  <a:gd name="connsiteY15" fmla="*/ 393700 h 1908175"/>
                  <a:gd name="connsiteX16" fmla="*/ 286181 w 1601736"/>
                  <a:gd name="connsiteY16" fmla="*/ 384175 h 1908175"/>
                  <a:gd name="connsiteX17" fmla="*/ 305231 w 1601736"/>
                  <a:gd name="connsiteY17" fmla="*/ 365125 h 1908175"/>
                  <a:gd name="connsiteX18" fmla="*/ 311581 w 1601736"/>
                  <a:gd name="connsiteY18" fmla="*/ 346075 h 1908175"/>
                  <a:gd name="connsiteX19" fmla="*/ 314756 w 1601736"/>
                  <a:gd name="connsiteY19" fmla="*/ 336550 h 1908175"/>
                  <a:gd name="connsiteX20" fmla="*/ 317931 w 1601736"/>
                  <a:gd name="connsiteY20" fmla="*/ 327025 h 1908175"/>
                  <a:gd name="connsiteX21" fmla="*/ 330631 w 1601736"/>
                  <a:gd name="connsiteY21" fmla="*/ 301625 h 1908175"/>
                  <a:gd name="connsiteX22" fmla="*/ 340156 w 1601736"/>
                  <a:gd name="connsiteY22" fmla="*/ 282575 h 1908175"/>
                  <a:gd name="connsiteX23" fmla="*/ 349681 w 1601736"/>
                  <a:gd name="connsiteY23" fmla="*/ 273050 h 1908175"/>
                  <a:gd name="connsiteX24" fmla="*/ 381431 w 1601736"/>
                  <a:gd name="connsiteY24" fmla="*/ 263525 h 1908175"/>
                  <a:gd name="connsiteX25" fmla="*/ 390956 w 1601736"/>
                  <a:gd name="connsiteY25" fmla="*/ 260350 h 1908175"/>
                  <a:gd name="connsiteX26" fmla="*/ 400481 w 1601736"/>
                  <a:gd name="connsiteY26" fmla="*/ 254000 h 1908175"/>
                  <a:gd name="connsiteX27" fmla="*/ 416356 w 1601736"/>
                  <a:gd name="connsiteY27" fmla="*/ 228600 h 1908175"/>
                  <a:gd name="connsiteX28" fmla="*/ 419531 w 1601736"/>
                  <a:gd name="connsiteY28" fmla="*/ 219075 h 1908175"/>
                  <a:gd name="connsiteX29" fmla="*/ 425881 w 1601736"/>
                  <a:gd name="connsiteY29" fmla="*/ 209550 h 1908175"/>
                  <a:gd name="connsiteX30" fmla="*/ 432231 w 1601736"/>
                  <a:gd name="connsiteY30" fmla="*/ 190500 h 1908175"/>
                  <a:gd name="connsiteX31" fmla="*/ 435406 w 1601736"/>
                  <a:gd name="connsiteY31" fmla="*/ 180975 h 1908175"/>
                  <a:gd name="connsiteX32" fmla="*/ 441756 w 1601736"/>
                  <a:gd name="connsiteY32" fmla="*/ 171450 h 1908175"/>
                  <a:gd name="connsiteX33" fmla="*/ 470331 w 1601736"/>
                  <a:gd name="connsiteY33" fmla="*/ 174625 h 1908175"/>
                  <a:gd name="connsiteX34" fmla="*/ 479856 w 1601736"/>
                  <a:gd name="connsiteY34" fmla="*/ 171450 h 1908175"/>
                  <a:gd name="connsiteX35" fmla="*/ 527481 w 1601736"/>
                  <a:gd name="connsiteY35" fmla="*/ 168275 h 1908175"/>
                  <a:gd name="connsiteX36" fmla="*/ 562406 w 1601736"/>
                  <a:gd name="connsiteY36" fmla="*/ 165100 h 1908175"/>
                  <a:gd name="connsiteX37" fmla="*/ 565581 w 1601736"/>
                  <a:gd name="connsiteY37" fmla="*/ 155575 h 1908175"/>
                  <a:gd name="connsiteX38" fmla="*/ 587806 w 1601736"/>
                  <a:gd name="connsiteY38" fmla="*/ 149225 h 1908175"/>
                  <a:gd name="connsiteX39" fmla="*/ 657656 w 1601736"/>
                  <a:gd name="connsiteY39" fmla="*/ 146050 h 1908175"/>
                  <a:gd name="connsiteX40" fmla="*/ 641781 w 1601736"/>
                  <a:gd name="connsiteY40" fmla="*/ 130175 h 1908175"/>
                  <a:gd name="connsiteX41" fmla="*/ 629081 w 1601736"/>
                  <a:gd name="connsiteY41" fmla="*/ 107950 h 1908175"/>
                  <a:gd name="connsiteX42" fmla="*/ 632256 w 1601736"/>
                  <a:gd name="connsiteY42" fmla="*/ 76200 h 1908175"/>
                  <a:gd name="connsiteX43" fmla="*/ 660831 w 1601736"/>
                  <a:gd name="connsiteY43" fmla="*/ 66675 h 1908175"/>
                  <a:gd name="connsiteX44" fmla="*/ 689406 w 1601736"/>
                  <a:gd name="connsiteY44" fmla="*/ 53975 h 1908175"/>
                  <a:gd name="connsiteX45" fmla="*/ 705281 w 1601736"/>
                  <a:gd name="connsiteY45" fmla="*/ 41275 h 1908175"/>
                  <a:gd name="connsiteX46" fmla="*/ 714806 w 1601736"/>
                  <a:gd name="connsiteY46" fmla="*/ 34925 h 1908175"/>
                  <a:gd name="connsiteX47" fmla="*/ 733856 w 1601736"/>
                  <a:gd name="connsiteY47" fmla="*/ 28575 h 1908175"/>
                  <a:gd name="connsiteX48" fmla="*/ 752906 w 1601736"/>
                  <a:gd name="connsiteY48" fmla="*/ 15875 h 1908175"/>
                  <a:gd name="connsiteX49" fmla="*/ 781481 w 1601736"/>
                  <a:gd name="connsiteY49" fmla="*/ 6350 h 1908175"/>
                  <a:gd name="connsiteX50" fmla="*/ 791006 w 1601736"/>
                  <a:gd name="connsiteY50" fmla="*/ 3175 h 1908175"/>
                  <a:gd name="connsiteX51" fmla="*/ 800531 w 1601736"/>
                  <a:gd name="connsiteY51" fmla="*/ 0 h 1908175"/>
                  <a:gd name="connsiteX52" fmla="*/ 832281 w 1601736"/>
                  <a:gd name="connsiteY52" fmla="*/ 3175 h 1908175"/>
                  <a:gd name="connsiteX53" fmla="*/ 851331 w 1601736"/>
                  <a:gd name="connsiteY53" fmla="*/ 12700 h 1908175"/>
                  <a:gd name="connsiteX54" fmla="*/ 860856 w 1601736"/>
                  <a:gd name="connsiteY54" fmla="*/ 15875 h 1908175"/>
                  <a:gd name="connsiteX55" fmla="*/ 889431 w 1601736"/>
                  <a:gd name="connsiteY55" fmla="*/ 38100 h 1908175"/>
                  <a:gd name="connsiteX56" fmla="*/ 908481 w 1601736"/>
                  <a:gd name="connsiteY56" fmla="*/ 44450 h 1908175"/>
                  <a:gd name="connsiteX57" fmla="*/ 921181 w 1601736"/>
                  <a:gd name="connsiteY57" fmla="*/ 47625 h 1908175"/>
                  <a:gd name="connsiteX58" fmla="*/ 956106 w 1601736"/>
                  <a:gd name="connsiteY58" fmla="*/ 57150 h 1908175"/>
                  <a:gd name="connsiteX59" fmla="*/ 1003731 w 1601736"/>
                  <a:gd name="connsiteY59" fmla="*/ 60325 h 1908175"/>
                  <a:gd name="connsiteX60" fmla="*/ 1013256 w 1601736"/>
                  <a:gd name="connsiteY60" fmla="*/ 63500 h 1908175"/>
                  <a:gd name="connsiteX61" fmla="*/ 1032306 w 1601736"/>
                  <a:gd name="connsiteY61" fmla="*/ 73025 h 1908175"/>
                  <a:gd name="connsiteX62" fmla="*/ 1041831 w 1601736"/>
                  <a:gd name="connsiteY62" fmla="*/ 82550 h 1908175"/>
                  <a:gd name="connsiteX63" fmla="*/ 1057706 w 1601736"/>
                  <a:gd name="connsiteY63" fmla="*/ 98425 h 1908175"/>
                  <a:gd name="connsiteX64" fmla="*/ 1124381 w 1601736"/>
                  <a:gd name="connsiteY64" fmla="*/ 101600 h 1908175"/>
                  <a:gd name="connsiteX65" fmla="*/ 1143431 w 1601736"/>
                  <a:gd name="connsiteY65" fmla="*/ 114300 h 1908175"/>
                  <a:gd name="connsiteX66" fmla="*/ 1162481 w 1601736"/>
                  <a:gd name="connsiteY66" fmla="*/ 123825 h 1908175"/>
                  <a:gd name="connsiteX67" fmla="*/ 1168831 w 1601736"/>
                  <a:gd name="connsiteY67" fmla="*/ 133350 h 1908175"/>
                  <a:gd name="connsiteX68" fmla="*/ 1197406 w 1601736"/>
                  <a:gd name="connsiteY68" fmla="*/ 152400 h 1908175"/>
                  <a:gd name="connsiteX69" fmla="*/ 1210106 w 1601736"/>
                  <a:gd name="connsiteY69" fmla="*/ 161925 h 1908175"/>
                  <a:gd name="connsiteX70" fmla="*/ 1222806 w 1601736"/>
                  <a:gd name="connsiteY70" fmla="*/ 168275 h 1908175"/>
                  <a:gd name="connsiteX71" fmla="*/ 1241856 w 1601736"/>
                  <a:gd name="connsiteY71" fmla="*/ 187325 h 1908175"/>
                  <a:gd name="connsiteX72" fmla="*/ 1264081 w 1601736"/>
                  <a:gd name="connsiteY72" fmla="*/ 196850 h 1908175"/>
                  <a:gd name="connsiteX73" fmla="*/ 1286306 w 1601736"/>
                  <a:gd name="connsiteY73" fmla="*/ 206375 h 1908175"/>
                  <a:gd name="connsiteX74" fmla="*/ 1318056 w 1601736"/>
                  <a:gd name="connsiteY74" fmla="*/ 209550 h 1908175"/>
                  <a:gd name="connsiteX75" fmla="*/ 1337106 w 1601736"/>
                  <a:gd name="connsiteY75" fmla="*/ 212725 h 1908175"/>
                  <a:gd name="connsiteX76" fmla="*/ 1410131 w 1601736"/>
                  <a:gd name="connsiteY76" fmla="*/ 215900 h 1908175"/>
                  <a:gd name="connsiteX77" fmla="*/ 1413306 w 1601736"/>
                  <a:gd name="connsiteY77" fmla="*/ 238125 h 1908175"/>
                  <a:gd name="connsiteX78" fmla="*/ 1429181 w 1601736"/>
                  <a:gd name="connsiteY78" fmla="*/ 241300 h 1908175"/>
                  <a:gd name="connsiteX79" fmla="*/ 1441881 w 1601736"/>
                  <a:gd name="connsiteY79" fmla="*/ 244475 h 1908175"/>
                  <a:gd name="connsiteX80" fmla="*/ 1546656 w 1601736"/>
                  <a:gd name="connsiteY80" fmla="*/ 247650 h 1908175"/>
                  <a:gd name="connsiteX81" fmla="*/ 1565706 w 1601736"/>
                  <a:gd name="connsiteY81" fmla="*/ 260350 h 1908175"/>
                  <a:gd name="connsiteX82" fmla="*/ 1578406 w 1601736"/>
                  <a:gd name="connsiteY82" fmla="*/ 276225 h 1908175"/>
                  <a:gd name="connsiteX83" fmla="*/ 1584756 w 1601736"/>
                  <a:gd name="connsiteY83" fmla="*/ 285750 h 1908175"/>
                  <a:gd name="connsiteX84" fmla="*/ 1584756 w 1601736"/>
                  <a:gd name="connsiteY84" fmla="*/ 361950 h 1908175"/>
                  <a:gd name="connsiteX85" fmla="*/ 1578406 w 1601736"/>
                  <a:gd name="connsiteY85" fmla="*/ 381000 h 1908175"/>
                  <a:gd name="connsiteX86" fmla="*/ 1575231 w 1601736"/>
                  <a:gd name="connsiteY86" fmla="*/ 396875 h 1908175"/>
                  <a:gd name="connsiteX87" fmla="*/ 1578406 w 1601736"/>
                  <a:gd name="connsiteY87" fmla="*/ 434975 h 1908175"/>
                  <a:gd name="connsiteX88" fmla="*/ 1584756 w 1601736"/>
                  <a:gd name="connsiteY88" fmla="*/ 454025 h 1908175"/>
                  <a:gd name="connsiteX89" fmla="*/ 1581581 w 1601736"/>
                  <a:gd name="connsiteY89" fmla="*/ 523875 h 1908175"/>
                  <a:gd name="connsiteX90" fmla="*/ 1584756 w 1601736"/>
                  <a:gd name="connsiteY90" fmla="*/ 612775 h 1908175"/>
                  <a:gd name="connsiteX91" fmla="*/ 1578406 w 1601736"/>
                  <a:gd name="connsiteY91" fmla="*/ 781050 h 1908175"/>
                  <a:gd name="connsiteX92" fmla="*/ 1581581 w 1601736"/>
                  <a:gd name="connsiteY92" fmla="*/ 812800 h 1908175"/>
                  <a:gd name="connsiteX93" fmla="*/ 1584756 w 1601736"/>
                  <a:gd name="connsiteY93" fmla="*/ 825500 h 1908175"/>
                  <a:gd name="connsiteX94" fmla="*/ 1587931 w 1601736"/>
                  <a:gd name="connsiteY94" fmla="*/ 927100 h 1908175"/>
                  <a:gd name="connsiteX95" fmla="*/ 1591106 w 1601736"/>
                  <a:gd name="connsiteY95" fmla="*/ 946150 h 1908175"/>
                  <a:gd name="connsiteX96" fmla="*/ 1597456 w 1601736"/>
                  <a:gd name="connsiteY96" fmla="*/ 971550 h 1908175"/>
                  <a:gd name="connsiteX97" fmla="*/ 1600631 w 1601736"/>
                  <a:gd name="connsiteY97" fmla="*/ 1123950 h 1908175"/>
                  <a:gd name="connsiteX98" fmla="*/ 1597456 w 1601736"/>
                  <a:gd name="connsiteY98" fmla="*/ 1187450 h 1908175"/>
                  <a:gd name="connsiteX99" fmla="*/ 1594281 w 1601736"/>
                  <a:gd name="connsiteY99" fmla="*/ 1200150 h 1908175"/>
                  <a:gd name="connsiteX100" fmla="*/ 1572056 w 1601736"/>
                  <a:gd name="connsiteY100" fmla="*/ 1228725 h 1908175"/>
                  <a:gd name="connsiteX101" fmla="*/ 1568881 w 1601736"/>
                  <a:gd name="connsiteY101" fmla="*/ 1238250 h 1908175"/>
                  <a:gd name="connsiteX102" fmla="*/ 1562531 w 1601736"/>
                  <a:gd name="connsiteY102" fmla="*/ 1247775 h 1908175"/>
                  <a:gd name="connsiteX103" fmla="*/ 1556181 w 1601736"/>
                  <a:gd name="connsiteY103" fmla="*/ 1266825 h 1908175"/>
                  <a:gd name="connsiteX104" fmla="*/ 1553006 w 1601736"/>
                  <a:gd name="connsiteY104" fmla="*/ 1276350 h 1908175"/>
                  <a:gd name="connsiteX105" fmla="*/ 1556181 w 1601736"/>
                  <a:gd name="connsiteY105" fmla="*/ 1336675 h 1908175"/>
                  <a:gd name="connsiteX106" fmla="*/ 1559356 w 1601736"/>
                  <a:gd name="connsiteY106" fmla="*/ 1346200 h 1908175"/>
                  <a:gd name="connsiteX107" fmla="*/ 1572056 w 1601736"/>
                  <a:gd name="connsiteY107" fmla="*/ 1365250 h 1908175"/>
                  <a:gd name="connsiteX108" fmla="*/ 1591106 w 1601736"/>
                  <a:gd name="connsiteY108" fmla="*/ 1374775 h 1908175"/>
                  <a:gd name="connsiteX109" fmla="*/ 1597456 w 1601736"/>
                  <a:gd name="connsiteY109" fmla="*/ 1539875 h 1908175"/>
                  <a:gd name="connsiteX110" fmla="*/ 1594281 w 1601736"/>
                  <a:gd name="connsiteY110" fmla="*/ 1797050 h 1908175"/>
                  <a:gd name="connsiteX111" fmla="*/ 1587931 w 1601736"/>
                  <a:gd name="connsiteY111" fmla="*/ 1828800 h 1908175"/>
                  <a:gd name="connsiteX112" fmla="*/ 1591106 w 1601736"/>
                  <a:gd name="connsiteY112" fmla="*/ 1866900 h 1908175"/>
                  <a:gd name="connsiteX113" fmla="*/ 1594281 w 1601736"/>
                  <a:gd name="connsiteY113" fmla="*/ 1876425 h 1908175"/>
                  <a:gd name="connsiteX114" fmla="*/ 1591106 w 1601736"/>
                  <a:gd name="connsiteY114" fmla="*/ 1908175 h 1908175"/>
                  <a:gd name="connsiteX115" fmla="*/ 1572056 w 1601736"/>
                  <a:gd name="connsiteY115" fmla="*/ 1905000 h 1908175"/>
                  <a:gd name="connsiteX116" fmla="*/ 1562531 w 1601736"/>
                  <a:gd name="connsiteY116" fmla="*/ 1901825 h 1908175"/>
                  <a:gd name="connsiteX117" fmla="*/ 1543481 w 1601736"/>
                  <a:gd name="connsiteY117" fmla="*/ 1863725 h 1908175"/>
                  <a:gd name="connsiteX118" fmla="*/ 1540306 w 1601736"/>
                  <a:gd name="connsiteY118" fmla="*/ 1854200 h 1908175"/>
                  <a:gd name="connsiteX119" fmla="*/ 1527606 w 1601736"/>
                  <a:gd name="connsiteY119" fmla="*/ 1835150 h 1908175"/>
                  <a:gd name="connsiteX120" fmla="*/ 1511731 w 1601736"/>
                  <a:gd name="connsiteY120" fmla="*/ 1806575 h 1908175"/>
                  <a:gd name="connsiteX121" fmla="*/ 1489506 w 1601736"/>
                  <a:gd name="connsiteY121" fmla="*/ 1793875 h 1908175"/>
                  <a:gd name="connsiteX122" fmla="*/ 1470456 w 1601736"/>
                  <a:gd name="connsiteY122" fmla="*/ 1781175 h 1908175"/>
                  <a:gd name="connsiteX123" fmla="*/ 1460931 w 1601736"/>
                  <a:gd name="connsiteY123" fmla="*/ 1774825 h 1908175"/>
                  <a:gd name="connsiteX124" fmla="*/ 1451406 w 1601736"/>
                  <a:gd name="connsiteY124" fmla="*/ 1755775 h 1908175"/>
                  <a:gd name="connsiteX125" fmla="*/ 1441881 w 1601736"/>
                  <a:gd name="connsiteY125" fmla="*/ 1752600 h 1908175"/>
                  <a:gd name="connsiteX126" fmla="*/ 1422831 w 1601736"/>
                  <a:gd name="connsiteY126" fmla="*/ 1739900 h 1908175"/>
                  <a:gd name="connsiteX127" fmla="*/ 1403781 w 1601736"/>
                  <a:gd name="connsiteY127" fmla="*/ 1730375 h 1908175"/>
                  <a:gd name="connsiteX128" fmla="*/ 1384731 w 1601736"/>
                  <a:gd name="connsiteY128" fmla="*/ 1724025 h 1908175"/>
                  <a:gd name="connsiteX129" fmla="*/ 1362506 w 1601736"/>
                  <a:gd name="connsiteY129" fmla="*/ 1717675 h 1908175"/>
                  <a:gd name="connsiteX130" fmla="*/ 1343456 w 1601736"/>
                  <a:gd name="connsiteY130" fmla="*/ 1711325 h 1908175"/>
                  <a:gd name="connsiteX131" fmla="*/ 1330756 w 1601736"/>
                  <a:gd name="connsiteY131" fmla="*/ 1701800 h 1908175"/>
                  <a:gd name="connsiteX132" fmla="*/ 1324406 w 1601736"/>
                  <a:gd name="connsiteY132" fmla="*/ 1682750 h 1908175"/>
                  <a:gd name="connsiteX133" fmla="*/ 1318056 w 1601736"/>
                  <a:gd name="connsiteY133" fmla="*/ 1663700 h 1908175"/>
                  <a:gd name="connsiteX134" fmla="*/ 1308531 w 1601736"/>
                  <a:gd name="connsiteY134" fmla="*/ 1644650 h 1908175"/>
                  <a:gd name="connsiteX135" fmla="*/ 1289481 w 1601736"/>
                  <a:gd name="connsiteY135" fmla="*/ 1641475 h 1908175"/>
                  <a:gd name="connsiteX136" fmla="*/ 1273606 w 1601736"/>
                  <a:gd name="connsiteY136" fmla="*/ 1638300 h 1908175"/>
                  <a:gd name="connsiteX137" fmla="*/ 1264081 w 1601736"/>
                  <a:gd name="connsiteY137" fmla="*/ 1641475 h 1908175"/>
                  <a:gd name="connsiteX138" fmla="*/ 1245031 w 1601736"/>
                  <a:gd name="connsiteY138" fmla="*/ 1644650 h 1908175"/>
                  <a:gd name="connsiteX139" fmla="*/ 1210106 w 1601736"/>
                  <a:gd name="connsiteY139" fmla="*/ 1654175 h 1908175"/>
                  <a:gd name="connsiteX140" fmla="*/ 1197406 w 1601736"/>
                  <a:gd name="connsiteY140" fmla="*/ 1660525 h 1908175"/>
                  <a:gd name="connsiteX141" fmla="*/ 1172006 w 1601736"/>
                  <a:gd name="connsiteY141" fmla="*/ 1666875 h 1908175"/>
                  <a:gd name="connsiteX142" fmla="*/ 1143431 w 1601736"/>
                  <a:gd name="connsiteY142" fmla="*/ 1663700 h 1908175"/>
                  <a:gd name="connsiteX143" fmla="*/ 1130731 w 1601736"/>
                  <a:gd name="connsiteY143" fmla="*/ 1660525 h 1908175"/>
                  <a:gd name="connsiteX144" fmla="*/ 1092631 w 1601736"/>
                  <a:gd name="connsiteY144" fmla="*/ 1663700 h 1908175"/>
                  <a:gd name="connsiteX145" fmla="*/ 1079931 w 1601736"/>
                  <a:gd name="connsiteY145" fmla="*/ 1666875 h 1908175"/>
                  <a:gd name="connsiteX146" fmla="*/ 1070406 w 1601736"/>
                  <a:gd name="connsiteY146" fmla="*/ 1673225 h 1908175"/>
                  <a:gd name="connsiteX147" fmla="*/ 1060881 w 1601736"/>
                  <a:gd name="connsiteY147" fmla="*/ 1676400 h 1908175"/>
                  <a:gd name="connsiteX148" fmla="*/ 1076756 w 1601736"/>
                  <a:gd name="connsiteY148" fmla="*/ 1704975 h 1908175"/>
                  <a:gd name="connsiteX149" fmla="*/ 1086281 w 1601736"/>
                  <a:gd name="connsiteY149" fmla="*/ 1714500 h 1908175"/>
                  <a:gd name="connsiteX150" fmla="*/ 1086281 w 1601736"/>
                  <a:gd name="connsiteY150" fmla="*/ 1746250 h 1908175"/>
                  <a:gd name="connsiteX151" fmla="*/ 1076756 w 1601736"/>
                  <a:gd name="connsiteY151" fmla="*/ 1752600 h 1908175"/>
                  <a:gd name="connsiteX152" fmla="*/ 997381 w 1601736"/>
                  <a:gd name="connsiteY152" fmla="*/ 1743075 h 1908175"/>
                  <a:gd name="connsiteX153" fmla="*/ 987856 w 1601736"/>
                  <a:gd name="connsiteY153" fmla="*/ 1736725 h 1908175"/>
                  <a:gd name="connsiteX154" fmla="*/ 981506 w 1601736"/>
                  <a:gd name="connsiteY154" fmla="*/ 1727200 h 1908175"/>
                  <a:gd name="connsiteX155" fmla="*/ 965631 w 1601736"/>
                  <a:gd name="connsiteY155" fmla="*/ 1708150 h 1908175"/>
                  <a:gd name="connsiteX156" fmla="*/ 962456 w 1601736"/>
                  <a:gd name="connsiteY156" fmla="*/ 1698625 h 1908175"/>
                  <a:gd name="connsiteX157" fmla="*/ 943406 w 1601736"/>
                  <a:gd name="connsiteY157" fmla="*/ 1708150 h 1908175"/>
                  <a:gd name="connsiteX158" fmla="*/ 937056 w 1601736"/>
                  <a:gd name="connsiteY158" fmla="*/ 1730375 h 1908175"/>
                  <a:gd name="connsiteX159" fmla="*/ 775131 w 1601736"/>
                  <a:gd name="connsiteY159" fmla="*/ 1727200 h 1908175"/>
                  <a:gd name="connsiteX160" fmla="*/ 752906 w 1601736"/>
                  <a:gd name="connsiteY160" fmla="*/ 1724025 h 1908175"/>
                  <a:gd name="connsiteX161" fmla="*/ 759256 w 1601736"/>
                  <a:gd name="connsiteY161" fmla="*/ 1689100 h 1908175"/>
                  <a:gd name="connsiteX162" fmla="*/ 768781 w 1601736"/>
                  <a:gd name="connsiteY162" fmla="*/ 1635125 h 1908175"/>
                  <a:gd name="connsiteX163" fmla="*/ 778306 w 1601736"/>
                  <a:gd name="connsiteY163" fmla="*/ 1631950 h 1908175"/>
                  <a:gd name="connsiteX164" fmla="*/ 784656 w 1601736"/>
                  <a:gd name="connsiteY164" fmla="*/ 1622425 h 1908175"/>
                  <a:gd name="connsiteX165" fmla="*/ 800531 w 1601736"/>
                  <a:gd name="connsiteY165" fmla="*/ 1606550 h 1908175"/>
                  <a:gd name="connsiteX166" fmla="*/ 806881 w 1601736"/>
                  <a:gd name="connsiteY166" fmla="*/ 1587500 h 1908175"/>
                  <a:gd name="connsiteX167" fmla="*/ 813231 w 1601736"/>
                  <a:gd name="connsiteY167" fmla="*/ 1574800 h 1908175"/>
                  <a:gd name="connsiteX168" fmla="*/ 816406 w 1601736"/>
                  <a:gd name="connsiteY168" fmla="*/ 1565275 h 1908175"/>
                  <a:gd name="connsiteX169" fmla="*/ 822756 w 1601736"/>
                  <a:gd name="connsiteY169" fmla="*/ 1555750 h 1908175"/>
                  <a:gd name="connsiteX170" fmla="*/ 825931 w 1601736"/>
                  <a:gd name="connsiteY170" fmla="*/ 1546225 h 1908175"/>
                  <a:gd name="connsiteX171" fmla="*/ 835456 w 1601736"/>
                  <a:gd name="connsiteY171" fmla="*/ 1539875 h 1908175"/>
                  <a:gd name="connsiteX172" fmla="*/ 851331 w 1601736"/>
                  <a:gd name="connsiteY172" fmla="*/ 1520825 h 1908175"/>
                  <a:gd name="connsiteX173" fmla="*/ 879906 w 1601736"/>
                  <a:gd name="connsiteY173" fmla="*/ 1501775 h 1908175"/>
                  <a:gd name="connsiteX174" fmla="*/ 889431 w 1601736"/>
                  <a:gd name="connsiteY174" fmla="*/ 1495425 h 1908175"/>
                  <a:gd name="connsiteX175" fmla="*/ 898956 w 1601736"/>
                  <a:gd name="connsiteY175" fmla="*/ 1489075 h 1908175"/>
                  <a:gd name="connsiteX176" fmla="*/ 918006 w 1601736"/>
                  <a:gd name="connsiteY176" fmla="*/ 1473200 h 1908175"/>
                  <a:gd name="connsiteX177" fmla="*/ 927531 w 1601736"/>
                  <a:gd name="connsiteY177" fmla="*/ 1470025 h 1908175"/>
                  <a:gd name="connsiteX178" fmla="*/ 965631 w 1601736"/>
                  <a:gd name="connsiteY178" fmla="*/ 1463675 h 1908175"/>
                  <a:gd name="connsiteX179" fmla="*/ 1025956 w 1601736"/>
                  <a:gd name="connsiteY179" fmla="*/ 1466850 h 1908175"/>
                  <a:gd name="connsiteX180" fmla="*/ 1035481 w 1601736"/>
                  <a:gd name="connsiteY180" fmla="*/ 1470025 h 1908175"/>
                  <a:gd name="connsiteX181" fmla="*/ 1051356 w 1601736"/>
                  <a:gd name="connsiteY181" fmla="*/ 1473200 h 1908175"/>
                  <a:gd name="connsiteX182" fmla="*/ 1022781 w 1601736"/>
                  <a:gd name="connsiteY182" fmla="*/ 1454150 h 1908175"/>
                  <a:gd name="connsiteX183" fmla="*/ 1013256 w 1601736"/>
                  <a:gd name="connsiteY183" fmla="*/ 1447800 h 1908175"/>
                  <a:gd name="connsiteX184" fmla="*/ 1003731 w 1601736"/>
                  <a:gd name="connsiteY184" fmla="*/ 1441450 h 1908175"/>
                  <a:gd name="connsiteX185" fmla="*/ 1032306 w 1601736"/>
                  <a:gd name="connsiteY185" fmla="*/ 1425575 h 1908175"/>
                  <a:gd name="connsiteX186" fmla="*/ 1057706 w 1601736"/>
                  <a:gd name="connsiteY186" fmla="*/ 1422400 h 1908175"/>
                  <a:gd name="connsiteX187" fmla="*/ 1060881 w 1601736"/>
                  <a:gd name="connsiteY187" fmla="*/ 1412875 h 1908175"/>
                  <a:gd name="connsiteX188" fmla="*/ 1057706 w 1601736"/>
                  <a:gd name="connsiteY188" fmla="*/ 1393825 h 1908175"/>
                  <a:gd name="connsiteX189" fmla="*/ 1038656 w 1601736"/>
                  <a:gd name="connsiteY189" fmla="*/ 1390650 h 1908175"/>
                  <a:gd name="connsiteX190" fmla="*/ 1013256 w 1601736"/>
                  <a:gd name="connsiteY190" fmla="*/ 1387475 h 1908175"/>
                  <a:gd name="connsiteX191" fmla="*/ 975156 w 1601736"/>
                  <a:gd name="connsiteY191" fmla="*/ 1377950 h 1908175"/>
                  <a:gd name="connsiteX192" fmla="*/ 971981 w 1601736"/>
                  <a:gd name="connsiteY192" fmla="*/ 1368425 h 1908175"/>
                  <a:gd name="connsiteX193" fmla="*/ 991031 w 1601736"/>
                  <a:gd name="connsiteY193" fmla="*/ 1355725 h 1908175"/>
                  <a:gd name="connsiteX194" fmla="*/ 1022781 w 1601736"/>
                  <a:gd name="connsiteY194" fmla="*/ 1346200 h 1908175"/>
                  <a:gd name="connsiteX195" fmla="*/ 1108506 w 1601736"/>
                  <a:gd name="connsiteY195" fmla="*/ 1343025 h 1908175"/>
                  <a:gd name="connsiteX196" fmla="*/ 1089456 w 1601736"/>
                  <a:gd name="connsiteY196" fmla="*/ 1333500 h 1908175"/>
                  <a:gd name="connsiteX197" fmla="*/ 1079931 w 1601736"/>
                  <a:gd name="connsiteY197" fmla="*/ 1327150 h 1908175"/>
                  <a:gd name="connsiteX198" fmla="*/ 1067231 w 1601736"/>
                  <a:gd name="connsiteY198" fmla="*/ 1320800 h 1908175"/>
                  <a:gd name="connsiteX199" fmla="*/ 1048181 w 1601736"/>
                  <a:gd name="connsiteY199" fmla="*/ 1301750 h 1908175"/>
                  <a:gd name="connsiteX200" fmla="*/ 1035481 w 1601736"/>
                  <a:gd name="connsiteY200" fmla="*/ 1292225 h 1908175"/>
                  <a:gd name="connsiteX201" fmla="*/ 1032306 w 1601736"/>
                  <a:gd name="connsiteY201" fmla="*/ 1282700 h 1908175"/>
                  <a:gd name="connsiteX202" fmla="*/ 1016431 w 1601736"/>
                  <a:gd name="connsiteY202" fmla="*/ 1263650 h 1908175"/>
                  <a:gd name="connsiteX203" fmla="*/ 997381 w 1601736"/>
                  <a:gd name="connsiteY203" fmla="*/ 1250950 h 1908175"/>
                  <a:gd name="connsiteX204" fmla="*/ 981506 w 1601736"/>
                  <a:gd name="connsiteY204" fmla="*/ 1241425 h 1908175"/>
                  <a:gd name="connsiteX205" fmla="*/ 965631 w 1601736"/>
                  <a:gd name="connsiteY205" fmla="*/ 1222375 h 1908175"/>
                  <a:gd name="connsiteX206" fmla="*/ 956106 w 1601736"/>
                  <a:gd name="connsiteY206" fmla="*/ 1216025 h 1908175"/>
                  <a:gd name="connsiteX207" fmla="*/ 933881 w 1601736"/>
                  <a:gd name="connsiteY207" fmla="*/ 1200150 h 1908175"/>
                  <a:gd name="connsiteX208" fmla="*/ 924356 w 1601736"/>
                  <a:gd name="connsiteY208" fmla="*/ 1155700 h 1908175"/>
                  <a:gd name="connsiteX209" fmla="*/ 914831 w 1601736"/>
                  <a:gd name="connsiteY209" fmla="*/ 1136650 h 1908175"/>
                  <a:gd name="connsiteX210" fmla="*/ 911656 w 1601736"/>
                  <a:gd name="connsiteY210" fmla="*/ 1123950 h 1908175"/>
                  <a:gd name="connsiteX211" fmla="*/ 905306 w 1601736"/>
                  <a:gd name="connsiteY211" fmla="*/ 1073150 h 1908175"/>
                  <a:gd name="connsiteX212" fmla="*/ 895781 w 1601736"/>
                  <a:gd name="connsiteY212" fmla="*/ 1054100 h 1908175"/>
                  <a:gd name="connsiteX213" fmla="*/ 886256 w 1601736"/>
                  <a:gd name="connsiteY213" fmla="*/ 1050925 h 1908175"/>
                  <a:gd name="connsiteX214" fmla="*/ 883081 w 1601736"/>
                  <a:gd name="connsiteY214" fmla="*/ 1041400 h 1908175"/>
                  <a:gd name="connsiteX215" fmla="*/ 867206 w 1601736"/>
                  <a:gd name="connsiteY215" fmla="*/ 1028700 h 1908175"/>
                  <a:gd name="connsiteX216" fmla="*/ 864031 w 1601736"/>
                  <a:gd name="connsiteY216" fmla="*/ 1019175 h 1908175"/>
                  <a:gd name="connsiteX217" fmla="*/ 857681 w 1601736"/>
                  <a:gd name="connsiteY217" fmla="*/ 1009650 h 1908175"/>
                  <a:gd name="connsiteX218" fmla="*/ 848156 w 1601736"/>
                  <a:gd name="connsiteY218" fmla="*/ 990600 h 1908175"/>
                  <a:gd name="connsiteX219" fmla="*/ 838631 w 1601736"/>
                  <a:gd name="connsiteY219" fmla="*/ 984250 h 1908175"/>
                  <a:gd name="connsiteX220" fmla="*/ 822756 w 1601736"/>
                  <a:gd name="connsiteY220" fmla="*/ 971550 h 1908175"/>
                  <a:gd name="connsiteX221" fmla="*/ 813231 w 1601736"/>
                  <a:gd name="connsiteY221" fmla="*/ 965200 h 1908175"/>
                  <a:gd name="connsiteX222" fmla="*/ 794181 w 1601736"/>
                  <a:gd name="connsiteY222" fmla="*/ 958850 h 1908175"/>
                  <a:gd name="connsiteX223" fmla="*/ 775131 w 1601736"/>
                  <a:gd name="connsiteY223" fmla="*/ 949325 h 1908175"/>
                  <a:gd name="connsiteX224" fmla="*/ 756081 w 1601736"/>
                  <a:gd name="connsiteY224" fmla="*/ 930275 h 1908175"/>
                  <a:gd name="connsiteX225" fmla="*/ 743381 w 1601736"/>
                  <a:gd name="connsiteY225" fmla="*/ 923925 h 1908175"/>
                  <a:gd name="connsiteX226" fmla="*/ 733856 w 1601736"/>
                  <a:gd name="connsiteY226" fmla="*/ 917575 h 1908175"/>
                  <a:gd name="connsiteX227" fmla="*/ 714806 w 1601736"/>
                  <a:gd name="connsiteY227" fmla="*/ 911225 h 1908175"/>
                  <a:gd name="connsiteX228" fmla="*/ 689406 w 1601736"/>
                  <a:gd name="connsiteY228" fmla="*/ 904875 h 1908175"/>
                  <a:gd name="connsiteX229" fmla="*/ 679881 w 1601736"/>
                  <a:gd name="connsiteY229" fmla="*/ 898525 h 1908175"/>
                  <a:gd name="connsiteX230" fmla="*/ 664006 w 1601736"/>
                  <a:gd name="connsiteY230" fmla="*/ 892175 h 1908175"/>
                  <a:gd name="connsiteX231" fmla="*/ 654481 w 1601736"/>
                  <a:gd name="connsiteY231" fmla="*/ 882650 h 1908175"/>
                  <a:gd name="connsiteX232" fmla="*/ 635431 w 1601736"/>
                  <a:gd name="connsiteY232" fmla="*/ 876300 h 1908175"/>
                  <a:gd name="connsiteX233" fmla="*/ 622731 w 1601736"/>
                  <a:gd name="connsiteY233" fmla="*/ 873125 h 1908175"/>
                  <a:gd name="connsiteX234" fmla="*/ 603681 w 1601736"/>
                  <a:gd name="connsiteY234" fmla="*/ 869950 h 1908175"/>
                  <a:gd name="connsiteX235" fmla="*/ 594156 w 1601736"/>
                  <a:gd name="connsiteY235" fmla="*/ 866775 h 1908175"/>
                  <a:gd name="connsiteX236" fmla="*/ 581456 w 1601736"/>
                  <a:gd name="connsiteY236" fmla="*/ 863600 h 1908175"/>
                  <a:gd name="connsiteX237" fmla="*/ 571931 w 1601736"/>
                  <a:gd name="connsiteY237" fmla="*/ 860425 h 1908175"/>
                  <a:gd name="connsiteX238" fmla="*/ 533831 w 1601736"/>
                  <a:gd name="connsiteY238" fmla="*/ 854075 h 1908175"/>
                  <a:gd name="connsiteX239" fmla="*/ 514781 w 1601736"/>
                  <a:gd name="connsiteY239" fmla="*/ 847725 h 1908175"/>
                  <a:gd name="connsiteX240" fmla="*/ 495731 w 1601736"/>
                  <a:gd name="connsiteY240" fmla="*/ 835025 h 1908175"/>
                  <a:gd name="connsiteX241" fmla="*/ 486206 w 1601736"/>
                  <a:gd name="connsiteY241" fmla="*/ 828675 h 1908175"/>
                  <a:gd name="connsiteX242" fmla="*/ 473506 w 1601736"/>
                  <a:gd name="connsiteY242" fmla="*/ 825500 h 1908175"/>
                  <a:gd name="connsiteX243" fmla="*/ 460806 w 1601736"/>
                  <a:gd name="connsiteY243" fmla="*/ 819150 h 1908175"/>
                  <a:gd name="connsiteX244" fmla="*/ 435406 w 1601736"/>
                  <a:gd name="connsiteY244" fmla="*/ 812800 h 1908175"/>
                  <a:gd name="connsiteX245" fmla="*/ 422706 w 1601736"/>
                  <a:gd name="connsiteY245" fmla="*/ 809625 h 1908175"/>
                  <a:gd name="connsiteX246" fmla="*/ 410006 w 1601736"/>
                  <a:gd name="connsiteY246" fmla="*/ 806450 h 1908175"/>
                  <a:gd name="connsiteX247" fmla="*/ 400481 w 1601736"/>
                  <a:gd name="connsiteY247" fmla="*/ 803275 h 1908175"/>
                  <a:gd name="connsiteX248" fmla="*/ 378256 w 1601736"/>
                  <a:gd name="connsiteY248" fmla="*/ 796925 h 1908175"/>
                  <a:gd name="connsiteX249" fmla="*/ 368731 w 1601736"/>
                  <a:gd name="connsiteY249" fmla="*/ 787400 h 1908175"/>
                  <a:gd name="connsiteX250" fmla="*/ 362381 w 1601736"/>
                  <a:gd name="connsiteY250" fmla="*/ 777875 h 1908175"/>
                  <a:gd name="connsiteX251" fmla="*/ 343331 w 1601736"/>
                  <a:gd name="connsiteY251" fmla="*/ 768350 h 1908175"/>
                  <a:gd name="connsiteX252" fmla="*/ 324281 w 1601736"/>
                  <a:gd name="connsiteY252" fmla="*/ 755650 h 1908175"/>
                  <a:gd name="connsiteX253" fmla="*/ 238556 w 1601736"/>
                  <a:gd name="connsiteY253" fmla="*/ 749300 h 1908175"/>
                  <a:gd name="connsiteX254" fmla="*/ 206806 w 1601736"/>
                  <a:gd name="connsiteY254" fmla="*/ 742950 h 1908175"/>
                  <a:gd name="connsiteX255" fmla="*/ 175056 w 1601736"/>
                  <a:gd name="connsiteY255" fmla="*/ 736600 h 1908175"/>
                  <a:gd name="connsiteX256" fmla="*/ 127431 w 1601736"/>
                  <a:gd name="connsiteY256" fmla="*/ 730250 h 1908175"/>
                  <a:gd name="connsiteX257" fmla="*/ 108381 w 1601736"/>
                  <a:gd name="connsiteY257" fmla="*/ 723900 h 1908175"/>
                  <a:gd name="connsiteX258" fmla="*/ 89331 w 1601736"/>
                  <a:gd name="connsiteY258" fmla="*/ 708025 h 1908175"/>
                  <a:gd name="connsiteX259" fmla="*/ 67106 w 1601736"/>
                  <a:gd name="connsiteY259" fmla="*/ 701675 h 1908175"/>
                  <a:gd name="connsiteX260" fmla="*/ 48056 w 1601736"/>
                  <a:gd name="connsiteY260" fmla="*/ 695325 h 1908175"/>
                  <a:gd name="connsiteX261" fmla="*/ 25831 w 1601736"/>
                  <a:gd name="connsiteY261" fmla="*/ 688975 h 1908175"/>
                  <a:gd name="connsiteX262" fmla="*/ 6781 w 1601736"/>
                  <a:gd name="connsiteY262" fmla="*/ 676275 h 1908175"/>
                  <a:gd name="connsiteX263" fmla="*/ 431 w 1601736"/>
                  <a:gd name="connsiteY263" fmla="*/ 666750 h 1908175"/>
                  <a:gd name="connsiteX264" fmla="*/ 13131 w 1601736"/>
                  <a:gd name="connsiteY264" fmla="*/ 644525 h 1908175"/>
                  <a:gd name="connsiteX265" fmla="*/ 29006 w 1601736"/>
                  <a:gd name="connsiteY265" fmla="*/ 631825 h 1908175"/>
                  <a:gd name="connsiteX266" fmla="*/ 48056 w 1601736"/>
                  <a:gd name="connsiteY266" fmla="*/ 619125 h 1908175"/>
                  <a:gd name="connsiteX267" fmla="*/ 82981 w 1601736"/>
                  <a:gd name="connsiteY267" fmla="*/ 612775 h 1908175"/>
                  <a:gd name="connsiteX268" fmla="*/ 95681 w 1601736"/>
                  <a:gd name="connsiteY268" fmla="*/ 593725 h 1908175"/>
                  <a:gd name="connsiteX269" fmla="*/ 92506 w 1601736"/>
                  <a:gd name="connsiteY269" fmla="*/ 577850 h 1908175"/>
                  <a:gd name="connsiteX270" fmla="*/ 79806 w 1601736"/>
                  <a:gd name="connsiteY270" fmla="*/ 558800 h 1908175"/>
                  <a:gd name="connsiteX271" fmla="*/ 73456 w 1601736"/>
                  <a:gd name="connsiteY271" fmla="*/ 549275 h 1908175"/>
                  <a:gd name="connsiteX272" fmla="*/ 60756 w 1601736"/>
                  <a:gd name="connsiteY272" fmla="*/ 520700 h 1908175"/>
                  <a:gd name="connsiteX273" fmla="*/ 41706 w 1601736"/>
                  <a:gd name="connsiteY273" fmla="*/ 501650 h 1908175"/>
                  <a:gd name="connsiteX274" fmla="*/ 29006 w 1601736"/>
                  <a:gd name="connsiteY274" fmla="*/ 482600 h 1908175"/>
                  <a:gd name="connsiteX275" fmla="*/ 19481 w 1601736"/>
                  <a:gd name="connsiteY275" fmla="*/ 463550 h 1908175"/>
                  <a:gd name="connsiteX276" fmla="*/ 16306 w 1601736"/>
                  <a:gd name="connsiteY276" fmla="*/ 403225 h 1908175"/>
                  <a:gd name="connsiteX277" fmla="*/ 22656 w 1601736"/>
                  <a:gd name="connsiteY277" fmla="*/ 349250 h 190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1601736" h="1908175">
                    <a:moveTo>
                      <a:pt x="22656" y="349250"/>
                    </a:moveTo>
                    <a:cubicBezTo>
                      <a:pt x="26360" y="341313"/>
                      <a:pt x="33195" y="353599"/>
                      <a:pt x="38531" y="355600"/>
                    </a:cubicBezTo>
                    <a:cubicBezTo>
                      <a:pt x="41665" y="356775"/>
                      <a:pt x="46111" y="356052"/>
                      <a:pt x="48056" y="358775"/>
                    </a:cubicBezTo>
                    <a:cubicBezTo>
                      <a:pt x="51947" y="364222"/>
                      <a:pt x="52289" y="371475"/>
                      <a:pt x="54406" y="377825"/>
                    </a:cubicBezTo>
                    <a:cubicBezTo>
                      <a:pt x="55464" y="381000"/>
                      <a:pt x="55725" y="384565"/>
                      <a:pt x="57581" y="387350"/>
                    </a:cubicBezTo>
                    <a:lnTo>
                      <a:pt x="70281" y="406400"/>
                    </a:lnTo>
                    <a:cubicBezTo>
                      <a:pt x="72398" y="409575"/>
                      <a:pt x="75424" y="412305"/>
                      <a:pt x="76631" y="415925"/>
                    </a:cubicBezTo>
                    <a:cubicBezTo>
                      <a:pt x="78748" y="422275"/>
                      <a:pt x="78248" y="430242"/>
                      <a:pt x="82981" y="434975"/>
                    </a:cubicBezTo>
                    <a:lnTo>
                      <a:pt x="102031" y="454025"/>
                    </a:lnTo>
                    <a:lnTo>
                      <a:pt x="111556" y="463550"/>
                    </a:lnTo>
                    <a:cubicBezTo>
                      <a:pt x="133781" y="462492"/>
                      <a:pt x="156084" y="462518"/>
                      <a:pt x="178231" y="460375"/>
                    </a:cubicBezTo>
                    <a:cubicBezTo>
                      <a:pt x="188974" y="459335"/>
                      <a:pt x="199742" y="457438"/>
                      <a:pt x="209981" y="454025"/>
                    </a:cubicBezTo>
                    <a:lnTo>
                      <a:pt x="229031" y="447675"/>
                    </a:lnTo>
                    <a:cubicBezTo>
                      <a:pt x="234739" y="439112"/>
                      <a:pt x="236365" y="438484"/>
                      <a:pt x="238556" y="428625"/>
                    </a:cubicBezTo>
                    <a:cubicBezTo>
                      <a:pt x="240051" y="421898"/>
                      <a:pt x="239528" y="405396"/>
                      <a:pt x="248081" y="400050"/>
                    </a:cubicBezTo>
                    <a:cubicBezTo>
                      <a:pt x="253757" y="396502"/>
                      <a:pt x="261562" y="397413"/>
                      <a:pt x="267131" y="393700"/>
                    </a:cubicBezTo>
                    <a:cubicBezTo>
                      <a:pt x="279441" y="385494"/>
                      <a:pt x="273036" y="388557"/>
                      <a:pt x="286181" y="384175"/>
                    </a:cubicBezTo>
                    <a:cubicBezTo>
                      <a:pt x="295496" y="377189"/>
                      <a:pt x="300588" y="375571"/>
                      <a:pt x="305231" y="365125"/>
                    </a:cubicBezTo>
                    <a:cubicBezTo>
                      <a:pt x="307949" y="359008"/>
                      <a:pt x="309464" y="352425"/>
                      <a:pt x="311581" y="346075"/>
                    </a:cubicBezTo>
                    <a:lnTo>
                      <a:pt x="314756" y="336550"/>
                    </a:lnTo>
                    <a:cubicBezTo>
                      <a:pt x="315814" y="333375"/>
                      <a:pt x="316434" y="330018"/>
                      <a:pt x="317931" y="327025"/>
                    </a:cubicBezTo>
                    <a:cubicBezTo>
                      <a:pt x="322164" y="318558"/>
                      <a:pt x="327638" y="310605"/>
                      <a:pt x="330631" y="301625"/>
                    </a:cubicBezTo>
                    <a:cubicBezTo>
                      <a:pt x="333813" y="292079"/>
                      <a:pt x="333317" y="290781"/>
                      <a:pt x="340156" y="282575"/>
                    </a:cubicBezTo>
                    <a:cubicBezTo>
                      <a:pt x="343031" y="279126"/>
                      <a:pt x="345756" y="275231"/>
                      <a:pt x="349681" y="273050"/>
                    </a:cubicBezTo>
                    <a:cubicBezTo>
                      <a:pt x="357670" y="268612"/>
                      <a:pt x="372147" y="266178"/>
                      <a:pt x="381431" y="263525"/>
                    </a:cubicBezTo>
                    <a:cubicBezTo>
                      <a:pt x="384649" y="262606"/>
                      <a:pt x="387963" y="261847"/>
                      <a:pt x="390956" y="260350"/>
                    </a:cubicBezTo>
                    <a:cubicBezTo>
                      <a:pt x="394369" y="258643"/>
                      <a:pt x="397306" y="256117"/>
                      <a:pt x="400481" y="254000"/>
                    </a:cubicBezTo>
                    <a:cubicBezTo>
                      <a:pt x="405518" y="246444"/>
                      <a:pt x="412527" y="236259"/>
                      <a:pt x="416356" y="228600"/>
                    </a:cubicBezTo>
                    <a:cubicBezTo>
                      <a:pt x="417853" y="225607"/>
                      <a:pt x="418034" y="222068"/>
                      <a:pt x="419531" y="219075"/>
                    </a:cubicBezTo>
                    <a:cubicBezTo>
                      <a:pt x="421238" y="215662"/>
                      <a:pt x="424331" y="213037"/>
                      <a:pt x="425881" y="209550"/>
                    </a:cubicBezTo>
                    <a:cubicBezTo>
                      <a:pt x="428599" y="203433"/>
                      <a:pt x="430114" y="196850"/>
                      <a:pt x="432231" y="190500"/>
                    </a:cubicBezTo>
                    <a:cubicBezTo>
                      <a:pt x="433289" y="187325"/>
                      <a:pt x="433550" y="183760"/>
                      <a:pt x="435406" y="180975"/>
                    </a:cubicBezTo>
                    <a:lnTo>
                      <a:pt x="441756" y="171450"/>
                    </a:lnTo>
                    <a:cubicBezTo>
                      <a:pt x="451281" y="172508"/>
                      <a:pt x="460747" y="174625"/>
                      <a:pt x="470331" y="174625"/>
                    </a:cubicBezTo>
                    <a:cubicBezTo>
                      <a:pt x="473678" y="174625"/>
                      <a:pt x="476530" y="171820"/>
                      <a:pt x="479856" y="171450"/>
                    </a:cubicBezTo>
                    <a:cubicBezTo>
                      <a:pt x="495669" y="169693"/>
                      <a:pt x="511618" y="169495"/>
                      <a:pt x="527481" y="168275"/>
                    </a:cubicBezTo>
                    <a:cubicBezTo>
                      <a:pt x="539136" y="167378"/>
                      <a:pt x="550764" y="166158"/>
                      <a:pt x="562406" y="165100"/>
                    </a:cubicBezTo>
                    <a:cubicBezTo>
                      <a:pt x="563464" y="161925"/>
                      <a:pt x="563214" y="157942"/>
                      <a:pt x="565581" y="155575"/>
                    </a:cubicBezTo>
                    <a:cubicBezTo>
                      <a:pt x="567084" y="154072"/>
                      <a:pt x="587717" y="149232"/>
                      <a:pt x="587806" y="149225"/>
                    </a:cubicBezTo>
                    <a:cubicBezTo>
                      <a:pt x="611045" y="147437"/>
                      <a:pt x="634373" y="147108"/>
                      <a:pt x="657656" y="146050"/>
                    </a:cubicBezTo>
                    <a:cubicBezTo>
                      <a:pt x="640723" y="120650"/>
                      <a:pt x="662948" y="151342"/>
                      <a:pt x="641781" y="130175"/>
                    </a:cubicBezTo>
                    <a:cubicBezTo>
                      <a:pt x="637293" y="125687"/>
                      <a:pt x="631571" y="112930"/>
                      <a:pt x="629081" y="107950"/>
                    </a:cubicBezTo>
                    <a:cubicBezTo>
                      <a:pt x="630139" y="97367"/>
                      <a:pt x="628893" y="86290"/>
                      <a:pt x="632256" y="76200"/>
                    </a:cubicBezTo>
                    <a:cubicBezTo>
                      <a:pt x="634921" y="68206"/>
                      <a:pt x="658628" y="67226"/>
                      <a:pt x="660831" y="66675"/>
                    </a:cubicBezTo>
                    <a:cubicBezTo>
                      <a:pt x="678967" y="62141"/>
                      <a:pt x="676896" y="62315"/>
                      <a:pt x="689406" y="53975"/>
                    </a:cubicBezTo>
                    <a:cubicBezTo>
                      <a:pt x="700110" y="37918"/>
                      <a:pt x="689945" y="48943"/>
                      <a:pt x="705281" y="41275"/>
                    </a:cubicBezTo>
                    <a:cubicBezTo>
                      <a:pt x="708694" y="39568"/>
                      <a:pt x="711319" y="36475"/>
                      <a:pt x="714806" y="34925"/>
                    </a:cubicBezTo>
                    <a:cubicBezTo>
                      <a:pt x="720923" y="32207"/>
                      <a:pt x="728287" y="32288"/>
                      <a:pt x="733856" y="28575"/>
                    </a:cubicBezTo>
                    <a:cubicBezTo>
                      <a:pt x="740206" y="24342"/>
                      <a:pt x="745666" y="18288"/>
                      <a:pt x="752906" y="15875"/>
                    </a:cubicBezTo>
                    <a:lnTo>
                      <a:pt x="781481" y="6350"/>
                    </a:lnTo>
                    <a:lnTo>
                      <a:pt x="791006" y="3175"/>
                    </a:lnTo>
                    <a:lnTo>
                      <a:pt x="800531" y="0"/>
                    </a:lnTo>
                    <a:cubicBezTo>
                      <a:pt x="811114" y="1058"/>
                      <a:pt x="821769" y="1558"/>
                      <a:pt x="832281" y="3175"/>
                    </a:cubicBezTo>
                    <a:cubicBezTo>
                      <a:pt x="843808" y="4948"/>
                      <a:pt x="840866" y="7467"/>
                      <a:pt x="851331" y="12700"/>
                    </a:cubicBezTo>
                    <a:cubicBezTo>
                      <a:pt x="854324" y="14197"/>
                      <a:pt x="857681" y="14817"/>
                      <a:pt x="860856" y="15875"/>
                    </a:cubicBezTo>
                    <a:cubicBezTo>
                      <a:pt x="869074" y="24093"/>
                      <a:pt x="878038" y="34302"/>
                      <a:pt x="889431" y="38100"/>
                    </a:cubicBezTo>
                    <a:cubicBezTo>
                      <a:pt x="895781" y="40217"/>
                      <a:pt x="901987" y="42827"/>
                      <a:pt x="908481" y="44450"/>
                    </a:cubicBezTo>
                    <a:cubicBezTo>
                      <a:pt x="912714" y="45508"/>
                      <a:pt x="917001" y="46371"/>
                      <a:pt x="921181" y="47625"/>
                    </a:cubicBezTo>
                    <a:cubicBezTo>
                      <a:pt x="935463" y="51910"/>
                      <a:pt x="941639" y="55703"/>
                      <a:pt x="956106" y="57150"/>
                    </a:cubicBezTo>
                    <a:cubicBezTo>
                      <a:pt x="971937" y="58733"/>
                      <a:pt x="987856" y="59267"/>
                      <a:pt x="1003731" y="60325"/>
                    </a:cubicBezTo>
                    <a:cubicBezTo>
                      <a:pt x="1006906" y="61383"/>
                      <a:pt x="1010263" y="62003"/>
                      <a:pt x="1013256" y="63500"/>
                    </a:cubicBezTo>
                    <a:cubicBezTo>
                      <a:pt x="1037875" y="75810"/>
                      <a:pt x="1008365" y="65045"/>
                      <a:pt x="1032306" y="73025"/>
                    </a:cubicBezTo>
                    <a:cubicBezTo>
                      <a:pt x="1035481" y="76200"/>
                      <a:pt x="1038956" y="79101"/>
                      <a:pt x="1041831" y="82550"/>
                    </a:cubicBezTo>
                    <a:cubicBezTo>
                      <a:pt x="1046261" y="87866"/>
                      <a:pt x="1049042" y="97342"/>
                      <a:pt x="1057706" y="98425"/>
                    </a:cubicBezTo>
                    <a:cubicBezTo>
                      <a:pt x="1079784" y="101185"/>
                      <a:pt x="1102156" y="100542"/>
                      <a:pt x="1124381" y="101600"/>
                    </a:cubicBezTo>
                    <a:cubicBezTo>
                      <a:pt x="1130731" y="105833"/>
                      <a:pt x="1136191" y="111887"/>
                      <a:pt x="1143431" y="114300"/>
                    </a:cubicBezTo>
                    <a:cubicBezTo>
                      <a:pt x="1156576" y="118682"/>
                      <a:pt x="1150171" y="115619"/>
                      <a:pt x="1162481" y="123825"/>
                    </a:cubicBezTo>
                    <a:cubicBezTo>
                      <a:pt x="1164598" y="127000"/>
                      <a:pt x="1165959" y="130837"/>
                      <a:pt x="1168831" y="133350"/>
                    </a:cubicBezTo>
                    <a:cubicBezTo>
                      <a:pt x="1175181" y="138906"/>
                      <a:pt x="1189469" y="146447"/>
                      <a:pt x="1197406" y="152400"/>
                    </a:cubicBezTo>
                    <a:cubicBezTo>
                      <a:pt x="1201639" y="155575"/>
                      <a:pt x="1205619" y="159120"/>
                      <a:pt x="1210106" y="161925"/>
                    </a:cubicBezTo>
                    <a:cubicBezTo>
                      <a:pt x="1214120" y="164433"/>
                      <a:pt x="1219110" y="165318"/>
                      <a:pt x="1222806" y="168275"/>
                    </a:cubicBezTo>
                    <a:cubicBezTo>
                      <a:pt x="1229818" y="173885"/>
                      <a:pt x="1233824" y="183309"/>
                      <a:pt x="1241856" y="187325"/>
                    </a:cubicBezTo>
                    <a:cubicBezTo>
                      <a:pt x="1283977" y="208385"/>
                      <a:pt x="1231379" y="182835"/>
                      <a:pt x="1264081" y="196850"/>
                    </a:cubicBezTo>
                    <a:cubicBezTo>
                      <a:pt x="1270905" y="199775"/>
                      <a:pt x="1278562" y="205184"/>
                      <a:pt x="1286306" y="206375"/>
                    </a:cubicBezTo>
                    <a:cubicBezTo>
                      <a:pt x="1296818" y="207992"/>
                      <a:pt x="1307502" y="208231"/>
                      <a:pt x="1318056" y="209550"/>
                    </a:cubicBezTo>
                    <a:cubicBezTo>
                      <a:pt x="1324444" y="210348"/>
                      <a:pt x="1330684" y="212282"/>
                      <a:pt x="1337106" y="212725"/>
                    </a:cubicBezTo>
                    <a:cubicBezTo>
                      <a:pt x="1361413" y="214401"/>
                      <a:pt x="1385789" y="214842"/>
                      <a:pt x="1410131" y="215900"/>
                    </a:cubicBezTo>
                    <a:cubicBezTo>
                      <a:pt x="1411189" y="223308"/>
                      <a:pt x="1408816" y="232138"/>
                      <a:pt x="1413306" y="238125"/>
                    </a:cubicBezTo>
                    <a:cubicBezTo>
                      <a:pt x="1416544" y="242442"/>
                      <a:pt x="1423913" y="240129"/>
                      <a:pt x="1429181" y="241300"/>
                    </a:cubicBezTo>
                    <a:cubicBezTo>
                      <a:pt x="1433441" y="242247"/>
                      <a:pt x="1437524" y="244239"/>
                      <a:pt x="1441881" y="244475"/>
                    </a:cubicBezTo>
                    <a:cubicBezTo>
                      <a:pt x="1476771" y="246361"/>
                      <a:pt x="1511731" y="246592"/>
                      <a:pt x="1546656" y="247650"/>
                    </a:cubicBezTo>
                    <a:cubicBezTo>
                      <a:pt x="1553006" y="251883"/>
                      <a:pt x="1563293" y="253110"/>
                      <a:pt x="1565706" y="260350"/>
                    </a:cubicBezTo>
                    <a:cubicBezTo>
                      <a:pt x="1570088" y="273495"/>
                      <a:pt x="1566096" y="268019"/>
                      <a:pt x="1578406" y="276225"/>
                    </a:cubicBezTo>
                    <a:cubicBezTo>
                      <a:pt x="1580523" y="279400"/>
                      <a:pt x="1583049" y="282337"/>
                      <a:pt x="1584756" y="285750"/>
                    </a:cubicBezTo>
                    <a:cubicBezTo>
                      <a:pt x="1595348" y="306935"/>
                      <a:pt x="1585556" y="354750"/>
                      <a:pt x="1584756" y="361950"/>
                    </a:cubicBezTo>
                    <a:cubicBezTo>
                      <a:pt x="1584017" y="368603"/>
                      <a:pt x="1579719" y="374436"/>
                      <a:pt x="1578406" y="381000"/>
                    </a:cubicBezTo>
                    <a:lnTo>
                      <a:pt x="1575231" y="396875"/>
                    </a:lnTo>
                    <a:cubicBezTo>
                      <a:pt x="1576289" y="409575"/>
                      <a:pt x="1576311" y="422404"/>
                      <a:pt x="1578406" y="434975"/>
                    </a:cubicBezTo>
                    <a:cubicBezTo>
                      <a:pt x="1579506" y="441577"/>
                      <a:pt x="1584756" y="454025"/>
                      <a:pt x="1584756" y="454025"/>
                    </a:cubicBezTo>
                    <a:cubicBezTo>
                      <a:pt x="1583698" y="477308"/>
                      <a:pt x="1581581" y="500568"/>
                      <a:pt x="1581581" y="523875"/>
                    </a:cubicBezTo>
                    <a:cubicBezTo>
                      <a:pt x="1581581" y="553527"/>
                      <a:pt x="1584756" y="583123"/>
                      <a:pt x="1584756" y="612775"/>
                    </a:cubicBezTo>
                    <a:cubicBezTo>
                      <a:pt x="1584756" y="719826"/>
                      <a:pt x="1584699" y="711832"/>
                      <a:pt x="1578406" y="781050"/>
                    </a:cubicBezTo>
                    <a:cubicBezTo>
                      <a:pt x="1579464" y="791633"/>
                      <a:pt x="1580077" y="802271"/>
                      <a:pt x="1581581" y="812800"/>
                    </a:cubicBezTo>
                    <a:cubicBezTo>
                      <a:pt x="1582198" y="817120"/>
                      <a:pt x="1584514" y="821143"/>
                      <a:pt x="1584756" y="825500"/>
                    </a:cubicBezTo>
                    <a:cubicBezTo>
                      <a:pt x="1586636" y="859331"/>
                      <a:pt x="1586150" y="893264"/>
                      <a:pt x="1587931" y="927100"/>
                    </a:cubicBezTo>
                    <a:cubicBezTo>
                      <a:pt x="1588269" y="933529"/>
                      <a:pt x="1589757" y="939855"/>
                      <a:pt x="1591106" y="946150"/>
                    </a:cubicBezTo>
                    <a:cubicBezTo>
                      <a:pt x="1592935" y="954684"/>
                      <a:pt x="1597456" y="971550"/>
                      <a:pt x="1597456" y="971550"/>
                    </a:cubicBezTo>
                    <a:cubicBezTo>
                      <a:pt x="1598514" y="1022350"/>
                      <a:pt x="1600631" y="1073139"/>
                      <a:pt x="1600631" y="1123950"/>
                    </a:cubicBezTo>
                    <a:cubicBezTo>
                      <a:pt x="1600631" y="1145143"/>
                      <a:pt x="1599216" y="1166330"/>
                      <a:pt x="1597456" y="1187450"/>
                    </a:cubicBezTo>
                    <a:cubicBezTo>
                      <a:pt x="1597094" y="1191799"/>
                      <a:pt x="1596232" y="1196247"/>
                      <a:pt x="1594281" y="1200150"/>
                    </a:cubicBezTo>
                    <a:cubicBezTo>
                      <a:pt x="1586686" y="1215341"/>
                      <a:pt x="1582509" y="1218272"/>
                      <a:pt x="1572056" y="1228725"/>
                    </a:cubicBezTo>
                    <a:cubicBezTo>
                      <a:pt x="1570998" y="1231900"/>
                      <a:pt x="1570378" y="1235257"/>
                      <a:pt x="1568881" y="1238250"/>
                    </a:cubicBezTo>
                    <a:cubicBezTo>
                      <a:pt x="1567174" y="1241663"/>
                      <a:pt x="1564081" y="1244288"/>
                      <a:pt x="1562531" y="1247775"/>
                    </a:cubicBezTo>
                    <a:cubicBezTo>
                      <a:pt x="1559813" y="1253892"/>
                      <a:pt x="1558298" y="1260475"/>
                      <a:pt x="1556181" y="1266825"/>
                    </a:cubicBezTo>
                    <a:lnTo>
                      <a:pt x="1553006" y="1276350"/>
                    </a:lnTo>
                    <a:cubicBezTo>
                      <a:pt x="1554064" y="1296458"/>
                      <a:pt x="1554358" y="1316622"/>
                      <a:pt x="1556181" y="1336675"/>
                    </a:cubicBezTo>
                    <a:cubicBezTo>
                      <a:pt x="1556484" y="1340008"/>
                      <a:pt x="1557731" y="1343274"/>
                      <a:pt x="1559356" y="1346200"/>
                    </a:cubicBezTo>
                    <a:cubicBezTo>
                      <a:pt x="1563062" y="1352871"/>
                      <a:pt x="1565706" y="1361017"/>
                      <a:pt x="1572056" y="1365250"/>
                    </a:cubicBezTo>
                    <a:cubicBezTo>
                      <a:pt x="1584366" y="1373456"/>
                      <a:pt x="1577961" y="1370393"/>
                      <a:pt x="1591106" y="1374775"/>
                    </a:cubicBezTo>
                    <a:cubicBezTo>
                      <a:pt x="1610474" y="1432880"/>
                      <a:pt x="1597456" y="1390684"/>
                      <a:pt x="1597456" y="1539875"/>
                    </a:cubicBezTo>
                    <a:cubicBezTo>
                      <a:pt x="1597456" y="1625607"/>
                      <a:pt x="1597106" y="1711365"/>
                      <a:pt x="1594281" y="1797050"/>
                    </a:cubicBezTo>
                    <a:cubicBezTo>
                      <a:pt x="1593925" y="1807837"/>
                      <a:pt x="1587931" y="1828800"/>
                      <a:pt x="1587931" y="1828800"/>
                    </a:cubicBezTo>
                    <a:cubicBezTo>
                      <a:pt x="1588989" y="1841500"/>
                      <a:pt x="1589422" y="1854268"/>
                      <a:pt x="1591106" y="1866900"/>
                    </a:cubicBezTo>
                    <a:cubicBezTo>
                      <a:pt x="1591548" y="1870217"/>
                      <a:pt x="1594281" y="1873078"/>
                      <a:pt x="1594281" y="1876425"/>
                    </a:cubicBezTo>
                    <a:cubicBezTo>
                      <a:pt x="1594281" y="1887061"/>
                      <a:pt x="1592164" y="1897592"/>
                      <a:pt x="1591106" y="1908175"/>
                    </a:cubicBezTo>
                    <a:cubicBezTo>
                      <a:pt x="1584756" y="1907117"/>
                      <a:pt x="1578340" y="1906397"/>
                      <a:pt x="1572056" y="1905000"/>
                    </a:cubicBezTo>
                    <a:cubicBezTo>
                      <a:pt x="1568789" y="1904274"/>
                      <a:pt x="1564898" y="1904192"/>
                      <a:pt x="1562531" y="1901825"/>
                    </a:cubicBezTo>
                    <a:cubicBezTo>
                      <a:pt x="1550221" y="1889515"/>
                      <a:pt x="1548646" y="1879219"/>
                      <a:pt x="1543481" y="1863725"/>
                    </a:cubicBezTo>
                    <a:cubicBezTo>
                      <a:pt x="1542423" y="1860550"/>
                      <a:pt x="1542162" y="1856985"/>
                      <a:pt x="1540306" y="1854200"/>
                    </a:cubicBezTo>
                    <a:cubicBezTo>
                      <a:pt x="1536073" y="1847850"/>
                      <a:pt x="1530019" y="1842390"/>
                      <a:pt x="1527606" y="1835150"/>
                    </a:cubicBezTo>
                    <a:cubicBezTo>
                      <a:pt x="1524297" y="1825224"/>
                      <a:pt x="1521089" y="1812813"/>
                      <a:pt x="1511731" y="1806575"/>
                    </a:cubicBezTo>
                    <a:cubicBezTo>
                      <a:pt x="1478782" y="1784609"/>
                      <a:pt x="1529789" y="1818045"/>
                      <a:pt x="1489506" y="1793875"/>
                    </a:cubicBezTo>
                    <a:cubicBezTo>
                      <a:pt x="1482962" y="1789948"/>
                      <a:pt x="1476806" y="1785408"/>
                      <a:pt x="1470456" y="1781175"/>
                    </a:cubicBezTo>
                    <a:lnTo>
                      <a:pt x="1460931" y="1774825"/>
                    </a:lnTo>
                    <a:cubicBezTo>
                      <a:pt x="1458839" y="1768550"/>
                      <a:pt x="1457001" y="1760251"/>
                      <a:pt x="1451406" y="1755775"/>
                    </a:cubicBezTo>
                    <a:cubicBezTo>
                      <a:pt x="1448793" y="1753684"/>
                      <a:pt x="1444807" y="1754225"/>
                      <a:pt x="1441881" y="1752600"/>
                    </a:cubicBezTo>
                    <a:cubicBezTo>
                      <a:pt x="1435210" y="1748894"/>
                      <a:pt x="1430071" y="1742313"/>
                      <a:pt x="1422831" y="1739900"/>
                    </a:cubicBezTo>
                    <a:cubicBezTo>
                      <a:pt x="1388093" y="1728321"/>
                      <a:pt x="1440710" y="1746788"/>
                      <a:pt x="1403781" y="1730375"/>
                    </a:cubicBezTo>
                    <a:cubicBezTo>
                      <a:pt x="1397664" y="1727657"/>
                      <a:pt x="1391081" y="1726142"/>
                      <a:pt x="1384731" y="1724025"/>
                    </a:cubicBezTo>
                    <a:cubicBezTo>
                      <a:pt x="1352720" y="1713355"/>
                      <a:pt x="1402373" y="1729635"/>
                      <a:pt x="1362506" y="1717675"/>
                    </a:cubicBezTo>
                    <a:cubicBezTo>
                      <a:pt x="1356095" y="1715752"/>
                      <a:pt x="1343456" y="1711325"/>
                      <a:pt x="1343456" y="1711325"/>
                    </a:cubicBezTo>
                    <a:cubicBezTo>
                      <a:pt x="1339223" y="1708150"/>
                      <a:pt x="1333691" y="1706203"/>
                      <a:pt x="1330756" y="1701800"/>
                    </a:cubicBezTo>
                    <a:cubicBezTo>
                      <a:pt x="1327043" y="1696231"/>
                      <a:pt x="1326523" y="1689100"/>
                      <a:pt x="1324406" y="1682750"/>
                    </a:cubicBezTo>
                    <a:lnTo>
                      <a:pt x="1318056" y="1663700"/>
                    </a:lnTo>
                    <a:cubicBezTo>
                      <a:pt x="1316553" y="1659192"/>
                      <a:pt x="1313455" y="1647112"/>
                      <a:pt x="1308531" y="1644650"/>
                    </a:cubicBezTo>
                    <a:cubicBezTo>
                      <a:pt x="1302773" y="1641771"/>
                      <a:pt x="1295815" y="1642627"/>
                      <a:pt x="1289481" y="1641475"/>
                    </a:cubicBezTo>
                    <a:cubicBezTo>
                      <a:pt x="1284172" y="1640510"/>
                      <a:pt x="1278898" y="1639358"/>
                      <a:pt x="1273606" y="1638300"/>
                    </a:cubicBezTo>
                    <a:cubicBezTo>
                      <a:pt x="1270431" y="1639358"/>
                      <a:pt x="1267348" y="1640749"/>
                      <a:pt x="1264081" y="1641475"/>
                    </a:cubicBezTo>
                    <a:cubicBezTo>
                      <a:pt x="1257797" y="1642872"/>
                      <a:pt x="1251242" y="1642956"/>
                      <a:pt x="1245031" y="1644650"/>
                    </a:cubicBezTo>
                    <a:cubicBezTo>
                      <a:pt x="1196956" y="1657761"/>
                      <a:pt x="1264397" y="1645126"/>
                      <a:pt x="1210106" y="1654175"/>
                    </a:cubicBezTo>
                    <a:cubicBezTo>
                      <a:pt x="1205873" y="1656292"/>
                      <a:pt x="1201896" y="1659028"/>
                      <a:pt x="1197406" y="1660525"/>
                    </a:cubicBezTo>
                    <a:cubicBezTo>
                      <a:pt x="1189127" y="1663285"/>
                      <a:pt x="1172006" y="1666875"/>
                      <a:pt x="1172006" y="1666875"/>
                    </a:cubicBezTo>
                    <a:cubicBezTo>
                      <a:pt x="1162481" y="1665817"/>
                      <a:pt x="1152903" y="1665157"/>
                      <a:pt x="1143431" y="1663700"/>
                    </a:cubicBezTo>
                    <a:cubicBezTo>
                      <a:pt x="1139118" y="1663036"/>
                      <a:pt x="1135095" y="1660525"/>
                      <a:pt x="1130731" y="1660525"/>
                    </a:cubicBezTo>
                    <a:cubicBezTo>
                      <a:pt x="1117987" y="1660525"/>
                      <a:pt x="1105331" y="1662642"/>
                      <a:pt x="1092631" y="1663700"/>
                    </a:cubicBezTo>
                    <a:cubicBezTo>
                      <a:pt x="1088398" y="1664758"/>
                      <a:pt x="1083942" y="1665156"/>
                      <a:pt x="1079931" y="1666875"/>
                    </a:cubicBezTo>
                    <a:cubicBezTo>
                      <a:pt x="1076424" y="1668378"/>
                      <a:pt x="1073819" y="1671518"/>
                      <a:pt x="1070406" y="1673225"/>
                    </a:cubicBezTo>
                    <a:cubicBezTo>
                      <a:pt x="1067413" y="1674722"/>
                      <a:pt x="1064056" y="1675342"/>
                      <a:pt x="1060881" y="1676400"/>
                    </a:cubicBezTo>
                    <a:cubicBezTo>
                      <a:pt x="1054866" y="1694444"/>
                      <a:pt x="1055339" y="1683558"/>
                      <a:pt x="1076756" y="1704975"/>
                    </a:cubicBezTo>
                    <a:lnTo>
                      <a:pt x="1086281" y="1714500"/>
                    </a:lnTo>
                    <a:cubicBezTo>
                      <a:pt x="1090346" y="1726696"/>
                      <a:pt x="1093230" y="1730614"/>
                      <a:pt x="1086281" y="1746250"/>
                    </a:cubicBezTo>
                    <a:cubicBezTo>
                      <a:pt x="1084731" y="1749737"/>
                      <a:pt x="1079931" y="1750483"/>
                      <a:pt x="1076756" y="1752600"/>
                    </a:cubicBezTo>
                    <a:cubicBezTo>
                      <a:pt x="1072054" y="1752353"/>
                      <a:pt x="1014822" y="1754703"/>
                      <a:pt x="997381" y="1743075"/>
                    </a:cubicBezTo>
                    <a:lnTo>
                      <a:pt x="987856" y="1736725"/>
                    </a:lnTo>
                    <a:cubicBezTo>
                      <a:pt x="985739" y="1733550"/>
                      <a:pt x="983949" y="1730131"/>
                      <a:pt x="981506" y="1727200"/>
                    </a:cubicBezTo>
                    <a:cubicBezTo>
                      <a:pt x="972729" y="1716667"/>
                      <a:pt x="971543" y="1719974"/>
                      <a:pt x="965631" y="1708150"/>
                    </a:cubicBezTo>
                    <a:cubicBezTo>
                      <a:pt x="964134" y="1705157"/>
                      <a:pt x="963514" y="1701800"/>
                      <a:pt x="962456" y="1698625"/>
                    </a:cubicBezTo>
                    <a:cubicBezTo>
                      <a:pt x="956181" y="1700717"/>
                      <a:pt x="947882" y="1702555"/>
                      <a:pt x="943406" y="1708150"/>
                    </a:cubicBezTo>
                    <a:cubicBezTo>
                      <a:pt x="941750" y="1710220"/>
                      <a:pt x="937263" y="1729545"/>
                      <a:pt x="937056" y="1730375"/>
                    </a:cubicBezTo>
                    <a:lnTo>
                      <a:pt x="775131" y="1727200"/>
                    </a:lnTo>
                    <a:cubicBezTo>
                      <a:pt x="767652" y="1726942"/>
                      <a:pt x="757057" y="1730252"/>
                      <a:pt x="752906" y="1724025"/>
                    </a:cubicBezTo>
                    <a:cubicBezTo>
                      <a:pt x="748917" y="1718041"/>
                      <a:pt x="756356" y="1697801"/>
                      <a:pt x="759256" y="1689100"/>
                    </a:cubicBezTo>
                    <a:cubicBezTo>
                      <a:pt x="759691" y="1683010"/>
                      <a:pt x="754965" y="1646178"/>
                      <a:pt x="768781" y="1635125"/>
                    </a:cubicBezTo>
                    <a:cubicBezTo>
                      <a:pt x="771394" y="1633034"/>
                      <a:pt x="775131" y="1633008"/>
                      <a:pt x="778306" y="1631950"/>
                    </a:cubicBezTo>
                    <a:cubicBezTo>
                      <a:pt x="780423" y="1628775"/>
                      <a:pt x="781958" y="1625123"/>
                      <a:pt x="784656" y="1622425"/>
                    </a:cubicBezTo>
                    <a:cubicBezTo>
                      <a:pt x="795663" y="1611418"/>
                      <a:pt x="793758" y="1621790"/>
                      <a:pt x="800531" y="1606550"/>
                    </a:cubicBezTo>
                    <a:cubicBezTo>
                      <a:pt x="803249" y="1600433"/>
                      <a:pt x="803888" y="1593487"/>
                      <a:pt x="806881" y="1587500"/>
                    </a:cubicBezTo>
                    <a:cubicBezTo>
                      <a:pt x="808998" y="1583267"/>
                      <a:pt x="811367" y="1579150"/>
                      <a:pt x="813231" y="1574800"/>
                    </a:cubicBezTo>
                    <a:cubicBezTo>
                      <a:pt x="814549" y="1571724"/>
                      <a:pt x="814909" y="1568268"/>
                      <a:pt x="816406" y="1565275"/>
                    </a:cubicBezTo>
                    <a:cubicBezTo>
                      <a:pt x="818113" y="1561862"/>
                      <a:pt x="821049" y="1559163"/>
                      <a:pt x="822756" y="1555750"/>
                    </a:cubicBezTo>
                    <a:cubicBezTo>
                      <a:pt x="824253" y="1552757"/>
                      <a:pt x="823840" y="1548838"/>
                      <a:pt x="825931" y="1546225"/>
                    </a:cubicBezTo>
                    <a:cubicBezTo>
                      <a:pt x="828315" y="1543245"/>
                      <a:pt x="832281" y="1541992"/>
                      <a:pt x="835456" y="1539875"/>
                    </a:cubicBezTo>
                    <a:cubicBezTo>
                      <a:pt x="841100" y="1531408"/>
                      <a:pt x="842869" y="1527407"/>
                      <a:pt x="851331" y="1520825"/>
                    </a:cubicBezTo>
                    <a:lnTo>
                      <a:pt x="879906" y="1501775"/>
                    </a:lnTo>
                    <a:lnTo>
                      <a:pt x="889431" y="1495425"/>
                    </a:lnTo>
                    <a:cubicBezTo>
                      <a:pt x="892606" y="1493308"/>
                      <a:pt x="896258" y="1491773"/>
                      <a:pt x="898956" y="1489075"/>
                    </a:cubicBezTo>
                    <a:cubicBezTo>
                      <a:pt x="905978" y="1482053"/>
                      <a:pt x="909165" y="1477620"/>
                      <a:pt x="918006" y="1473200"/>
                    </a:cubicBezTo>
                    <a:cubicBezTo>
                      <a:pt x="920999" y="1471703"/>
                      <a:pt x="924284" y="1470837"/>
                      <a:pt x="927531" y="1470025"/>
                    </a:cubicBezTo>
                    <a:cubicBezTo>
                      <a:pt x="939911" y="1466930"/>
                      <a:pt x="953086" y="1465467"/>
                      <a:pt x="965631" y="1463675"/>
                    </a:cubicBezTo>
                    <a:cubicBezTo>
                      <a:pt x="985739" y="1464733"/>
                      <a:pt x="1005903" y="1465027"/>
                      <a:pt x="1025956" y="1466850"/>
                    </a:cubicBezTo>
                    <a:cubicBezTo>
                      <a:pt x="1029289" y="1467153"/>
                      <a:pt x="1032234" y="1469213"/>
                      <a:pt x="1035481" y="1470025"/>
                    </a:cubicBezTo>
                    <a:cubicBezTo>
                      <a:pt x="1040716" y="1471334"/>
                      <a:pt x="1046064" y="1472142"/>
                      <a:pt x="1051356" y="1473200"/>
                    </a:cubicBezTo>
                    <a:lnTo>
                      <a:pt x="1022781" y="1454150"/>
                    </a:lnTo>
                    <a:lnTo>
                      <a:pt x="1013256" y="1447800"/>
                    </a:lnTo>
                    <a:lnTo>
                      <a:pt x="1003731" y="1441450"/>
                    </a:lnTo>
                    <a:cubicBezTo>
                      <a:pt x="1013619" y="1434858"/>
                      <a:pt x="1020780" y="1427671"/>
                      <a:pt x="1032306" y="1425575"/>
                    </a:cubicBezTo>
                    <a:cubicBezTo>
                      <a:pt x="1040701" y="1424049"/>
                      <a:pt x="1049239" y="1423458"/>
                      <a:pt x="1057706" y="1422400"/>
                    </a:cubicBezTo>
                    <a:cubicBezTo>
                      <a:pt x="1058764" y="1419225"/>
                      <a:pt x="1060881" y="1416222"/>
                      <a:pt x="1060881" y="1412875"/>
                    </a:cubicBezTo>
                    <a:cubicBezTo>
                      <a:pt x="1060881" y="1406437"/>
                      <a:pt x="1062258" y="1398377"/>
                      <a:pt x="1057706" y="1393825"/>
                    </a:cubicBezTo>
                    <a:cubicBezTo>
                      <a:pt x="1053154" y="1389273"/>
                      <a:pt x="1045029" y="1391560"/>
                      <a:pt x="1038656" y="1390650"/>
                    </a:cubicBezTo>
                    <a:cubicBezTo>
                      <a:pt x="1030209" y="1389443"/>
                      <a:pt x="1021723" y="1388533"/>
                      <a:pt x="1013256" y="1387475"/>
                    </a:cubicBezTo>
                    <a:cubicBezTo>
                      <a:pt x="988099" y="1379089"/>
                      <a:pt x="1000808" y="1382225"/>
                      <a:pt x="975156" y="1377950"/>
                    </a:cubicBezTo>
                    <a:cubicBezTo>
                      <a:pt x="974098" y="1374775"/>
                      <a:pt x="970923" y="1371600"/>
                      <a:pt x="971981" y="1368425"/>
                    </a:cubicBezTo>
                    <a:cubicBezTo>
                      <a:pt x="975592" y="1357591"/>
                      <a:pt x="983418" y="1359531"/>
                      <a:pt x="991031" y="1355725"/>
                    </a:cubicBezTo>
                    <a:cubicBezTo>
                      <a:pt x="1010208" y="1346137"/>
                      <a:pt x="990061" y="1348125"/>
                      <a:pt x="1022781" y="1346200"/>
                    </a:cubicBezTo>
                    <a:cubicBezTo>
                      <a:pt x="1051326" y="1344521"/>
                      <a:pt x="1079931" y="1344083"/>
                      <a:pt x="1108506" y="1343025"/>
                    </a:cubicBezTo>
                    <a:cubicBezTo>
                      <a:pt x="1081209" y="1324827"/>
                      <a:pt x="1115746" y="1346645"/>
                      <a:pt x="1089456" y="1333500"/>
                    </a:cubicBezTo>
                    <a:cubicBezTo>
                      <a:pt x="1086043" y="1331793"/>
                      <a:pt x="1083244" y="1329043"/>
                      <a:pt x="1079931" y="1327150"/>
                    </a:cubicBezTo>
                    <a:cubicBezTo>
                      <a:pt x="1075822" y="1324802"/>
                      <a:pt x="1070927" y="1323757"/>
                      <a:pt x="1067231" y="1320800"/>
                    </a:cubicBezTo>
                    <a:cubicBezTo>
                      <a:pt x="1060219" y="1315190"/>
                      <a:pt x="1055365" y="1307138"/>
                      <a:pt x="1048181" y="1301750"/>
                    </a:cubicBezTo>
                    <a:lnTo>
                      <a:pt x="1035481" y="1292225"/>
                    </a:lnTo>
                    <a:cubicBezTo>
                      <a:pt x="1034423" y="1289050"/>
                      <a:pt x="1033803" y="1285693"/>
                      <a:pt x="1032306" y="1282700"/>
                    </a:cubicBezTo>
                    <a:cubicBezTo>
                      <a:pt x="1028971" y="1276029"/>
                      <a:pt x="1022176" y="1268118"/>
                      <a:pt x="1016431" y="1263650"/>
                    </a:cubicBezTo>
                    <a:cubicBezTo>
                      <a:pt x="1010407" y="1258965"/>
                      <a:pt x="1003820" y="1255047"/>
                      <a:pt x="997381" y="1250950"/>
                    </a:cubicBezTo>
                    <a:cubicBezTo>
                      <a:pt x="992175" y="1247637"/>
                      <a:pt x="981506" y="1241425"/>
                      <a:pt x="981506" y="1241425"/>
                    </a:cubicBezTo>
                    <a:cubicBezTo>
                      <a:pt x="975262" y="1232059"/>
                      <a:pt x="974798" y="1230015"/>
                      <a:pt x="965631" y="1222375"/>
                    </a:cubicBezTo>
                    <a:cubicBezTo>
                      <a:pt x="962700" y="1219932"/>
                      <a:pt x="959037" y="1218468"/>
                      <a:pt x="956106" y="1216025"/>
                    </a:cubicBezTo>
                    <a:cubicBezTo>
                      <a:pt x="936798" y="1199935"/>
                      <a:pt x="957381" y="1211900"/>
                      <a:pt x="933881" y="1200150"/>
                    </a:cubicBezTo>
                    <a:cubicBezTo>
                      <a:pt x="920211" y="1179645"/>
                      <a:pt x="930437" y="1198266"/>
                      <a:pt x="924356" y="1155700"/>
                    </a:cubicBezTo>
                    <a:cubicBezTo>
                      <a:pt x="923161" y="1147335"/>
                      <a:pt x="919404" y="1143510"/>
                      <a:pt x="914831" y="1136650"/>
                    </a:cubicBezTo>
                    <a:cubicBezTo>
                      <a:pt x="913773" y="1132417"/>
                      <a:pt x="912233" y="1128275"/>
                      <a:pt x="911656" y="1123950"/>
                    </a:cubicBezTo>
                    <a:cubicBezTo>
                      <a:pt x="907713" y="1094376"/>
                      <a:pt x="910903" y="1095537"/>
                      <a:pt x="905306" y="1073150"/>
                    </a:cubicBezTo>
                    <a:cubicBezTo>
                      <a:pt x="903868" y="1067398"/>
                      <a:pt x="900631" y="1057980"/>
                      <a:pt x="895781" y="1054100"/>
                    </a:cubicBezTo>
                    <a:cubicBezTo>
                      <a:pt x="893168" y="1052009"/>
                      <a:pt x="889431" y="1051983"/>
                      <a:pt x="886256" y="1050925"/>
                    </a:cubicBezTo>
                    <a:cubicBezTo>
                      <a:pt x="885198" y="1047750"/>
                      <a:pt x="885448" y="1043767"/>
                      <a:pt x="883081" y="1041400"/>
                    </a:cubicBezTo>
                    <a:cubicBezTo>
                      <a:pt x="864771" y="1023090"/>
                      <a:pt x="881301" y="1056890"/>
                      <a:pt x="867206" y="1028700"/>
                    </a:cubicBezTo>
                    <a:cubicBezTo>
                      <a:pt x="865709" y="1025707"/>
                      <a:pt x="865528" y="1022168"/>
                      <a:pt x="864031" y="1019175"/>
                    </a:cubicBezTo>
                    <a:cubicBezTo>
                      <a:pt x="862324" y="1015762"/>
                      <a:pt x="859388" y="1013063"/>
                      <a:pt x="857681" y="1009650"/>
                    </a:cubicBezTo>
                    <a:cubicBezTo>
                      <a:pt x="852516" y="999321"/>
                      <a:pt x="857255" y="999699"/>
                      <a:pt x="848156" y="990600"/>
                    </a:cubicBezTo>
                    <a:cubicBezTo>
                      <a:pt x="845458" y="987902"/>
                      <a:pt x="841806" y="986367"/>
                      <a:pt x="838631" y="984250"/>
                    </a:cubicBezTo>
                    <a:cubicBezTo>
                      <a:pt x="827927" y="968193"/>
                      <a:pt x="838092" y="979218"/>
                      <a:pt x="822756" y="971550"/>
                    </a:cubicBezTo>
                    <a:cubicBezTo>
                      <a:pt x="819343" y="969843"/>
                      <a:pt x="816718" y="966750"/>
                      <a:pt x="813231" y="965200"/>
                    </a:cubicBezTo>
                    <a:cubicBezTo>
                      <a:pt x="807114" y="962482"/>
                      <a:pt x="799750" y="962563"/>
                      <a:pt x="794181" y="958850"/>
                    </a:cubicBezTo>
                    <a:cubicBezTo>
                      <a:pt x="781871" y="950644"/>
                      <a:pt x="788276" y="953707"/>
                      <a:pt x="775131" y="949325"/>
                    </a:cubicBezTo>
                    <a:cubicBezTo>
                      <a:pt x="768781" y="942975"/>
                      <a:pt x="764113" y="934291"/>
                      <a:pt x="756081" y="930275"/>
                    </a:cubicBezTo>
                    <a:cubicBezTo>
                      <a:pt x="751848" y="928158"/>
                      <a:pt x="747490" y="926273"/>
                      <a:pt x="743381" y="923925"/>
                    </a:cubicBezTo>
                    <a:cubicBezTo>
                      <a:pt x="740068" y="922032"/>
                      <a:pt x="737343" y="919125"/>
                      <a:pt x="733856" y="917575"/>
                    </a:cubicBezTo>
                    <a:cubicBezTo>
                      <a:pt x="727739" y="914857"/>
                      <a:pt x="721300" y="912848"/>
                      <a:pt x="714806" y="911225"/>
                    </a:cubicBezTo>
                    <a:lnTo>
                      <a:pt x="689406" y="904875"/>
                    </a:lnTo>
                    <a:cubicBezTo>
                      <a:pt x="686231" y="902758"/>
                      <a:pt x="683294" y="900232"/>
                      <a:pt x="679881" y="898525"/>
                    </a:cubicBezTo>
                    <a:cubicBezTo>
                      <a:pt x="674783" y="895976"/>
                      <a:pt x="668839" y="895196"/>
                      <a:pt x="664006" y="892175"/>
                    </a:cubicBezTo>
                    <a:cubicBezTo>
                      <a:pt x="660198" y="889795"/>
                      <a:pt x="658406" y="884831"/>
                      <a:pt x="654481" y="882650"/>
                    </a:cubicBezTo>
                    <a:cubicBezTo>
                      <a:pt x="648630" y="879399"/>
                      <a:pt x="641925" y="877923"/>
                      <a:pt x="635431" y="876300"/>
                    </a:cubicBezTo>
                    <a:cubicBezTo>
                      <a:pt x="631198" y="875242"/>
                      <a:pt x="627010" y="873981"/>
                      <a:pt x="622731" y="873125"/>
                    </a:cubicBezTo>
                    <a:cubicBezTo>
                      <a:pt x="616418" y="871862"/>
                      <a:pt x="609965" y="871347"/>
                      <a:pt x="603681" y="869950"/>
                    </a:cubicBezTo>
                    <a:cubicBezTo>
                      <a:pt x="600414" y="869224"/>
                      <a:pt x="597374" y="867694"/>
                      <a:pt x="594156" y="866775"/>
                    </a:cubicBezTo>
                    <a:cubicBezTo>
                      <a:pt x="589960" y="865576"/>
                      <a:pt x="585652" y="864799"/>
                      <a:pt x="581456" y="863600"/>
                    </a:cubicBezTo>
                    <a:cubicBezTo>
                      <a:pt x="578238" y="862681"/>
                      <a:pt x="575178" y="861237"/>
                      <a:pt x="571931" y="860425"/>
                    </a:cubicBezTo>
                    <a:cubicBezTo>
                      <a:pt x="559551" y="857330"/>
                      <a:pt x="546376" y="855867"/>
                      <a:pt x="533831" y="854075"/>
                    </a:cubicBezTo>
                    <a:cubicBezTo>
                      <a:pt x="527481" y="851958"/>
                      <a:pt x="520350" y="851438"/>
                      <a:pt x="514781" y="847725"/>
                    </a:cubicBezTo>
                    <a:lnTo>
                      <a:pt x="495731" y="835025"/>
                    </a:lnTo>
                    <a:cubicBezTo>
                      <a:pt x="492556" y="832908"/>
                      <a:pt x="489908" y="829600"/>
                      <a:pt x="486206" y="828675"/>
                    </a:cubicBezTo>
                    <a:cubicBezTo>
                      <a:pt x="481973" y="827617"/>
                      <a:pt x="477592" y="827032"/>
                      <a:pt x="473506" y="825500"/>
                    </a:cubicBezTo>
                    <a:cubicBezTo>
                      <a:pt x="469074" y="823838"/>
                      <a:pt x="465296" y="820647"/>
                      <a:pt x="460806" y="819150"/>
                    </a:cubicBezTo>
                    <a:cubicBezTo>
                      <a:pt x="452527" y="816390"/>
                      <a:pt x="443873" y="814917"/>
                      <a:pt x="435406" y="812800"/>
                    </a:cubicBezTo>
                    <a:lnTo>
                      <a:pt x="422706" y="809625"/>
                    </a:lnTo>
                    <a:cubicBezTo>
                      <a:pt x="418473" y="808567"/>
                      <a:pt x="414146" y="807830"/>
                      <a:pt x="410006" y="806450"/>
                    </a:cubicBezTo>
                    <a:cubicBezTo>
                      <a:pt x="406831" y="805392"/>
                      <a:pt x="403699" y="804194"/>
                      <a:pt x="400481" y="803275"/>
                    </a:cubicBezTo>
                    <a:cubicBezTo>
                      <a:pt x="372574" y="795302"/>
                      <a:pt x="401094" y="804538"/>
                      <a:pt x="378256" y="796925"/>
                    </a:cubicBezTo>
                    <a:cubicBezTo>
                      <a:pt x="375081" y="793750"/>
                      <a:pt x="371606" y="790849"/>
                      <a:pt x="368731" y="787400"/>
                    </a:cubicBezTo>
                    <a:cubicBezTo>
                      <a:pt x="366288" y="784469"/>
                      <a:pt x="365079" y="780573"/>
                      <a:pt x="362381" y="777875"/>
                    </a:cubicBezTo>
                    <a:cubicBezTo>
                      <a:pt x="351810" y="767304"/>
                      <a:pt x="354951" y="774806"/>
                      <a:pt x="343331" y="768350"/>
                    </a:cubicBezTo>
                    <a:cubicBezTo>
                      <a:pt x="336660" y="764644"/>
                      <a:pt x="331685" y="757501"/>
                      <a:pt x="324281" y="755650"/>
                    </a:cubicBezTo>
                    <a:cubicBezTo>
                      <a:pt x="287944" y="746566"/>
                      <a:pt x="315941" y="752665"/>
                      <a:pt x="238556" y="749300"/>
                    </a:cubicBezTo>
                    <a:lnTo>
                      <a:pt x="206806" y="742950"/>
                    </a:lnTo>
                    <a:cubicBezTo>
                      <a:pt x="196223" y="740833"/>
                      <a:pt x="185740" y="738126"/>
                      <a:pt x="175056" y="736600"/>
                    </a:cubicBezTo>
                    <a:cubicBezTo>
                      <a:pt x="144384" y="732218"/>
                      <a:pt x="160257" y="734353"/>
                      <a:pt x="127431" y="730250"/>
                    </a:cubicBezTo>
                    <a:cubicBezTo>
                      <a:pt x="121081" y="728133"/>
                      <a:pt x="113114" y="728633"/>
                      <a:pt x="108381" y="723900"/>
                    </a:cubicBezTo>
                    <a:cubicBezTo>
                      <a:pt x="101359" y="716878"/>
                      <a:pt x="98172" y="712445"/>
                      <a:pt x="89331" y="708025"/>
                    </a:cubicBezTo>
                    <a:cubicBezTo>
                      <a:pt x="83996" y="705357"/>
                      <a:pt x="72192" y="703201"/>
                      <a:pt x="67106" y="701675"/>
                    </a:cubicBezTo>
                    <a:cubicBezTo>
                      <a:pt x="60695" y="699752"/>
                      <a:pt x="54550" y="696948"/>
                      <a:pt x="48056" y="695325"/>
                    </a:cubicBezTo>
                    <a:cubicBezTo>
                      <a:pt x="45067" y="694578"/>
                      <a:pt x="29558" y="691045"/>
                      <a:pt x="25831" y="688975"/>
                    </a:cubicBezTo>
                    <a:cubicBezTo>
                      <a:pt x="19160" y="685269"/>
                      <a:pt x="6781" y="676275"/>
                      <a:pt x="6781" y="676275"/>
                    </a:cubicBezTo>
                    <a:cubicBezTo>
                      <a:pt x="4664" y="673100"/>
                      <a:pt x="904" y="670536"/>
                      <a:pt x="431" y="666750"/>
                    </a:cubicBezTo>
                    <a:cubicBezTo>
                      <a:pt x="-1531" y="651057"/>
                      <a:pt x="3277" y="651094"/>
                      <a:pt x="13131" y="644525"/>
                    </a:cubicBezTo>
                    <a:cubicBezTo>
                      <a:pt x="24864" y="626926"/>
                      <a:pt x="12768" y="640846"/>
                      <a:pt x="29006" y="631825"/>
                    </a:cubicBezTo>
                    <a:cubicBezTo>
                      <a:pt x="35677" y="628119"/>
                      <a:pt x="40528" y="620380"/>
                      <a:pt x="48056" y="619125"/>
                    </a:cubicBezTo>
                    <a:cubicBezTo>
                      <a:pt x="72429" y="615063"/>
                      <a:pt x="60793" y="617213"/>
                      <a:pt x="82981" y="612775"/>
                    </a:cubicBezTo>
                    <a:cubicBezTo>
                      <a:pt x="87214" y="606425"/>
                      <a:pt x="97178" y="601209"/>
                      <a:pt x="95681" y="593725"/>
                    </a:cubicBezTo>
                    <a:cubicBezTo>
                      <a:pt x="94623" y="588433"/>
                      <a:pt x="94739" y="582763"/>
                      <a:pt x="92506" y="577850"/>
                    </a:cubicBezTo>
                    <a:cubicBezTo>
                      <a:pt x="89348" y="570902"/>
                      <a:pt x="84039" y="565150"/>
                      <a:pt x="79806" y="558800"/>
                    </a:cubicBezTo>
                    <a:cubicBezTo>
                      <a:pt x="77689" y="555625"/>
                      <a:pt x="74663" y="552895"/>
                      <a:pt x="73456" y="549275"/>
                    </a:cubicBezTo>
                    <a:cubicBezTo>
                      <a:pt x="69430" y="537196"/>
                      <a:pt x="68806" y="529757"/>
                      <a:pt x="60756" y="520700"/>
                    </a:cubicBezTo>
                    <a:cubicBezTo>
                      <a:pt x="54790" y="513988"/>
                      <a:pt x="46687" y="509122"/>
                      <a:pt x="41706" y="501650"/>
                    </a:cubicBezTo>
                    <a:cubicBezTo>
                      <a:pt x="37473" y="495300"/>
                      <a:pt x="31419" y="489840"/>
                      <a:pt x="29006" y="482600"/>
                    </a:cubicBezTo>
                    <a:cubicBezTo>
                      <a:pt x="24624" y="469455"/>
                      <a:pt x="27687" y="475860"/>
                      <a:pt x="19481" y="463550"/>
                    </a:cubicBezTo>
                    <a:cubicBezTo>
                      <a:pt x="18423" y="443442"/>
                      <a:pt x="16306" y="423361"/>
                      <a:pt x="16306" y="403225"/>
                    </a:cubicBezTo>
                    <a:cubicBezTo>
                      <a:pt x="16306" y="388371"/>
                      <a:pt x="18952" y="357187"/>
                      <a:pt x="22656" y="34925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7" name="Freeform 226"/>
              <p:cNvSpPr/>
              <p:nvPr/>
            </p:nvSpPr>
            <p:spPr>
              <a:xfrm>
                <a:off x="10475388" y="3307023"/>
                <a:ext cx="138029" cy="134171"/>
              </a:xfrm>
              <a:custGeom>
                <a:avLst/>
                <a:gdLst>
                  <a:gd name="connsiteX0" fmla="*/ 4379 w 138029"/>
                  <a:gd name="connsiteY0" fmla="*/ 419 h 134171"/>
                  <a:gd name="connsiteX1" fmla="*/ 1204 w 138029"/>
                  <a:gd name="connsiteY1" fmla="*/ 25819 h 134171"/>
                  <a:gd name="connsiteX2" fmla="*/ 4379 w 138029"/>
                  <a:gd name="connsiteY2" fmla="*/ 51219 h 134171"/>
                  <a:gd name="connsiteX3" fmla="*/ 10729 w 138029"/>
                  <a:gd name="connsiteY3" fmla="*/ 70269 h 134171"/>
                  <a:gd name="connsiteX4" fmla="*/ 13904 w 138029"/>
                  <a:gd name="connsiteY4" fmla="*/ 79794 h 134171"/>
                  <a:gd name="connsiteX5" fmla="*/ 20254 w 138029"/>
                  <a:gd name="connsiteY5" fmla="*/ 108369 h 134171"/>
                  <a:gd name="connsiteX6" fmla="*/ 23429 w 138029"/>
                  <a:gd name="connsiteY6" fmla="*/ 117894 h 134171"/>
                  <a:gd name="connsiteX7" fmla="*/ 32954 w 138029"/>
                  <a:gd name="connsiteY7" fmla="*/ 124244 h 134171"/>
                  <a:gd name="connsiteX8" fmla="*/ 42479 w 138029"/>
                  <a:gd name="connsiteY8" fmla="*/ 127419 h 134171"/>
                  <a:gd name="connsiteX9" fmla="*/ 109154 w 138029"/>
                  <a:gd name="connsiteY9" fmla="*/ 130594 h 134171"/>
                  <a:gd name="connsiteX10" fmla="*/ 131379 w 138029"/>
                  <a:gd name="connsiteY10" fmla="*/ 133769 h 134171"/>
                  <a:gd name="connsiteX11" fmla="*/ 137729 w 138029"/>
                  <a:gd name="connsiteY11" fmla="*/ 124244 h 134171"/>
                  <a:gd name="connsiteX12" fmla="*/ 134554 w 138029"/>
                  <a:gd name="connsiteY12" fmla="*/ 95669 h 134171"/>
                  <a:gd name="connsiteX13" fmla="*/ 125029 w 138029"/>
                  <a:gd name="connsiteY13" fmla="*/ 89319 h 134171"/>
                  <a:gd name="connsiteX14" fmla="*/ 96454 w 138029"/>
                  <a:gd name="connsiteY14" fmla="*/ 76619 h 134171"/>
                  <a:gd name="connsiteX15" fmla="*/ 64704 w 138029"/>
                  <a:gd name="connsiteY15" fmla="*/ 38519 h 134171"/>
                  <a:gd name="connsiteX16" fmla="*/ 58354 w 138029"/>
                  <a:gd name="connsiteY16" fmla="*/ 28994 h 134171"/>
                  <a:gd name="connsiteX17" fmla="*/ 45654 w 138029"/>
                  <a:gd name="connsiteY17" fmla="*/ 9944 h 134171"/>
                  <a:gd name="connsiteX18" fmla="*/ 4379 w 138029"/>
                  <a:gd name="connsiteY18" fmla="*/ 419 h 13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029" h="134171">
                    <a:moveTo>
                      <a:pt x="4379" y="419"/>
                    </a:moveTo>
                    <a:cubicBezTo>
                      <a:pt x="-3029" y="3065"/>
                      <a:pt x="1204" y="17286"/>
                      <a:pt x="1204" y="25819"/>
                    </a:cubicBezTo>
                    <a:cubicBezTo>
                      <a:pt x="1204" y="34352"/>
                      <a:pt x="2591" y="42876"/>
                      <a:pt x="4379" y="51219"/>
                    </a:cubicBezTo>
                    <a:cubicBezTo>
                      <a:pt x="5781" y="57764"/>
                      <a:pt x="8612" y="63919"/>
                      <a:pt x="10729" y="70269"/>
                    </a:cubicBezTo>
                    <a:cubicBezTo>
                      <a:pt x="11787" y="73444"/>
                      <a:pt x="13248" y="76512"/>
                      <a:pt x="13904" y="79794"/>
                    </a:cubicBezTo>
                    <a:cubicBezTo>
                      <a:pt x="16086" y="90706"/>
                      <a:pt x="17265" y="97907"/>
                      <a:pt x="20254" y="108369"/>
                    </a:cubicBezTo>
                    <a:cubicBezTo>
                      <a:pt x="21173" y="111587"/>
                      <a:pt x="21338" y="115281"/>
                      <a:pt x="23429" y="117894"/>
                    </a:cubicBezTo>
                    <a:cubicBezTo>
                      <a:pt x="25813" y="120874"/>
                      <a:pt x="29541" y="122537"/>
                      <a:pt x="32954" y="124244"/>
                    </a:cubicBezTo>
                    <a:cubicBezTo>
                      <a:pt x="35947" y="125741"/>
                      <a:pt x="39144" y="127141"/>
                      <a:pt x="42479" y="127419"/>
                    </a:cubicBezTo>
                    <a:cubicBezTo>
                      <a:pt x="64652" y="129267"/>
                      <a:pt x="86929" y="129536"/>
                      <a:pt x="109154" y="130594"/>
                    </a:cubicBezTo>
                    <a:cubicBezTo>
                      <a:pt x="116562" y="131652"/>
                      <a:pt x="124074" y="135392"/>
                      <a:pt x="131379" y="133769"/>
                    </a:cubicBezTo>
                    <a:cubicBezTo>
                      <a:pt x="135104" y="132941"/>
                      <a:pt x="137412" y="128047"/>
                      <a:pt x="137729" y="124244"/>
                    </a:cubicBezTo>
                    <a:cubicBezTo>
                      <a:pt x="138525" y="114693"/>
                      <a:pt x="137829" y="104676"/>
                      <a:pt x="134554" y="95669"/>
                    </a:cubicBezTo>
                    <a:cubicBezTo>
                      <a:pt x="133250" y="92083"/>
                      <a:pt x="128516" y="90869"/>
                      <a:pt x="125029" y="89319"/>
                    </a:cubicBezTo>
                    <a:cubicBezTo>
                      <a:pt x="109930" y="82608"/>
                      <a:pt x="107232" y="86200"/>
                      <a:pt x="96454" y="76619"/>
                    </a:cubicBezTo>
                    <a:cubicBezTo>
                      <a:pt x="76452" y="58840"/>
                      <a:pt x="78608" y="59375"/>
                      <a:pt x="64704" y="38519"/>
                    </a:cubicBezTo>
                    <a:lnTo>
                      <a:pt x="58354" y="28994"/>
                    </a:lnTo>
                    <a:cubicBezTo>
                      <a:pt x="54970" y="15458"/>
                      <a:pt x="58183" y="16209"/>
                      <a:pt x="45654" y="9944"/>
                    </a:cubicBezTo>
                    <a:cubicBezTo>
                      <a:pt x="42661" y="8447"/>
                      <a:pt x="11787" y="-2227"/>
                      <a:pt x="4379" y="41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8" name="Freeform 227"/>
              <p:cNvSpPr/>
              <p:nvPr/>
            </p:nvSpPr>
            <p:spPr>
              <a:xfrm>
                <a:off x="10400392" y="3518030"/>
                <a:ext cx="358775" cy="91037"/>
              </a:xfrm>
              <a:custGeom>
                <a:avLst/>
                <a:gdLst>
                  <a:gd name="connsiteX0" fmla="*/ 165100 w 358775"/>
                  <a:gd name="connsiteY0" fmla="*/ 8487 h 91037"/>
                  <a:gd name="connsiteX1" fmla="*/ 114300 w 358775"/>
                  <a:gd name="connsiteY1" fmla="*/ 5312 h 91037"/>
                  <a:gd name="connsiteX2" fmla="*/ 0 w 358775"/>
                  <a:gd name="connsiteY2" fmla="*/ 5312 h 91037"/>
                  <a:gd name="connsiteX3" fmla="*/ 28575 w 358775"/>
                  <a:gd name="connsiteY3" fmla="*/ 18012 h 91037"/>
                  <a:gd name="connsiteX4" fmla="*/ 38100 w 358775"/>
                  <a:gd name="connsiteY4" fmla="*/ 21187 h 91037"/>
                  <a:gd name="connsiteX5" fmla="*/ 47625 w 358775"/>
                  <a:gd name="connsiteY5" fmla="*/ 27537 h 91037"/>
                  <a:gd name="connsiteX6" fmla="*/ 85725 w 358775"/>
                  <a:gd name="connsiteY6" fmla="*/ 37062 h 91037"/>
                  <a:gd name="connsiteX7" fmla="*/ 98425 w 358775"/>
                  <a:gd name="connsiteY7" fmla="*/ 56112 h 91037"/>
                  <a:gd name="connsiteX8" fmla="*/ 101600 w 358775"/>
                  <a:gd name="connsiteY8" fmla="*/ 65637 h 91037"/>
                  <a:gd name="connsiteX9" fmla="*/ 111125 w 358775"/>
                  <a:gd name="connsiteY9" fmla="*/ 75162 h 91037"/>
                  <a:gd name="connsiteX10" fmla="*/ 123825 w 358775"/>
                  <a:gd name="connsiteY10" fmla="*/ 78337 h 91037"/>
                  <a:gd name="connsiteX11" fmla="*/ 158750 w 358775"/>
                  <a:gd name="connsiteY11" fmla="*/ 87862 h 91037"/>
                  <a:gd name="connsiteX12" fmla="*/ 168275 w 358775"/>
                  <a:gd name="connsiteY12" fmla="*/ 91037 h 91037"/>
                  <a:gd name="connsiteX13" fmla="*/ 212725 w 358775"/>
                  <a:gd name="connsiteY13" fmla="*/ 84687 h 91037"/>
                  <a:gd name="connsiteX14" fmla="*/ 234950 w 358775"/>
                  <a:gd name="connsiteY14" fmla="*/ 78337 h 91037"/>
                  <a:gd name="connsiteX15" fmla="*/ 247650 w 358775"/>
                  <a:gd name="connsiteY15" fmla="*/ 75162 h 91037"/>
                  <a:gd name="connsiteX16" fmla="*/ 257175 w 358775"/>
                  <a:gd name="connsiteY16" fmla="*/ 71987 h 91037"/>
                  <a:gd name="connsiteX17" fmla="*/ 311150 w 358775"/>
                  <a:gd name="connsiteY17" fmla="*/ 62462 h 91037"/>
                  <a:gd name="connsiteX18" fmla="*/ 349250 w 358775"/>
                  <a:gd name="connsiteY18" fmla="*/ 52937 h 91037"/>
                  <a:gd name="connsiteX19" fmla="*/ 358775 w 358775"/>
                  <a:gd name="connsiteY19" fmla="*/ 49762 h 91037"/>
                  <a:gd name="connsiteX20" fmla="*/ 339725 w 358775"/>
                  <a:gd name="connsiteY20" fmla="*/ 43412 h 91037"/>
                  <a:gd name="connsiteX21" fmla="*/ 330200 w 358775"/>
                  <a:gd name="connsiteY21" fmla="*/ 40237 h 91037"/>
                  <a:gd name="connsiteX22" fmla="*/ 301625 w 358775"/>
                  <a:gd name="connsiteY22" fmla="*/ 37062 h 91037"/>
                  <a:gd name="connsiteX23" fmla="*/ 285750 w 358775"/>
                  <a:gd name="connsiteY23" fmla="*/ 33887 h 91037"/>
                  <a:gd name="connsiteX24" fmla="*/ 238125 w 358775"/>
                  <a:gd name="connsiteY24" fmla="*/ 30712 h 91037"/>
                  <a:gd name="connsiteX25" fmla="*/ 212725 w 358775"/>
                  <a:gd name="connsiteY25" fmla="*/ 24362 h 91037"/>
                  <a:gd name="connsiteX26" fmla="*/ 174625 w 358775"/>
                  <a:gd name="connsiteY26" fmla="*/ 8487 h 91037"/>
                  <a:gd name="connsiteX27" fmla="*/ 165100 w 358775"/>
                  <a:gd name="connsiteY27" fmla="*/ 5312 h 91037"/>
                  <a:gd name="connsiteX28" fmla="*/ 165100 w 358775"/>
                  <a:gd name="connsiteY28" fmla="*/ 8487 h 9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8775" h="91037">
                    <a:moveTo>
                      <a:pt x="165100" y="8487"/>
                    </a:moveTo>
                    <a:lnTo>
                      <a:pt x="114300" y="5312"/>
                    </a:lnTo>
                    <a:cubicBezTo>
                      <a:pt x="14888" y="1082"/>
                      <a:pt x="47339" y="-4156"/>
                      <a:pt x="0" y="5312"/>
                    </a:cubicBezTo>
                    <a:cubicBezTo>
                      <a:pt x="15094" y="15375"/>
                      <a:pt x="5905" y="10455"/>
                      <a:pt x="28575" y="18012"/>
                    </a:cubicBezTo>
                    <a:cubicBezTo>
                      <a:pt x="31750" y="19070"/>
                      <a:pt x="35315" y="19331"/>
                      <a:pt x="38100" y="21187"/>
                    </a:cubicBezTo>
                    <a:cubicBezTo>
                      <a:pt x="41275" y="23304"/>
                      <a:pt x="44138" y="25987"/>
                      <a:pt x="47625" y="27537"/>
                    </a:cubicBezTo>
                    <a:cubicBezTo>
                      <a:pt x="62719" y="34246"/>
                      <a:pt x="69751" y="34400"/>
                      <a:pt x="85725" y="37062"/>
                    </a:cubicBezTo>
                    <a:cubicBezTo>
                      <a:pt x="89958" y="43412"/>
                      <a:pt x="96012" y="48872"/>
                      <a:pt x="98425" y="56112"/>
                    </a:cubicBezTo>
                    <a:cubicBezTo>
                      <a:pt x="99483" y="59287"/>
                      <a:pt x="99744" y="62852"/>
                      <a:pt x="101600" y="65637"/>
                    </a:cubicBezTo>
                    <a:cubicBezTo>
                      <a:pt x="104091" y="69373"/>
                      <a:pt x="107226" y="72934"/>
                      <a:pt x="111125" y="75162"/>
                    </a:cubicBezTo>
                    <a:cubicBezTo>
                      <a:pt x="114914" y="77327"/>
                      <a:pt x="119565" y="77390"/>
                      <a:pt x="123825" y="78337"/>
                    </a:cubicBezTo>
                    <a:cubicBezTo>
                      <a:pt x="150751" y="84321"/>
                      <a:pt x="129014" y="77950"/>
                      <a:pt x="158750" y="87862"/>
                    </a:cubicBezTo>
                    <a:lnTo>
                      <a:pt x="168275" y="91037"/>
                    </a:lnTo>
                    <a:cubicBezTo>
                      <a:pt x="186056" y="89061"/>
                      <a:pt x="196551" y="88731"/>
                      <a:pt x="212725" y="84687"/>
                    </a:cubicBezTo>
                    <a:cubicBezTo>
                      <a:pt x="220200" y="82818"/>
                      <a:pt x="227517" y="80364"/>
                      <a:pt x="234950" y="78337"/>
                    </a:cubicBezTo>
                    <a:cubicBezTo>
                      <a:pt x="239160" y="77189"/>
                      <a:pt x="243454" y="76361"/>
                      <a:pt x="247650" y="75162"/>
                    </a:cubicBezTo>
                    <a:cubicBezTo>
                      <a:pt x="250868" y="74243"/>
                      <a:pt x="253928" y="72799"/>
                      <a:pt x="257175" y="71987"/>
                    </a:cubicBezTo>
                    <a:cubicBezTo>
                      <a:pt x="268575" y="69137"/>
                      <a:pt x="308525" y="62899"/>
                      <a:pt x="311150" y="62462"/>
                    </a:cubicBezTo>
                    <a:cubicBezTo>
                      <a:pt x="336802" y="58187"/>
                      <a:pt x="324093" y="61323"/>
                      <a:pt x="349250" y="52937"/>
                    </a:cubicBezTo>
                    <a:lnTo>
                      <a:pt x="358775" y="49762"/>
                    </a:lnTo>
                    <a:lnTo>
                      <a:pt x="339725" y="43412"/>
                    </a:lnTo>
                    <a:cubicBezTo>
                      <a:pt x="336550" y="42354"/>
                      <a:pt x="333526" y="40607"/>
                      <a:pt x="330200" y="40237"/>
                    </a:cubicBezTo>
                    <a:cubicBezTo>
                      <a:pt x="320675" y="39179"/>
                      <a:pt x="311112" y="38417"/>
                      <a:pt x="301625" y="37062"/>
                    </a:cubicBezTo>
                    <a:cubicBezTo>
                      <a:pt x="296283" y="36299"/>
                      <a:pt x="291120" y="34424"/>
                      <a:pt x="285750" y="33887"/>
                    </a:cubicBezTo>
                    <a:cubicBezTo>
                      <a:pt x="269919" y="32304"/>
                      <a:pt x="254000" y="31770"/>
                      <a:pt x="238125" y="30712"/>
                    </a:cubicBezTo>
                    <a:cubicBezTo>
                      <a:pt x="229702" y="29027"/>
                      <a:pt x="220713" y="27912"/>
                      <a:pt x="212725" y="24362"/>
                    </a:cubicBezTo>
                    <a:cubicBezTo>
                      <a:pt x="175170" y="7671"/>
                      <a:pt x="212213" y="21016"/>
                      <a:pt x="174625" y="8487"/>
                    </a:cubicBezTo>
                    <a:cubicBezTo>
                      <a:pt x="171450" y="7429"/>
                      <a:pt x="168447" y="5312"/>
                      <a:pt x="165100" y="5312"/>
                    </a:cubicBezTo>
                    <a:lnTo>
                      <a:pt x="165100" y="8487"/>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29" name="Freeform 228"/>
              <p:cNvSpPr/>
              <p:nvPr/>
            </p:nvSpPr>
            <p:spPr>
              <a:xfrm>
                <a:off x="8023111" y="3886138"/>
                <a:ext cx="321469" cy="231436"/>
              </a:xfrm>
              <a:custGeom>
                <a:avLst/>
                <a:gdLst>
                  <a:gd name="connsiteX0" fmla="*/ 147637 w 321469"/>
                  <a:gd name="connsiteY0" fmla="*/ 3123 h 231436"/>
                  <a:gd name="connsiteX1" fmla="*/ 80962 w 321469"/>
                  <a:gd name="connsiteY1" fmla="*/ 3123 h 231436"/>
                  <a:gd name="connsiteX2" fmla="*/ 59531 w 321469"/>
                  <a:gd name="connsiteY2" fmla="*/ 5504 h 231436"/>
                  <a:gd name="connsiteX3" fmla="*/ 52387 w 321469"/>
                  <a:gd name="connsiteY3" fmla="*/ 10267 h 231436"/>
                  <a:gd name="connsiteX4" fmla="*/ 38100 w 321469"/>
                  <a:gd name="connsiteY4" fmla="*/ 15029 h 231436"/>
                  <a:gd name="connsiteX5" fmla="*/ 7144 w 321469"/>
                  <a:gd name="connsiteY5" fmla="*/ 15029 h 231436"/>
                  <a:gd name="connsiteX6" fmla="*/ 2381 w 321469"/>
                  <a:gd name="connsiteY6" fmla="*/ 29317 h 231436"/>
                  <a:gd name="connsiteX7" fmla="*/ 0 w 321469"/>
                  <a:gd name="connsiteY7" fmla="*/ 36460 h 231436"/>
                  <a:gd name="connsiteX8" fmla="*/ 7144 w 321469"/>
                  <a:gd name="connsiteY8" fmla="*/ 62654 h 231436"/>
                  <a:gd name="connsiteX9" fmla="*/ 9525 w 321469"/>
                  <a:gd name="connsiteY9" fmla="*/ 69798 h 231436"/>
                  <a:gd name="connsiteX10" fmla="*/ 19050 w 321469"/>
                  <a:gd name="connsiteY10" fmla="*/ 84085 h 231436"/>
                  <a:gd name="connsiteX11" fmla="*/ 30956 w 321469"/>
                  <a:gd name="connsiteY11" fmla="*/ 98373 h 231436"/>
                  <a:gd name="connsiteX12" fmla="*/ 40481 w 321469"/>
                  <a:gd name="connsiteY12" fmla="*/ 112660 h 231436"/>
                  <a:gd name="connsiteX13" fmla="*/ 47625 w 321469"/>
                  <a:gd name="connsiteY13" fmla="*/ 119804 h 231436"/>
                  <a:gd name="connsiteX14" fmla="*/ 52387 w 321469"/>
                  <a:gd name="connsiteY14" fmla="*/ 126948 h 231436"/>
                  <a:gd name="connsiteX15" fmla="*/ 59531 w 321469"/>
                  <a:gd name="connsiteY15" fmla="*/ 131710 h 231436"/>
                  <a:gd name="connsiteX16" fmla="*/ 66675 w 321469"/>
                  <a:gd name="connsiteY16" fmla="*/ 141235 h 231436"/>
                  <a:gd name="connsiteX17" fmla="*/ 80962 w 321469"/>
                  <a:gd name="connsiteY17" fmla="*/ 153142 h 231436"/>
                  <a:gd name="connsiteX18" fmla="*/ 85725 w 321469"/>
                  <a:gd name="connsiteY18" fmla="*/ 160285 h 231436"/>
                  <a:gd name="connsiteX19" fmla="*/ 107156 w 321469"/>
                  <a:gd name="connsiteY19" fmla="*/ 176954 h 231436"/>
                  <a:gd name="connsiteX20" fmla="*/ 114300 w 321469"/>
                  <a:gd name="connsiteY20" fmla="*/ 184098 h 231436"/>
                  <a:gd name="connsiteX21" fmla="*/ 140494 w 321469"/>
                  <a:gd name="connsiteY21" fmla="*/ 200767 h 231436"/>
                  <a:gd name="connsiteX22" fmla="*/ 150019 w 321469"/>
                  <a:gd name="connsiteY22" fmla="*/ 205529 h 231436"/>
                  <a:gd name="connsiteX23" fmla="*/ 157162 w 321469"/>
                  <a:gd name="connsiteY23" fmla="*/ 210292 h 231436"/>
                  <a:gd name="connsiteX24" fmla="*/ 166687 w 321469"/>
                  <a:gd name="connsiteY24" fmla="*/ 212673 h 231436"/>
                  <a:gd name="connsiteX25" fmla="*/ 173831 w 321469"/>
                  <a:gd name="connsiteY25" fmla="*/ 215054 h 231436"/>
                  <a:gd name="connsiteX26" fmla="*/ 185737 w 321469"/>
                  <a:gd name="connsiteY26" fmla="*/ 219817 h 231436"/>
                  <a:gd name="connsiteX27" fmla="*/ 200025 w 321469"/>
                  <a:gd name="connsiteY27" fmla="*/ 222198 h 231436"/>
                  <a:gd name="connsiteX28" fmla="*/ 252412 w 321469"/>
                  <a:gd name="connsiteY28" fmla="*/ 226960 h 231436"/>
                  <a:gd name="connsiteX29" fmla="*/ 259556 w 321469"/>
                  <a:gd name="connsiteY29" fmla="*/ 217435 h 231436"/>
                  <a:gd name="connsiteX30" fmla="*/ 261937 w 321469"/>
                  <a:gd name="connsiteY30" fmla="*/ 176954 h 231436"/>
                  <a:gd name="connsiteX31" fmla="*/ 276225 w 321469"/>
                  <a:gd name="connsiteY31" fmla="*/ 167429 h 231436"/>
                  <a:gd name="connsiteX32" fmla="*/ 283369 w 321469"/>
                  <a:gd name="connsiteY32" fmla="*/ 160285 h 231436"/>
                  <a:gd name="connsiteX33" fmla="*/ 309562 w 321469"/>
                  <a:gd name="connsiteY33" fmla="*/ 157904 h 231436"/>
                  <a:gd name="connsiteX34" fmla="*/ 314325 w 321469"/>
                  <a:gd name="connsiteY34" fmla="*/ 150760 h 231436"/>
                  <a:gd name="connsiteX35" fmla="*/ 321469 w 321469"/>
                  <a:gd name="connsiteY35" fmla="*/ 129329 h 231436"/>
                  <a:gd name="connsiteX36" fmla="*/ 316706 w 321469"/>
                  <a:gd name="connsiteY36" fmla="*/ 100754 h 231436"/>
                  <a:gd name="connsiteX37" fmla="*/ 314325 w 321469"/>
                  <a:gd name="connsiteY37" fmla="*/ 91229 h 231436"/>
                  <a:gd name="connsiteX38" fmla="*/ 292894 w 321469"/>
                  <a:gd name="connsiteY38" fmla="*/ 81704 h 231436"/>
                  <a:gd name="connsiteX39" fmla="*/ 285750 w 321469"/>
                  <a:gd name="connsiteY39" fmla="*/ 79323 h 231436"/>
                  <a:gd name="connsiteX40" fmla="*/ 280987 w 321469"/>
                  <a:gd name="connsiteY40" fmla="*/ 72179 h 231436"/>
                  <a:gd name="connsiteX41" fmla="*/ 283369 w 321469"/>
                  <a:gd name="connsiteY41" fmla="*/ 65035 h 231436"/>
                  <a:gd name="connsiteX42" fmla="*/ 290512 w 321469"/>
                  <a:gd name="connsiteY42" fmla="*/ 48367 h 231436"/>
                  <a:gd name="connsiteX43" fmla="*/ 285750 w 321469"/>
                  <a:gd name="connsiteY43" fmla="*/ 31698 h 231436"/>
                  <a:gd name="connsiteX44" fmla="*/ 271462 w 321469"/>
                  <a:gd name="connsiteY44" fmla="*/ 19792 h 231436"/>
                  <a:gd name="connsiteX45" fmla="*/ 264319 w 321469"/>
                  <a:gd name="connsiteY45" fmla="*/ 17410 h 231436"/>
                  <a:gd name="connsiteX46" fmla="*/ 252412 w 321469"/>
                  <a:gd name="connsiteY46" fmla="*/ 7885 h 231436"/>
                  <a:gd name="connsiteX47" fmla="*/ 223837 w 321469"/>
                  <a:gd name="connsiteY47" fmla="*/ 742 h 231436"/>
                  <a:gd name="connsiteX48" fmla="*/ 147637 w 321469"/>
                  <a:gd name="connsiteY48" fmla="*/ 3123 h 23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1469" h="231436">
                    <a:moveTo>
                      <a:pt x="147637" y="3123"/>
                    </a:moveTo>
                    <a:cubicBezTo>
                      <a:pt x="123824" y="3520"/>
                      <a:pt x="153775" y="3123"/>
                      <a:pt x="80962" y="3123"/>
                    </a:cubicBezTo>
                    <a:cubicBezTo>
                      <a:pt x="73774" y="3123"/>
                      <a:pt x="66675" y="4710"/>
                      <a:pt x="59531" y="5504"/>
                    </a:cubicBezTo>
                    <a:cubicBezTo>
                      <a:pt x="57150" y="7092"/>
                      <a:pt x="55002" y="9105"/>
                      <a:pt x="52387" y="10267"/>
                    </a:cubicBezTo>
                    <a:cubicBezTo>
                      <a:pt x="47800" y="12306"/>
                      <a:pt x="38100" y="15029"/>
                      <a:pt x="38100" y="15029"/>
                    </a:cubicBezTo>
                    <a:cubicBezTo>
                      <a:pt x="35477" y="14701"/>
                      <a:pt x="12396" y="9777"/>
                      <a:pt x="7144" y="15029"/>
                    </a:cubicBezTo>
                    <a:cubicBezTo>
                      <a:pt x="3594" y="18579"/>
                      <a:pt x="3969" y="24554"/>
                      <a:pt x="2381" y="29317"/>
                    </a:cubicBezTo>
                    <a:lnTo>
                      <a:pt x="0" y="36460"/>
                    </a:lnTo>
                    <a:cubicBezTo>
                      <a:pt x="4285" y="70744"/>
                      <a:pt x="-1862" y="44643"/>
                      <a:pt x="7144" y="62654"/>
                    </a:cubicBezTo>
                    <a:cubicBezTo>
                      <a:pt x="8267" y="64899"/>
                      <a:pt x="8306" y="67604"/>
                      <a:pt x="9525" y="69798"/>
                    </a:cubicBezTo>
                    <a:cubicBezTo>
                      <a:pt x="12305" y="74801"/>
                      <a:pt x="19050" y="84085"/>
                      <a:pt x="19050" y="84085"/>
                    </a:cubicBezTo>
                    <a:cubicBezTo>
                      <a:pt x="24144" y="99370"/>
                      <a:pt x="17117" y="82804"/>
                      <a:pt x="30956" y="98373"/>
                    </a:cubicBezTo>
                    <a:cubicBezTo>
                      <a:pt x="34759" y="102651"/>
                      <a:pt x="36434" y="108613"/>
                      <a:pt x="40481" y="112660"/>
                    </a:cubicBezTo>
                    <a:cubicBezTo>
                      <a:pt x="42862" y="115041"/>
                      <a:pt x="45469" y="117217"/>
                      <a:pt x="47625" y="119804"/>
                    </a:cubicBezTo>
                    <a:cubicBezTo>
                      <a:pt x="49457" y="122003"/>
                      <a:pt x="50363" y="124924"/>
                      <a:pt x="52387" y="126948"/>
                    </a:cubicBezTo>
                    <a:cubicBezTo>
                      <a:pt x="54411" y="128972"/>
                      <a:pt x="57150" y="130123"/>
                      <a:pt x="59531" y="131710"/>
                    </a:cubicBezTo>
                    <a:cubicBezTo>
                      <a:pt x="61912" y="134885"/>
                      <a:pt x="63869" y="138429"/>
                      <a:pt x="66675" y="141235"/>
                    </a:cubicBezTo>
                    <a:cubicBezTo>
                      <a:pt x="85411" y="159971"/>
                      <a:pt x="61453" y="129732"/>
                      <a:pt x="80962" y="153142"/>
                    </a:cubicBezTo>
                    <a:cubicBezTo>
                      <a:pt x="82794" y="155340"/>
                      <a:pt x="83607" y="158360"/>
                      <a:pt x="85725" y="160285"/>
                    </a:cubicBezTo>
                    <a:cubicBezTo>
                      <a:pt x="92422" y="166373"/>
                      <a:pt x="100757" y="170555"/>
                      <a:pt x="107156" y="176954"/>
                    </a:cubicBezTo>
                    <a:cubicBezTo>
                      <a:pt x="109537" y="179335"/>
                      <a:pt x="111642" y="182030"/>
                      <a:pt x="114300" y="184098"/>
                    </a:cubicBezTo>
                    <a:cubicBezTo>
                      <a:pt x="119212" y="187919"/>
                      <a:pt x="134374" y="197367"/>
                      <a:pt x="140494" y="200767"/>
                    </a:cubicBezTo>
                    <a:cubicBezTo>
                      <a:pt x="143597" y="202491"/>
                      <a:pt x="146937" y="203768"/>
                      <a:pt x="150019" y="205529"/>
                    </a:cubicBezTo>
                    <a:cubicBezTo>
                      <a:pt x="152504" y="206949"/>
                      <a:pt x="154532" y="209165"/>
                      <a:pt x="157162" y="210292"/>
                    </a:cubicBezTo>
                    <a:cubicBezTo>
                      <a:pt x="160170" y="211581"/>
                      <a:pt x="163540" y="211774"/>
                      <a:pt x="166687" y="212673"/>
                    </a:cubicBezTo>
                    <a:cubicBezTo>
                      <a:pt x="169101" y="213363"/>
                      <a:pt x="171481" y="214173"/>
                      <a:pt x="173831" y="215054"/>
                    </a:cubicBezTo>
                    <a:cubicBezTo>
                      <a:pt x="177833" y="216555"/>
                      <a:pt x="181613" y="218692"/>
                      <a:pt x="185737" y="219817"/>
                    </a:cubicBezTo>
                    <a:cubicBezTo>
                      <a:pt x="190395" y="221087"/>
                      <a:pt x="195262" y="221404"/>
                      <a:pt x="200025" y="222198"/>
                    </a:cubicBezTo>
                    <a:cubicBezTo>
                      <a:pt x="221340" y="231333"/>
                      <a:pt x="223140" y="235092"/>
                      <a:pt x="252412" y="226960"/>
                    </a:cubicBezTo>
                    <a:cubicBezTo>
                      <a:pt x="256236" y="225898"/>
                      <a:pt x="257175" y="220610"/>
                      <a:pt x="259556" y="217435"/>
                    </a:cubicBezTo>
                    <a:cubicBezTo>
                      <a:pt x="260350" y="203941"/>
                      <a:pt x="257662" y="189777"/>
                      <a:pt x="261937" y="176954"/>
                    </a:cubicBezTo>
                    <a:cubicBezTo>
                      <a:pt x="263747" y="171524"/>
                      <a:pt x="272178" y="171476"/>
                      <a:pt x="276225" y="167429"/>
                    </a:cubicBezTo>
                    <a:cubicBezTo>
                      <a:pt x="278606" y="165048"/>
                      <a:pt x="280131" y="161210"/>
                      <a:pt x="283369" y="160285"/>
                    </a:cubicBezTo>
                    <a:cubicBezTo>
                      <a:pt x="291799" y="157876"/>
                      <a:pt x="300831" y="158698"/>
                      <a:pt x="309562" y="157904"/>
                    </a:cubicBezTo>
                    <a:cubicBezTo>
                      <a:pt x="311150" y="155523"/>
                      <a:pt x="313045" y="153320"/>
                      <a:pt x="314325" y="150760"/>
                    </a:cubicBezTo>
                    <a:cubicBezTo>
                      <a:pt x="318806" y="141797"/>
                      <a:pt x="319195" y="138421"/>
                      <a:pt x="321469" y="129329"/>
                    </a:cubicBezTo>
                    <a:cubicBezTo>
                      <a:pt x="317598" y="94497"/>
                      <a:pt x="321783" y="118526"/>
                      <a:pt x="316706" y="100754"/>
                    </a:cubicBezTo>
                    <a:cubicBezTo>
                      <a:pt x="315807" y="97607"/>
                      <a:pt x="316140" y="93952"/>
                      <a:pt x="314325" y="91229"/>
                    </a:cubicBezTo>
                    <a:cubicBezTo>
                      <a:pt x="311092" y="86379"/>
                      <a:pt x="295710" y="82643"/>
                      <a:pt x="292894" y="81704"/>
                    </a:cubicBezTo>
                    <a:lnTo>
                      <a:pt x="285750" y="79323"/>
                    </a:lnTo>
                    <a:cubicBezTo>
                      <a:pt x="284162" y="76942"/>
                      <a:pt x="281457" y="75002"/>
                      <a:pt x="280987" y="72179"/>
                    </a:cubicBezTo>
                    <a:cubicBezTo>
                      <a:pt x="280574" y="69703"/>
                      <a:pt x="282380" y="67342"/>
                      <a:pt x="283369" y="65035"/>
                    </a:cubicBezTo>
                    <a:cubicBezTo>
                      <a:pt x="292193" y="44446"/>
                      <a:pt x="284930" y="65113"/>
                      <a:pt x="290512" y="48367"/>
                    </a:cubicBezTo>
                    <a:cubicBezTo>
                      <a:pt x="290195" y="47097"/>
                      <a:pt x="287116" y="33747"/>
                      <a:pt x="285750" y="31698"/>
                    </a:cubicBezTo>
                    <a:cubicBezTo>
                      <a:pt x="283116" y="27746"/>
                      <a:pt x="275856" y="21989"/>
                      <a:pt x="271462" y="19792"/>
                    </a:cubicBezTo>
                    <a:cubicBezTo>
                      <a:pt x="269217" y="18669"/>
                      <a:pt x="266700" y="18204"/>
                      <a:pt x="264319" y="17410"/>
                    </a:cubicBezTo>
                    <a:cubicBezTo>
                      <a:pt x="260350" y="14235"/>
                      <a:pt x="256874" y="10319"/>
                      <a:pt x="252412" y="7885"/>
                    </a:cubicBezTo>
                    <a:cubicBezTo>
                      <a:pt x="246174" y="4483"/>
                      <a:pt x="230929" y="1172"/>
                      <a:pt x="223837" y="742"/>
                    </a:cubicBezTo>
                    <a:cubicBezTo>
                      <a:pt x="183084" y="-1728"/>
                      <a:pt x="171450" y="2726"/>
                      <a:pt x="147637" y="312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0" name="Freeform 229"/>
              <p:cNvSpPr/>
              <p:nvPr/>
            </p:nvSpPr>
            <p:spPr>
              <a:xfrm>
                <a:off x="8508886" y="4010377"/>
                <a:ext cx="138112" cy="93196"/>
              </a:xfrm>
              <a:custGeom>
                <a:avLst/>
                <a:gdLst>
                  <a:gd name="connsiteX0" fmla="*/ 80962 w 138112"/>
                  <a:gd name="connsiteY0" fmla="*/ 328 h 93196"/>
                  <a:gd name="connsiteX1" fmla="*/ 45244 w 138112"/>
                  <a:gd name="connsiteY1" fmla="*/ 2709 h 93196"/>
                  <a:gd name="connsiteX2" fmla="*/ 38100 w 138112"/>
                  <a:gd name="connsiteY2" fmla="*/ 5090 h 93196"/>
                  <a:gd name="connsiteX3" fmla="*/ 26194 w 138112"/>
                  <a:gd name="connsiteY3" fmla="*/ 19378 h 93196"/>
                  <a:gd name="connsiteX4" fmla="*/ 0 w 138112"/>
                  <a:gd name="connsiteY4" fmla="*/ 28903 h 93196"/>
                  <a:gd name="connsiteX5" fmla="*/ 11906 w 138112"/>
                  <a:gd name="connsiteY5" fmla="*/ 43190 h 93196"/>
                  <a:gd name="connsiteX6" fmla="*/ 14287 w 138112"/>
                  <a:gd name="connsiteY6" fmla="*/ 50334 h 93196"/>
                  <a:gd name="connsiteX7" fmla="*/ 11906 w 138112"/>
                  <a:gd name="connsiteY7" fmla="*/ 69384 h 93196"/>
                  <a:gd name="connsiteX8" fmla="*/ 9525 w 138112"/>
                  <a:gd name="connsiteY8" fmla="*/ 76528 h 93196"/>
                  <a:gd name="connsiteX9" fmla="*/ 19050 w 138112"/>
                  <a:gd name="connsiteY9" fmla="*/ 88434 h 93196"/>
                  <a:gd name="connsiteX10" fmla="*/ 28575 w 138112"/>
                  <a:gd name="connsiteY10" fmla="*/ 90815 h 93196"/>
                  <a:gd name="connsiteX11" fmla="*/ 35719 w 138112"/>
                  <a:gd name="connsiteY11" fmla="*/ 93196 h 93196"/>
                  <a:gd name="connsiteX12" fmla="*/ 57150 w 138112"/>
                  <a:gd name="connsiteY12" fmla="*/ 90815 h 93196"/>
                  <a:gd name="connsiteX13" fmla="*/ 59531 w 138112"/>
                  <a:gd name="connsiteY13" fmla="*/ 78909 h 93196"/>
                  <a:gd name="connsiteX14" fmla="*/ 69056 w 138112"/>
                  <a:gd name="connsiteY14" fmla="*/ 57478 h 93196"/>
                  <a:gd name="connsiteX15" fmla="*/ 83344 w 138112"/>
                  <a:gd name="connsiteY15" fmla="*/ 55096 h 93196"/>
                  <a:gd name="connsiteX16" fmla="*/ 114300 w 138112"/>
                  <a:gd name="connsiteY16" fmla="*/ 50334 h 93196"/>
                  <a:gd name="connsiteX17" fmla="*/ 121444 w 138112"/>
                  <a:gd name="connsiteY17" fmla="*/ 47953 h 93196"/>
                  <a:gd name="connsiteX18" fmla="*/ 135731 w 138112"/>
                  <a:gd name="connsiteY18" fmla="*/ 36046 h 93196"/>
                  <a:gd name="connsiteX19" fmla="*/ 138112 w 138112"/>
                  <a:gd name="connsiteY19" fmla="*/ 24140 h 93196"/>
                  <a:gd name="connsiteX20" fmla="*/ 128587 w 138112"/>
                  <a:gd name="connsiteY20" fmla="*/ 12234 h 93196"/>
                  <a:gd name="connsiteX21" fmla="*/ 121444 w 138112"/>
                  <a:gd name="connsiteY21" fmla="*/ 5090 h 93196"/>
                  <a:gd name="connsiteX22" fmla="*/ 80962 w 138112"/>
                  <a:gd name="connsiteY22" fmla="*/ 328 h 9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112" h="93196">
                    <a:moveTo>
                      <a:pt x="80962" y="328"/>
                    </a:moveTo>
                    <a:cubicBezTo>
                      <a:pt x="68262" y="-69"/>
                      <a:pt x="57103" y="1391"/>
                      <a:pt x="45244" y="2709"/>
                    </a:cubicBezTo>
                    <a:cubicBezTo>
                      <a:pt x="42749" y="2986"/>
                      <a:pt x="40189" y="3698"/>
                      <a:pt x="38100" y="5090"/>
                    </a:cubicBezTo>
                    <a:cubicBezTo>
                      <a:pt x="26393" y="12894"/>
                      <a:pt x="34982" y="10590"/>
                      <a:pt x="26194" y="19378"/>
                    </a:cubicBezTo>
                    <a:cubicBezTo>
                      <a:pt x="19377" y="26195"/>
                      <a:pt x="8810" y="27140"/>
                      <a:pt x="0" y="28903"/>
                    </a:cubicBezTo>
                    <a:cubicBezTo>
                      <a:pt x="5268" y="34171"/>
                      <a:pt x="8590" y="36557"/>
                      <a:pt x="11906" y="43190"/>
                    </a:cubicBezTo>
                    <a:cubicBezTo>
                      <a:pt x="13028" y="45435"/>
                      <a:pt x="13493" y="47953"/>
                      <a:pt x="14287" y="50334"/>
                    </a:cubicBezTo>
                    <a:cubicBezTo>
                      <a:pt x="13493" y="56684"/>
                      <a:pt x="13051" y="63088"/>
                      <a:pt x="11906" y="69384"/>
                    </a:cubicBezTo>
                    <a:cubicBezTo>
                      <a:pt x="11457" y="71854"/>
                      <a:pt x="9525" y="74018"/>
                      <a:pt x="9525" y="76528"/>
                    </a:cubicBezTo>
                    <a:cubicBezTo>
                      <a:pt x="9525" y="83050"/>
                      <a:pt x="13565" y="86083"/>
                      <a:pt x="19050" y="88434"/>
                    </a:cubicBezTo>
                    <a:cubicBezTo>
                      <a:pt x="22058" y="89723"/>
                      <a:pt x="25428" y="89916"/>
                      <a:pt x="28575" y="90815"/>
                    </a:cubicBezTo>
                    <a:cubicBezTo>
                      <a:pt x="30989" y="91505"/>
                      <a:pt x="33338" y="92402"/>
                      <a:pt x="35719" y="93196"/>
                    </a:cubicBezTo>
                    <a:cubicBezTo>
                      <a:pt x="42863" y="92402"/>
                      <a:pt x="50987" y="94513"/>
                      <a:pt x="57150" y="90815"/>
                    </a:cubicBezTo>
                    <a:cubicBezTo>
                      <a:pt x="60620" y="88733"/>
                      <a:pt x="58807" y="82891"/>
                      <a:pt x="59531" y="78909"/>
                    </a:cubicBezTo>
                    <a:cubicBezTo>
                      <a:pt x="61093" y="70318"/>
                      <a:pt x="59455" y="61745"/>
                      <a:pt x="69056" y="57478"/>
                    </a:cubicBezTo>
                    <a:cubicBezTo>
                      <a:pt x="73468" y="55517"/>
                      <a:pt x="78564" y="55779"/>
                      <a:pt x="83344" y="55096"/>
                    </a:cubicBezTo>
                    <a:cubicBezTo>
                      <a:pt x="96843" y="53167"/>
                      <a:pt x="102169" y="53366"/>
                      <a:pt x="114300" y="50334"/>
                    </a:cubicBezTo>
                    <a:cubicBezTo>
                      <a:pt x="116735" y="49725"/>
                      <a:pt x="119063" y="48747"/>
                      <a:pt x="121444" y="47953"/>
                    </a:cubicBezTo>
                    <a:cubicBezTo>
                      <a:pt x="125546" y="45218"/>
                      <a:pt x="133440" y="40628"/>
                      <a:pt x="135731" y="36046"/>
                    </a:cubicBezTo>
                    <a:cubicBezTo>
                      <a:pt x="137541" y="32426"/>
                      <a:pt x="137318" y="28109"/>
                      <a:pt x="138112" y="24140"/>
                    </a:cubicBezTo>
                    <a:cubicBezTo>
                      <a:pt x="134203" y="12411"/>
                      <a:pt x="138530" y="20520"/>
                      <a:pt x="128587" y="12234"/>
                    </a:cubicBezTo>
                    <a:cubicBezTo>
                      <a:pt x="126000" y="10078"/>
                      <a:pt x="124388" y="6725"/>
                      <a:pt x="121444" y="5090"/>
                    </a:cubicBezTo>
                    <a:cubicBezTo>
                      <a:pt x="107903" y="-2433"/>
                      <a:pt x="93662" y="725"/>
                      <a:pt x="80962" y="32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1" name="Freeform 230"/>
              <p:cNvSpPr/>
              <p:nvPr/>
            </p:nvSpPr>
            <p:spPr>
              <a:xfrm>
                <a:off x="8494598" y="3901897"/>
                <a:ext cx="54279" cy="96901"/>
              </a:xfrm>
              <a:custGeom>
                <a:avLst/>
                <a:gdLst>
                  <a:gd name="connsiteX0" fmla="*/ 42863 w 54279"/>
                  <a:gd name="connsiteY0" fmla="*/ 1651 h 96901"/>
                  <a:gd name="connsiteX1" fmla="*/ 19050 w 54279"/>
                  <a:gd name="connsiteY1" fmla="*/ 4033 h 96901"/>
                  <a:gd name="connsiteX2" fmla="*/ 11907 w 54279"/>
                  <a:gd name="connsiteY2" fmla="*/ 6414 h 96901"/>
                  <a:gd name="connsiteX3" fmla="*/ 7144 w 54279"/>
                  <a:gd name="connsiteY3" fmla="*/ 13558 h 96901"/>
                  <a:gd name="connsiteX4" fmla="*/ 4763 w 54279"/>
                  <a:gd name="connsiteY4" fmla="*/ 49276 h 96901"/>
                  <a:gd name="connsiteX5" fmla="*/ 0 w 54279"/>
                  <a:gd name="connsiteY5" fmla="*/ 63564 h 96901"/>
                  <a:gd name="connsiteX6" fmla="*/ 2382 w 54279"/>
                  <a:gd name="connsiteY6" fmla="*/ 82614 h 96901"/>
                  <a:gd name="connsiteX7" fmla="*/ 4763 w 54279"/>
                  <a:gd name="connsiteY7" fmla="*/ 89758 h 96901"/>
                  <a:gd name="connsiteX8" fmla="*/ 11907 w 54279"/>
                  <a:gd name="connsiteY8" fmla="*/ 94520 h 96901"/>
                  <a:gd name="connsiteX9" fmla="*/ 19050 w 54279"/>
                  <a:gd name="connsiteY9" fmla="*/ 96901 h 96901"/>
                  <a:gd name="connsiteX10" fmla="*/ 26194 w 54279"/>
                  <a:gd name="connsiteY10" fmla="*/ 94520 h 96901"/>
                  <a:gd name="connsiteX11" fmla="*/ 33338 w 54279"/>
                  <a:gd name="connsiteY11" fmla="*/ 80233 h 96901"/>
                  <a:gd name="connsiteX12" fmla="*/ 35719 w 54279"/>
                  <a:gd name="connsiteY12" fmla="*/ 65945 h 96901"/>
                  <a:gd name="connsiteX13" fmla="*/ 38100 w 54279"/>
                  <a:gd name="connsiteY13" fmla="*/ 58801 h 96901"/>
                  <a:gd name="connsiteX14" fmla="*/ 40482 w 54279"/>
                  <a:gd name="connsiteY14" fmla="*/ 49276 h 96901"/>
                  <a:gd name="connsiteX15" fmla="*/ 45244 w 54279"/>
                  <a:gd name="connsiteY15" fmla="*/ 34989 h 96901"/>
                  <a:gd name="connsiteX16" fmla="*/ 52388 w 54279"/>
                  <a:gd name="connsiteY16" fmla="*/ 30226 h 96901"/>
                  <a:gd name="connsiteX17" fmla="*/ 42863 w 54279"/>
                  <a:gd name="connsiteY17" fmla="*/ 1651 h 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279" h="96901">
                    <a:moveTo>
                      <a:pt x="42863" y="1651"/>
                    </a:moveTo>
                    <a:cubicBezTo>
                      <a:pt x="37307" y="-2715"/>
                      <a:pt x="26934" y="2820"/>
                      <a:pt x="19050" y="4033"/>
                    </a:cubicBezTo>
                    <a:cubicBezTo>
                      <a:pt x="16569" y="4415"/>
                      <a:pt x="13867" y="4846"/>
                      <a:pt x="11907" y="6414"/>
                    </a:cubicBezTo>
                    <a:cubicBezTo>
                      <a:pt x="9672" y="8202"/>
                      <a:pt x="8732" y="11177"/>
                      <a:pt x="7144" y="13558"/>
                    </a:cubicBezTo>
                    <a:cubicBezTo>
                      <a:pt x="6350" y="25464"/>
                      <a:pt x="6451" y="37464"/>
                      <a:pt x="4763" y="49276"/>
                    </a:cubicBezTo>
                    <a:cubicBezTo>
                      <a:pt x="4053" y="54246"/>
                      <a:pt x="0" y="63564"/>
                      <a:pt x="0" y="63564"/>
                    </a:cubicBezTo>
                    <a:cubicBezTo>
                      <a:pt x="794" y="69914"/>
                      <a:pt x="1237" y="76318"/>
                      <a:pt x="2382" y="82614"/>
                    </a:cubicBezTo>
                    <a:cubicBezTo>
                      <a:pt x="2831" y="85084"/>
                      <a:pt x="3195" y="87798"/>
                      <a:pt x="4763" y="89758"/>
                    </a:cubicBezTo>
                    <a:cubicBezTo>
                      <a:pt x="6551" y="91993"/>
                      <a:pt x="9347" y="93240"/>
                      <a:pt x="11907" y="94520"/>
                    </a:cubicBezTo>
                    <a:cubicBezTo>
                      <a:pt x="14152" y="95642"/>
                      <a:pt x="16669" y="96107"/>
                      <a:pt x="19050" y="96901"/>
                    </a:cubicBezTo>
                    <a:cubicBezTo>
                      <a:pt x="21431" y="96107"/>
                      <a:pt x="24234" y="96088"/>
                      <a:pt x="26194" y="94520"/>
                    </a:cubicBezTo>
                    <a:cubicBezTo>
                      <a:pt x="30391" y="91163"/>
                      <a:pt x="31769" y="84939"/>
                      <a:pt x="33338" y="80233"/>
                    </a:cubicBezTo>
                    <a:cubicBezTo>
                      <a:pt x="34132" y="75470"/>
                      <a:pt x="34672" y="70658"/>
                      <a:pt x="35719" y="65945"/>
                    </a:cubicBezTo>
                    <a:cubicBezTo>
                      <a:pt x="36263" y="63495"/>
                      <a:pt x="37410" y="61215"/>
                      <a:pt x="38100" y="58801"/>
                    </a:cubicBezTo>
                    <a:cubicBezTo>
                      <a:pt x="38999" y="55654"/>
                      <a:pt x="39542" y="52411"/>
                      <a:pt x="40482" y="49276"/>
                    </a:cubicBezTo>
                    <a:cubicBezTo>
                      <a:pt x="41925" y="44468"/>
                      <a:pt x="41067" y="37774"/>
                      <a:pt x="45244" y="34989"/>
                    </a:cubicBezTo>
                    <a:lnTo>
                      <a:pt x="52388" y="30226"/>
                    </a:lnTo>
                    <a:cubicBezTo>
                      <a:pt x="58471" y="21102"/>
                      <a:pt x="48419" y="6017"/>
                      <a:pt x="42863" y="165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2" name="Freeform 231"/>
              <p:cNvSpPr/>
              <p:nvPr/>
            </p:nvSpPr>
            <p:spPr>
              <a:xfrm>
                <a:off x="8370773" y="3455873"/>
                <a:ext cx="204895" cy="116682"/>
              </a:xfrm>
              <a:custGeom>
                <a:avLst/>
                <a:gdLst>
                  <a:gd name="connsiteX0" fmla="*/ 159544 w 204895"/>
                  <a:gd name="connsiteY0" fmla="*/ 38100 h 116682"/>
                  <a:gd name="connsiteX1" fmla="*/ 147638 w 204895"/>
                  <a:gd name="connsiteY1" fmla="*/ 28575 h 116682"/>
                  <a:gd name="connsiteX2" fmla="*/ 126207 w 204895"/>
                  <a:gd name="connsiteY2" fmla="*/ 9525 h 116682"/>
                  <a:gd name="connsiteX3" fmla="*/ 92869 w 204895"/>
                  <a:gd name="connsiteY3" fmla="*/ 2382 h 116682"/>
                  <a:gd name="connsiteX4" fmla="*/ 85725 w 204895"/>
                  <a:gd name="connsiteY4" fmla="*/ 0 h 116682"/>
                  <a:gd name="connsiteX5" fmla="*/ 50007 w 204895"/>
                  <a:gd name="connsiteY5" fmla="*/ 4763 h 116682"/>
                  <a:gd name="connsiteX6" fmla="*/ 42863 w 204895"/>
                  <a:gd name="connsiteY6" fmla="*/ 9525 h 116682"/>
                  <a:gd name="connsiteX7" fmla="*/ 26194 w 204895"/>
                  <a:gd name="connsiteY7" fmla="*/ 30957 h 116682"/>
                  <a:gd name="connsiteX8" fmla="*/ 16669 w 204895"/>
                  <a:gd name="connsiteY8" fmla="*/ 42863 h 116682"/>
                  <a:gd name="connsiteX9" fmla="*/ 4763 w 204895"/>
                  <a:gd name="connsiteY9" fmla="*/ 61913 h 116682"/>
                  <a:gd name="connsiteX10" fmla="*/ 0 w 204895"/>
                  <a:gd name="connsiteY10" fmla="*/ 69057 h 116682"/>
                  <a:gd name="connsiteX11" fmla="*/ 2382 w 204895"/>
                  <a:gd name="connsiteY11" fmla="*/ 92869 h 116682"/>
                  <a:gd name="connsiteX12" fmla="*/ 11907 w 204895"/>
                  <a:gd name="connsiteY12" fmla="*/ 107157 h 116682"/>
                  <a:gd name="connsiteX13" fmla="*/ 14288 w 204895"/>
                  <a:gd name="connsiteY13" fmla="*/ 114300 h 116682"/>
                  <a:gd name="connsiteX14" fmla="*/ 23813 w 204895"/>
                  <a:gd name="connsiteY14" fmla="*/ 116682 h 116682"/>
                  <a:gd name="connsiteX15" fmla="*/ 88107 w 204895"/>
                  <a:gd name="connsiteY15" fmla="*/ 114300 h 116682"/>
                  <a:gd name="connsiteX16" fmla="*/ 107157 w 204895"/>
                  <a:gd name="connsiteY16" fmla="*/ 111919 h 116682"/>
                  <a:gd name="connsiteX17" fmla="*/ 200025 w 204895"/>
                  <a:gd name="connsiteY17" fmla="*/ 107157 h 116682"/>
                  <a:gd name="connsiteX18" fmla="*/ 204788 w 204895"/>
                  <a:gd name="connsiteY18" fmla="*/ 100013 h 116682"/>
                  <a:gd name="connsiteX19" fmla="*/ 202407 w 204895"/>
                  <a:gd name="connsiteY19" fmla="*/ 80963 h 116682"/>
                  <a:gd name="connsiteX20" fmla="*/ 195263 w 204895"/>
                  <a:gd name="connsiteY20" fmla="*/ 64294 h 116682"/>
                  <a:gd name="connsiteX21" fmla="*/ 188119 w 204895"/>
                  <a:gd name="connsiteY21" fmla="*/ 57150 h 116682"/>
                  <a:gd name="connsiteX22" fmla="*/ 176213 w 204895"/>
                  <a:gd name="connsiteY22" fmla="*/ 47625 h 116682"/>
                  <a:gd name="connsiteX23" fmla="*/ 171450 w 204895"/>
                  <a:gd name="connsiteY23" fmla="*/ 40482 h 116682"/>
                  <a:gd name="connsiteX24" fmla="*/ 161925 w 204895"/>
                  <a:gd name="connsiteY24" fmla="*/ 35719 h 116682"/>
                  <a:gd name="connsiteX25" fmla="*/ 159544 w 204895"/>
                  <a:gd name="connsiteY25" fmla="*/ 28575 h 116682"/>
                  <a:gd name="connsiteX26" fmla="*/ 159544 w 204895"/>
                  <a:gd name="connsiteY26" fmla="*/ 38100 h 116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4895" h="116682">
                    <a:moveTo>
                      <a:pt x="159544" y="38100"/>
                    </a:moveTo>
                    <a:cubicBezTo>
                      <a:pt x="157560" y="38100"/>
                      <a:pt x="151399" y="31994"/>
                      <a:pt x="147638" y="28575"/>
                    </a:cubicBezTo>
                    <a:cubicBezTo>
                      <a:pt x="142493" y="23898"/>
                      <a:pt x="134209" y="13081"/>
                      <a:pt x="126207" y="9525"/>
                    </a:cubicBezTo>
                    <a:cubicBezTo>
                      <a:pt x="112932" y="3625"/>
                      <a:pt x="107870" y="4257"/>
                      <a:pt x="92869" y="2382"/>
                    </a:cubicBezTo>
                    <a:cubicBezTo>
                      <a:pt x="90488" y="1588"/>
                      <a:pt x="88235" y="0"/>
                      <a:pt x="85725" y="0"/>
                    </a:cubicBezTo>
                    <a:cubicBezTo>
                      <a:pt x="80406" y="0"/>
                      <a:pt x="59454" y="40"/>
                      <a:pt x="50007" y="4763"/>
                    </a:cubicBezTo>
                    <a:cubicBezTo>
                      <a:pt x="47447" y="6043"/>
                      <a:pt x="45244" y="7938"/>
                      <a:pt x="42863" y="9525"/>
                    </a:cubicBezTo>
                    <a:cubicBezTo>
                      <a:pt x="31470" y="26615"/>
                      <a:pt x="37385" y="19766"/>
                      <a:pt x="26194" y="30957"/>
                    </a:cubicBezTo>
                    <a:cubicBezTo>
                      <a:pt x="20209" y="48911"/>
                      <a:pt x="28979" y="27476"/>
                      <a:pt x="16669" y="42863"/>
                    </a:cubicBezTo>
                    <a:cubicBezTo>
                      <a:pt x="11991" y="48710"/>
                      <a:pt x="8783" y="55596"/>
                      <a:pt x="4763" y="61913"/>
                    </a:cubicBezTo>
                    <a:cubicBezTo>
                      <a:pt x="3226" y="64328"/>
                      <a:pt x="0" y="69057"/>
                      <a:pt x="0" y="69057"/>
                    </a:cubicBezTo>
                    <a:cubicBezTo>
                      <a:pt x="794" y="76994"/>
                      <a:pt x="3" y="85255"/>
                      <a:pt x="2382" y="92869"/>
                    </a:cubicBezTo>
                    <a:cubicBezTo>
                      <a:pt x="4089" y="98332"/>
                      <a:pt x="11907" y="107157"/>
                      <a:pt x="11907" y="107157"/>
                    </a:cubicBezTo>
                    <a:cubicBezTo>
                      <a:pt x="12701" y="109538"/>
                      <a:pt x="12328" y="112732"/>
                      <a:pt x="14288" y="114300"/>
                    </a:cubicBezTo>
                    <a:cubicBezTo>
                      <a:pt x="16844" y="116345"/>
                      <a:pt x="20540" y="116682"/>
                      <a:pt x="23813" y="116682"/>
                    </a:cubicBezTo>
                    <a:cubicBezTo>
                      <a:pt x="45259" y="116682"/>
                      <a:pt x="66676" y="115094"/>
                      <a:pt x="88107" y="114300"/>
                    </a:cubicBezTo>
                    <a:cubicBezTo>
                      <a:pt x="94457" y="113506"/>
                      <a:pt x="100765" y="112223"/>
                      <a:pt x="107157" y="111919"/>
                    </a:cubicBezTo>
                    <a:lnTo>
                      <a:pt x="200025" y="107157"/>
                    </a:lnTo>
                    <a:cubicBezTo>
                      <a:pt x="201613" y="104776"/>
                      <a:pt x="204529" y="102863"/>
                      <a:pt x="204788" y="100013"/>
                    </a:cubicBezTo>
                    <a:cubicBezTo>
                      <a:pt x="205368" y="93640"/>
                      <a:pt x="203459" y="87275"/>
                      <a:pt x="202407" y="80963"/>
                    </a:cubicBezTo>
                    <a:cubicBezTo>
                      <a:pt x="201083" y="73023"/>
                      <a:pt x="200308" y="70348"/>
                      <a:pt x="195263" y="64294"/>
                    </a:cubicBezTo>
                    <a:cubicBezTo>
                      <a:pt x="193107" y="61707"/>
                      <a:pt x="190275" y="59737"/>
                      <a:pt x="188119" y="57150"/>
                    </a:cubicBezTo>
                    <a:cubicBezTo>
                      <a:pt x="179834" y="47208"/>
                      <a:pt x="187941" y="51535"/>
                      <a:pt x="176213" y="47625"/>
                    </a:cubicBezTo>
                    <a:cubicBezTo>
                      <a:pt x="174625" y="45244"/>
                      <a:pt x="173649" y="42314"/>
                      <a:pt x="171450" y="40482"/>
                    </a:cubicBezTo>
                    <a:cubicBezTo>
                      <a:pt x="168723" y="38210"/>
                      <a:pt x="164435" y="38229"/>
                      <a:pt x="161925" y="35719"/>
                    </a:cubicBezTo>
                    <a:cubicBezTo>
                      <a:pt x="160150" y="33944"/>
                      <a:pt x="160666" y="30820"/>
                      <a:pt x="159544" y="28575"/>
                    </a:cubicBezTo>
                    <a:cubicBezTo>
                      <a:pt x="159042" y="27571"/>
                      <a:pt x="161528" y="38100"/>
                      <a:pt x="159544" y="381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3" name="Freeform 232"/>
              <p:cNvSpPr/>
              <p:nvPr/>
            </p:nvSpPr>
            <p:spPr>
              <a:xfrm>
                <a:off x="8358421" y="3222551"/>
                <a:ext cx="100864" cy="124819"/>
              </a:xfrm>
              <a:custGeom>
                <a:avLst/>
                <a:gdLst>
                  <a:gd name="connsiteX0" fmla="*/ 71884 w 100864"/>
                  <a:gd name="connsiteY0" fmla="*/ 2341 h 124819"/>
                  <a:gd name="connsiteX1" fmla="*/ 17115 w 100864"/>
                  <a:gd name="connsiteY1" fmla="*/ 2341 h 124819"/>
                  <a:gd name="connsiteX2" fmla="*/ 9971 w 100864"/>
                  <a:gd name="connsiteY2" fmla="*/ 7104 h 124819"/>
                  <a:gd name="connsiteX3" fmla="*/ 7590 w 100864"/>
                  <a:gd name="connsiteY3" fmla="*/ 14247 h 124819"/>
                  <a:gd name="connsiteX4" fmla="*/ 446 w 100864"/>
                  <a:gd name="connsiteY4" fmla="*/ 21391 h 124819"/>
                  <a:gd name="connsiteX5" fmla="*/ 2827 w 100864"/>
                  <a:gd name="connsiteY5" fmla="*/ 42822 h 124819"/>
                  <a:gd name="connsiteX6" fmla="*/ 9971 w 100864"/>
                  <a:gd name="connsiteY6" fmla="*/ 49966 h 124819"/>
                  <a:gd name="connsiteX7" fmla="*/ 17115 w 100864"/>
                  <a:gd name="connsiteY7" fmla="*/ 59491 h 124819"/>
                  <a:gd name="connsiteX8" fmla="*/ 29021 w 100864"/>
                  <a:gd name="connsiteY8" fmla="*/ 73779 h 124819"/>
                  <a:gd name="connsiteX9" fmla="*/ 33784 w 100864"/>
                  <a:gd name="connsiteY9" fmla="*/ 90447 h 124819"/>
                  <a:gd name="connsiteX10" fmla="*/ 36165 w 100864"/>
                  <a:gd name="connsiteY10" fmla="*/ 99972 h 124819"/>
                  <a:gd name="connsiteX11" fmla="*/ 43309 w 100864"/>
                  <a:gd name="connsiteY11" fmla="*/ 109497 h 124819"/>
                  <a:gd name="connsiteX12" fmla="*/ 71884 w 100864"/>
                  <a:gd name="connsiteY12" fmla="*/ 121404 h 124819"/>
                  <a:gd name="connsiteX13" fmla="*/ 98077 w 100864"/>
                  <a:gd name="connsiteY13" fmla="*/ 114260 h 124819"/>
                  <a:gd name="connsiteX14" fmla="*/ 100459 w 100864"/>
                  <a:gd name="connsiteY14" fmla="*/ 107116 h 124819"/>
                  <a:gd name="connsiteX15" fmla="*/ 95696 w 100864"/>
                  <a:gd name="connsiteY15" fmla="*/ 83304 h 124819"/>
                  <a:gd name="connsiteX16" fmla="*/ 98077 w 100864"/>
                  <a:gd name="connsiteY16" fmla="*/ 45204 h 124819"/>
                  <a:gd name="connsiteX17" fmla="*/ 98077 w 100864"/>
                  <a:gd name="connsiteY17" fmla="*/ 23772 h 124819"/>
                  <a:gd name="connsiteX18" fmla="*/ 86171 w 100864"/>
                  <a:gd name="connsiteY18" fmla="*/ 11866 h 124819"/>
                  <a:gd name="connsiteX19" fmla="*/ 79027 w 100864"/>
                  <a:gd name="connsiteY19" fmla="*/ 9485 h 124819"/>
                  <a:gd name="connsiteX20" fmla="*/ 71884 w 100864"/>
                  <a:gd name="connsiteY20" fmla="*/ 2341 h 12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864" h="124819">
                    <a:moveTo>
                      <a:pt x="71884" y="2341"/>
                    </a:moveTo>
                    <a:cubicBezTo>
                      <a:pt x="61565" y="1150"/>
                      <a:pt x="35572" y="-2273"/>
                      <a:pt x="17115" y="2341"/>
                    </a:cubicBezTo>
                    <a:cubicBezTo>
                      <a:pt x="14338" y="3035"/>
                      <a:pt x="12352" y="5516"/>
                      <a:pt x="9971" y="7104"/>
                    </a:cubicBezTo>
                    <a:cubicBezTo>
                      <a:pt x="9177" y="9485"/>
                      <a:pt x="8982" y="12159"/>
                      <a:pt x="7590" y="14247"/>
                    </a:cubicBezTo>
                    <a:cubicBezTo>
                      <a:pt x="5722" y="17049"/>
                      <a:pt x="1000" y="18069"/>
                      <a:pt x="446" y="21391"/>
                    </a:cubicBezTo>
                    <a:cubicBezTo>
                      <a:pt x="-736" y="28481"/>
                      <a:pt x="554" y="36003"/>
                      <a:pt x="2827" y="42822"/>
                    </a:cubicBezTo>
                    <a:cubicBezTo>
                      <a:pt x="3892" y="46017"/>
                      <a:pt x="7779" y="47409"/>
                      <a:pt x="9971" y="49966"/>
                    </a:cubicBezTo>
                    <a:cubicBezTo>
                      <a:pt x="12554" y="52979"/>
                      <a:pt x="14532" y="56478"/>
                      <a:pt x="17115" y="59491"/>
                    </a:cubicBezTo>
                    <a:cubicBezTo>
                      <a:pt x="30863" y="75530"/>
                      <a:pt x="18499" y="57994"/>
                      <a:pt x="29021" y="73779"/>
                    </a:cubicBezTo>
                    <a:cubicBezTo>
                      <a:pt x="36465" y="103557"/>
                      <a:pt x="26951" y="66534"/>
                      <a:pt x="33784" y="90447"/>
                    </a:cubicBezTo>
                    <a:cubicBezTo>
                      <a:pt x="34683" y="93594"/>
                      <a:pt x="34701" y="97045"/>
                      <a:pt x="36165" y="99972"/>
                    </a:cubicBezTo>
                    <a:cubicBezTo>
                      <a:pt x="37940" y="103522"/>
                      <a:pt x="40928" y="106322"/>
                      <a:pt x="43309" y="109497"/>
                    </a:cubicBezTo>
                    <a:cubicBezTo>
                      <a:pt x="50593" y="131353"/>
                      <a:pt x="43076" y="124284"/>
                      <a:pt x="71884" y="121404"/>
                    </a:cubicBezTo>
                    <a:cubicBezTo>
                      <a:pt x="93369" y="116032"/>
                      <a:pt x="84724" y="118711"/>
                      <a:pt x="98077" y="114260"/>
                    </a:cubicBezTo>
                    <a:cubicBezTo>
                      <a:pt x="98871" y="111879"/>
                      <a:pt x="100459" y="109626"/>
                      <a:pt x="100459" y="107116"/>
                    </a:cubicBezTo>
                    <a:cubicBezTo>
                      <a:pt x="100459" y="101283"/>
                      <a:pt x="97268" y="89594"/>
                      <a:pt x="95696" y="83304"/>
                    </a:cubicBezTo>
                    <a:cubicBezTo>
                      <a:pt x="96490" y="70604"/>
                      <a:pt x="96811" y="57866"/>
                      <a:pt x="98077" y="45204"/>
                    </a:cubicBezTo>
                    <a:cubicBezTo>
                      <a:pt x="99397" y="32004"/>
                      <a:pt x="103629" y="38576"/>
                      <a:pt x="98077" y="23772"/>
                    </a:cubicBezTo>
                    <a:cubicBezTo>
                      <a:pt x="95879" y="17911"/>
                      <a:pt x="91544" y="14552"/>
                      <a:pt x="86171" y="11866"/>
                    </a:cubicBezTo>
                    <a:cubicBezTo>
                      <a:pt x="83926" y="10743"/>
                      <a:pt x="81441" y="10175"/>
                      <a:pt x="79027" y="9485"/>
                    </a:cubicBezTo>
                    <a:cubicBezTo>
                      <a:pt x="75880" y="8586"/>
                      <a:pt x="82203" y="3532"/>
                      <a:pt x="71884" y="234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4" name="Freeform 233"/>
              <p:cNvSpPr/>
              <p:nvPr/>
            </p:nvSpPr>
            <p:spPr>
              <a:xfrm>
                <a:off x="8591537" y="2477180"/>
                <a:ext cx="122136" cy="171751"/>
              </a:xfrm>
              <a:custGeom>
                <a:avLst/>
                <a:gdLst>
                  <a:gd name="connsiteX0" fmla="*/ 3074 w 122136"/>
                  <a:gd name="connsiteY0" fmla="*/ 92868 h 171751"/>
                  <a:gd name="connsiteX1" fmla="*/ 17361 w 122136"/>
                  <a:gd name="connsiteY1" fmla="*/ 66675 h 171751"/>
                  <a:gd name="connsiteX2" fmla="*/ 22124 w 122136"/>
                  <a:gd name="connsiteY2" fmla="*/ 59531 h 171751"/>
                  <a:gd name="connsiteX3" fmla="*/ 31649 w 122136"/>
                  <a:gd name="connsiteY3" fmla="*/ 42862 h 171751"/>
                  <a:gd name="connsiteX4" fmla="*/ 36411 w 122136"/>
                  <a:gd name="connsiteY4" fmla="*/ 35718 h 171751"/>
                  <a:gd name="connsiteX5" fmla="*/ 38793 w 122136"/>
                  <a:gd name="connsiteY5" fmla="*/ 28575 h 171751"/>
                  <a:gd name="connsiteX6" fmla="*/ 45936 w 122136"/>
                  <a:gd name="connsiteY6" fmla="*/ 23812 h 171751"/>
                  <a:gd name="connsiteX7" fmla="*/ 60224 w 122136"/>
                  <a:gd name="connsiteY7" fmla="*/ 11906 h 171751"/>
                  <a:gd name="connsiteX8" fmla="*/ 88799 w 122136"/>
                  <a:gd name="connsiteY8" fmla="*/ 2381 h 171751"/>
                  <a:gd name="connsiteX9" fmla="*/ 95943 w 122136"/>
                  <a:gd name="connsiteY9" fmla="*/ 0 h 171751"/>
                  <a:gd name="connsiteX10" fmla="*/ 105468 w 122136"/>
                  <a:gd name="connsiteY10" fmla="*/ 2381 h 171751"/>
                  <a:gd name="connsiteX11" fmla="*/ 112611 w 122136"/>
                  <a:gd name="connsiteY11" fmla="*/ 16668 h 171751"/>
                  <a:gd name="connsiteX12" fmla="*/ 117374 w 122136"/>
                  <a:gd name="connsiteY12" fmla="*/ 23812 h 171751"/>
                  <a:gd name="connsiteX13" fmla="*/ 122136 w 122136"/>
                  <a:gd name="connsiteY13" fmla="*/ 50006 h 171751"/>
                  <a:gd name="connsiteX14" fmla="*/ 112611 w 122136"/>
                  <a:gd name="connsiteY14" fmla="*/ 73818 h 171751"/>
                  <a:gd name="connsiteX15" fmla="*/ 103086 w 122136"/>
                  <a:gd name="connsiteY15" fmla="*/ 76200 h 171751"/>
                  <a:gd name="connsiteX16" fmla="*/ 93561 w 122136"/>
                  <a:gd name="connsiteY16" fmla="*/ 92868 h 171751"/>
                  <a:gd name="connsiteX17" fmla="*/ 86418 w 122136"/>
                  <a:gd name="connsiteY17" fmla="*/ 114300 h 171751"/>
                  <a:gd name="connsiteX18" fmla="*/ 84036 w 122136"/>
                  <a:gd name="connsiteY18" fmla="*/ 121443 h 171751"/>
                  <a:gd name="connsiteX19" fmla="*/ 79274 w 122136"/>
                  <a:gd name="connsiteY19" fmla="*/ 130968 h 171751"/>
                  <a:gd name="connsiteX20" fmla="*/ 45936 w 122136"/>
                  <a:gd name="connsiteY20" fmla="*/ 157162 h 171751"/>
                  <a:gd name="connsiteX21" fmla="*/ 38793 w 122136"/>
                  <a:gd name="connsiteY21" fmla="*/ 171450 h 171751"/>
                  <a:gd name="connsiteX22" fmla="*/ 22124 w 122136"/>
                  <a:gd name="connsiteY22" fmla="*/ 169068 h 171751"/>
                  <a:gd name="connsiteX23" fmla="*/ 17361 w 122136"/>
                  <a:gd name="connsiteY23" fmla="*/ 154781 h 171751"/>
                  <a:gd name="connsiteX24" fmla="*/ 12599 w 122136"/>
                  <a:gd name="connsiteY24" fmla="*/ 114300 h 171751"/>
                  <a:gd name="connsiteX25" fmla="*/ 7836 w 122136"/>
                  <a:gd name="connsiteY25" fmla="*/ 107156 h 171751"/>
                  <a:gd name="connsiteX26" fmla="*/ 693 w 122136"/>
                  <a:gd name="connsiteY26" fmla="*/ 102393 h 171751"/>
                  <a:gd name="connsiteX27" fmla="*/ 3074 w 122136"/>
                  <a:gd name="connsiteY27" fmla="*/ 92868 h 17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136" h="171751">
                    <a:moveTo>
                      <a:pt x="3074" y="92868"/>
                    </a:moveTo>
                    <a:cubicBezTo>
                      <a:pt x="9961" y="75648"/>
                      <a:pt x="5465" y="84518"/>
                      <a:pt x="17361" y="66675"/>
                    </a:cubicBezTo>
                    <a:lnTo>
                      <a:pt x="22124" y="59531"/>
                    </a:lnTo>
                    <a:cubicBezTo>
                      <a:pt x="25988" y="47937"/>
                      <a:pt x="22638" y="55478"/>
                      <a:pt x="31649" y="42862"/>
                    </a:cubicBezTo>
                    <a:cubicBezTo>
                      <a:pt x="33312" y="40533"/>
                      <a:pt x="35131" y="38278"/>
                      <a:pt x="36411" y="35718"/>
                    </a:cubicBezTo>
                    <a:cubicBezTo>
                      <a:pt x="37534" y="33473"/>
                      <a:pt x="37225" y="30535"/>
                      <a:pt x="38793" y="28575"/>
                    </a:cubicBezTo>
                    <a:cubicBezTo>
                      <a:pt x="40581" y="26340"/>
                      <a:pt x="43738" y="25644"/>
                      <a:pt x="45936" y="23812"/>
                    </a:cubicBezTo>
                    <a:cubicBezTo>
                      <a:pt x="52346" y="18470"/>
                      <a:pt x="52621" y="15285"/>
                      <a:pt x="60224" y="11906"/>
                    </a:cubicBezTo>
                    <a:cubicBezTo>
                      <a:pt x="60240" y="11899"/>
                      <a:pt x="88783" y="2386"/>
                      <a:pt x="88799" y="2381"/>
                    </a:cubicBezTo>
                    <a:lnTo>
                      <a:pt x="95943" y="0"/>
                    </a:lnTo>
                    <a:cubicBezTo>
                      <a:pt x="99118" y="794"/>
                      <a:pt x="102745" y="566"/>
                      <a:pt x="105468" y="2381"/>
                    </a:cubicBezTo>
                    <a:cubicBezTo>
                      <a:pt x="110585" y="5793"/>
                      <a:pt x="110234" y="11915"/>
                      <a:pt x="112611" y="16668"/>
                    </a:cubicBezTo>
                    <a:cubicBezTo>
                      <a:pt x="113891" y="19228"/>
                      <a:pt x="115786" y="21431"/>
                      <a:pt x="117374" y="23812"/>
                    </a:cubicBezTo>
                    <a:cubicBezTo>
                      <a:pt x="119458" y="32149"/>
                      <a:pt x="122136" y="41473"/>
                      <a:pt x="122136" y="50006"/>
                    </a:cubicBezTo>
                    <a:cubicBezTo>
                      <a:pt x="122136" y="60440"/>
                      <a:pt x="122010" y="68447"/>
                      <a:pt x="112611" y="73818"/>
                    </a:cubicBezTo>
                    <a:cubicBezTo>
                      <a:pt x="109769" y="75442"/>
                      <a:pt x="106261" y="75406"/>
                      <a:pt x="103086" y="76200"/>
                    </a:cubicBezTo>
                    <a:cubicBezTo>
                      <a:pt x="98792" y="82641"/>
                      <a:pt x="96581" y="85318"/>
                      <a:pt x="93561" y="92868"/>
                    </a:cubicBezTo>
                    <a:cubicBezTo>
                      <a:pt x="93557" y="92878"/>
                      <a:pt x="87611" y="110723"/>
                      <a:pt x="86418" y="114300"/>
                    </a:cubicBezTo>
                    <a:cubicBezTo>
                      <a:pt x="85624" y="116681"/>
                      <a:pt x="85158" y="119198"/>
                      <a:pt x="84036" y="121443"/>
                    </a:cubicBezTo>
                    <a:lnTo>
                      <a:pt x="79274" y="130968"/>
                    </a:lnTo>
                    <a:cubicBezTo>
                      <a:pt x="72636" y="164153"/>
                      <a:pt x="82578" y="154109"/>
                      <a:pt x="45936" y="157162"/>
                    </a:cubicBezTo>
                    <a:cubicBezTo>
                      <a:pt x="45133" y="159571"/>
                      <a:pt x="42116" y="170712"/>
                      <a:pt x="38793" y="171450"/>
                    </a:cubicBezTo>
                    <a:cubicBezTo>
                      <a:pt x="33314" y="172667"/>
                      <a:pt x="27680" y="169862"/>
                      <a:pt x="22124" y="169068"/>
                    </a:cubicBezTo>
                    <a:cubicBezTo>
                      <a:pt x="20536" y="164306"/>
                      <a:pt x="17719" y="159788"/>
                      <a:pt x="17361" y="154781"/>
                    </a:cubicBezTo>
                    <a:cubicBezTo>
                      <a:pt x="16985" y="149519"/>
                      <a:pt x="18011" y="125123"/>
                      <a:pt x="12599" y="114300"/>
                    </a:cubicBezTo>
                    <a:cubicBezTo>
                      <a:pt x="11319" y="111740"/>
                      <a:pt x="9860" y="109180"/>
                      <a:pt x="7836" y="107156"/>
                    </a:cubicBezTo>
                    <a:cubicBezTo>
                      <a:pt x="5812" y="105132"/>
                      <a:pt x="2982" y="104110"/>
                      <a:pt x="693" y="102393"/>
                    </a:cubicBezTo>
                    <a:cubicBezTo>
                      <a:pt x="-205" y="101719"/>
                      <a:pt x="-895" y="100806"/>
                      <a:pt x="3074" y="9286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5" name="Freeform 234"/>
              <p:cNvSpPr/>
              <p:nvPr/>
            </p:nvSpPr>
            <p:spPr>
              <a:xfrm>
                <a:off x="8366448" y="2598452"/>
                <a:ext cx="363894" cy="759790"/>
              </a:xfrm>
              <a:custGeom>
                <a:avLst/>
                <a:gdLst>
                  <a:gd name="connsiteX0" fmla="*/ 168632 w 363894"/>
                  <a:gd name="connsiteY0" fmla="*/ 171 h 759790"/>
                  <a:gd name="connsiteX1" fmla="*/ 142438 w 363894"/>
                  <a:gd name="connsiteY1" fmla="*/ 4934 h 759790"/>
                  <a:gd name="connsiteX2" fmla="*/ 128150 w 363894"/>
                  <a:gd name="connsiteY2" fmla="*/ 19221 h 759790"/>
                  <a:gd name="connsiteX3" fmla="*/ 121007 w 363894"/>
                  <a:gd name="connsiteY3" fmla="*/ 23984 h 759790"/>
                  <a:gd name="connsiteX4" fmla="*/ 113863 w 363894"/>
                  <a:gd name="connsiteY4" fmla="*/ 31128 h 759790"/>
                  <a:gd name="connsiteX5" fmla="*/ 106719 w 363894"/>
                  <a:gd name="connsiteY5" fmla="*/ 35890 h 759790"/>
                  <a:gd name="connsiteX6" fmla="*/ 92432 w 363894"/>
                  <a:gd name="connsiteY6" fmla="*/ 40653 h 759790"/>
                  <a:gd name="connsiteX7" fmla="*/ 82907 w 363894"/>
                  <a:gd name="connsiteY7" fmla="*/ 54940 h 759790"/>
                  <a:gd name="connsiteX8" fmla="*/ 80525 w 363894"/>
                  <a:gd name="connsiteY8" fmla="*/ 62084 h 759790"/>
                  <a:gd name="connsiteX9" fmla="*/ 73382 w 363894"/>
                  <a:gd name="connsiteY9" fmla="*/ 69228 h 759790"/>
                  <a:gd name="connsiteX10" fmla="*/ 59094 w 363894"/>
                  <a:gd name="connsiteY10" fmla="*/ 93040 h 759790"/>
                  <a:gd name="connsiteX11" fmla="*/ 54332 w 363894"/>
                  <a:gd name="connsiteY11" fmla="*/ 100184 h 759790"/>
                  <a:gd name="connsiteX12" fmla="*/ 49569 w 363894"/>
                  <a:gd name="connsiteY12" fmla="*/ 114471 h 759790"/>
                  <a:gd name="connsiteX13" fmla="*/ 42425 w 363894"/>
                  <a:gd name="connsiteY13" fmla="*/ 135903 h 759790"/>
                  <a:gd name="connsiteX14" fmla="*/ 40044 w 363894"/>
                  <a:gd name="connsiteY14" fmla="*/ 143046 h 759790"/>
                  <a:gd name="connsiteX15" fmla="*/ 37663 w 363894"/>
                  <a:gd name="connsiteY15" fmla="*/ 150190 h 759790"/>
                  <a:gd name="connsiteX16" fmla="*/ 32900 w 363894"/>
                  <a:gd name="connsiteY16" fmla="*/ 188290 h 759790"/>
                  <a:gd name="connsiteX17" fmla="*/ 30519 w 363894"/>
                  <a:gd name="connsiteY17" fmla="*/ 195434 h 759790"/>
                  <a:gd name="connsiteX18" fmla="*/ 23375 w 363894"/>
                  <a:gd name="connsiteY18" fmla="*/ 200196 h 759790"/>
                  <a:gd name="connsiteX19" fmla="*/ 18613 w 363894"/>
                  <a:gd name="connsiteY19" fmla="*/ 219246 h 759790"/>
                  <a:gd name="connsiteX20" fmla="*/ 16232 w 363894"/>
                  <a:gd name="connsiteY20" fmla="*/ 226390 h 759790"/>
                  <a:gd name="connsiteX21" fmla="*/ 9088 w 363894"/>
                  <a:gd name="connsiteY21" fmla="*/ 231153 h 759790"/>
                  <a:gd name="connsiteX22" fmla="*/ 6707 w 363894"/>
                  <a:gd name="connsiteY22" fmla="*/ 295446 h 759790"/>
                  <a:gd name="connsiteX23" fmla="*/ 11469 w 363894"/>
                  <a:gd name="connsiteY23" fmla="*/ 302590 h 759790"/>
                  <a:gd name="connsiteX24" fmla="*/ 18613 w 363894"/>
                  <a:gd name="connsiteY24" fmla="*/ 304971 h 759790"/>
                  <a:gd name="connsiteX25" fmla="*/ 28138 w 363894"/>
                  <a:gd name="connsiteY25" fmla="*/ 319259 h 759790"/>
                  <a:gd name="connsiteX26" fmla="*/ 32900 w 363894"/>
                  <a:gd name="connsiteY26" fmla="*/ 333546 h 759790"/>
                  <a:gd name="connsiteX27" fmla="*/ 37663 w 363894"/>
                  <a:gd name="connsiteY27" fmla="*/ 347834 h 759790"/>
                  <a:gd name="connsiteX28" fmla="*/ 40044 w 363894"/>
                  <a:gd name="connsiteY28" fmla="*/ 359740 h 759790"/>
                  <a:gd name="connsiteX29" fmla="*/ 47188 w 363894"/>
                  <a:gd name="connsiteY29" fmla="*/ 395459 h 759790"/>
                  <a:gd name="connsiteX30" fmla="*/ 49569 w 363894"/>
                  <a:gd name="connsiteY30" fmla="*/ 402603 h 759790"/>
                  <a:gd name="connsiteX31" fmla="*/ 68619 w 363894"/>
                  <a:gd name="connsiteY31" fmla="*/ 426415 h 759790"/>
                  <a:gd name="connsiteX32" fmla="*/ 78144 w 363894"/>
                  <a:gd name="connsiteY32" fmla="*/ 447846 h 759790"/>
                  <a:gd name="connsiteX33" fmla="*/ 85288 w 363894"/>
                  <a:gd name="connsiteY33" fmla="*/ 469278 h 759790"/>
                  <a:gd name="connsiteX34" fmla="*/ 87669 w 363894"/>
                  <a:gd name="connsiteY34" fmla="*/ 476421 h 759790"/>
                  <a:gd name="connsiteX35" fmla="*/ 90050 w 363894"/>
                  <a:gd name="connsiteY35" fmla="*/ 483565 h 759790"/>
                  <a:gd name="connsiteX36" fmla="*/ 92432 w 363894"/>
                  <a:gd name="connsiteY36" fmla="*/ 521665 h 759790"/>
                  <a:gd name="connsiteX37" fmla="*/ 94813 w 363894"/>
                  <a:gd name="connsiteY37" fmla="*/ 597865 h 759790"/>
                  <a:gd name="connsiteX38" fmla="*/ 97194 w 363894"/>
                  <a:gd name="connsiteY38" fmla="*/ 605009 h 759790"/>
                  <a:gd name="connsiteX39" fmla="*/ 104338 w 363894"/>
                  <a:gd name="connsiteY39" fmla="*/ 609771 h 759790"/>
                  <a:gd name="connsiteX40" fmla="*/ 109100 w 363894"/>
                  <a:gd name="connsiteY40" fmla="*/ 616915 h 759790"/>
                  <a:gd name="connsiteX41" fmla="*/ 116244 w 363894"/>
                  <a:gd name="connsiteY41" fmla="*/ 619296 h 759790"/>
                  <a:gd name="connsiteX42" fmla="*/ 130532 w 363894"/>
                  <a:gd name="connsiteY42" fmla="*/ 628821 h 759790"/>
                  <a:gd name="connsiteX43" fmla="*/ 130532 w 363894"/>
                  <a:gd name="connsiteY43" fmla="*/ 628821 h 759790"/>
                  <a:gd name="connsiteX44" fmla="*/ 144819 w 363894"/>
                  <a:gd name="connsiteY44" fmla="*/ 643109 h 759790"/>
                  <a:gd name="connsiteX45" fmla="*/ 149582 w 363894"/>
                  <a:gd name="connsiteY45" fmla="*/ 659778 h 759790"/>
                  <a:gd name="connsiteX46" fmla="*/ 154344 w 363894"/>
                  <a:gd name="connsiteY46" fmla="*/ 674065 h 759790"/>
                  <a:gd name="connsiteX47" fmla="*/ 156725 w 363894"/>
                  <a:gd name="connsiteY47" fmla="*/ 681209 h 759790"/>
                  <a:gd name="connsiteX48" fmla="*/ 175775 w 363894"/>
                  <a:gd name="connsiteY48" fmla="*/ 709784 h 759790"/>
                  <a:gd name="connsiteX49" fmla="*/ 185300 w 363894"/>
                  <a:gd name="connsiteY49" fmla="*/ 724071 h 759790"/>
                  <a:gd name="connsiteX50" fmla="*/ 190063 w 363894"/>
                  <a:gd name="connsiteY50" fmla="*/ 731215 h 759790"/>
                  <a:gd name="connsiteX51" fmla="*/ 197207 w 363894"/>
                  <a:gd name="connsiteY51" fmla="*/ 733596 h 759790"/>
                  <a:gd name="connsiteX52" fmla="*/ 201969 w 363894"/>
                  <a:gd name="connsiteY52" fmla="*/ 740740 h 759790"/>
                  <a:gd name="connsiteX53" fmla="*/ 209113 w 363894"/>
                  <a:gd name="connsiteY53" fmla="*/ 745503 h 759790"/>
                  <a:gd name="connsiteX54" fmla="*/ 225782 w 363894"/>
                  <a:gd name="connsiteY54" fmla="*/ 752646 h 759790"/>
                  <a:gd name="connsiteX55" fmla="*/ 240069 w 363894"/>
                  <a:gd name="connsiteY55" fmla="*/ 759790 h 759790"/>
                  <a:gd name="connsiteX56" fmla="*/ 249594 w 363894"/>
                  <a:gd name="connsiteY56" fmla="*/ 757409 h 759790"/>
                  <a:gd name="connsiteX57" fmla="*/ 247213 w 363894"/>
                  <a:gd name="connsiteY57" fmla="*/ 745503 h 759790"/>
                  <a:gd name="connsiteX58" fmla="*/ 242450 w 363894"/>
                  <a:gd name="connsiteY58" fmla="*/ 738359 h 759790"/>
                  <a:gd name="connsiteX59" fmla="*/ 240069 w 363894"/>
                  <a:gd name="connsiteY59" fmla="*/ 728834 h 759790"/>
                  <a:gd name="connsiteX60" fmla="*/ 235307 w 363894"/>
                  <a:gd name="connsiteY60" fmla="*/ 714546 h 759790"/>
                  <a:gd name="connsiteX61" fmla="*/ 221019 w 363894"/>
                  <a:gd name="connsiteY61" fmla="*/ 700259 h 759790"/>
                  <a:gd name="connsiteX62" fmla="*/ 216257 w 363894"/>
                  <a:gd name="connsiteY62" fmla="*/ 693115 h 759790"/>
                  <a:gd name="connsiteX63" fmla="*/ 209113 w 363894"/>
                  <a:gd name="connsiteY63" fmla="*/ 685971 h 759790"/>
                  <a:gd name="connsiteX64" fmla="*/ 199588 w 363894"/>
                  <a:gd name="connsiteY64" fmla="*/ 671684 h 759790"/>
                  <a:gd name="connsiteX65" fmla="*/ 192444 w 363894"/>
                  <a:gd name="connsiteY65" fmla="*/ 662159 h 759790"/>
                  <a:gd name="connsiteX66" fmla="*/ 182919 w 363894"/>
                  <a:gd name="connsiteY66" fmla="*/ 640728 h 759790"/>
                  <a:gd name="connsiteX67" fmla="*/ 180538 w 363894"/>
                  <a:gd name="connsiteY67" fmla="*/ 633584 h 759790"/>
                  <a:gd name="connsiteX68" fmla="*/ 175775 w 363894"/>
                  <a:gd name="connsiteY68" fmla="*/ 626440 h 759790"/>
                  <a:gd name="connsiteX69" fmla="*/ 171013 w 363894"/>
                  <a:gd name="connsiteY69" fmla="*/ 609771 h 759790"/>
                  <a:gd name="connsiteX70" fmla="*/ 166250 w 363894"/>
                  <a:gd name="connsiteY70" fmla="*/ 602628 h 759790"/>
                  <a:gd name="connsiteX71" fmla="*/ 163869 w 363894"/>
                  <a:gd name="connsiteY71" fmla="*/ 595484 h 759790"/>
                  <a:gd name="connsiteX72" fmla="*/ 159107 w 363894"/>
                  <a:gd name="connsiteY72" fmla="*/ 588340 h 759790"/>
                  <a:gd name="connsiteX73" fmla="*/ 156725 w 363894"/>
                  <a:gd name="connsiteY73" fmla="*/ 578815 h 759790"/>
                  <a:gd name="connsiteX74" fmla="*/ 151963 w 363894"/>
                  <a:gd name="connsiteY74" fmla="*/ 562146 h 759790"/>
                  <a:gd name="connsiteX75" fmla="*/ 149582 w 363894"/>
                  <a:gd name="connsiteY75" fmla="*/ 547859 h 759790"/>
                  <a:gd name="connsiteX76" fmla="*/ 151963 w 363894"/>
                  <a:gd name="connsiteY76" fmla="*/ 519284 h 759790"/>
                  <a:gd name="connsiteX77" fmla="*/ 154344 w 363894"/>
                  <a:gd name="connsiteY77" fmla="*/ 512140 h 759790"/>
                  <a:gd name="connsiteX78" fmla="*/ 156725 w 363894"/>
                  <a:gd name="connsiteY78" fmla="*/ 495471 h 759790"/>
                  <a:gd name="connsiteX79" fmla="*/ 154344 w 363894"/>
                  <a:gd name="connsiteY79" fmla="*/ 483565 h 759790"/>
                  <a:gd name="connsiteX80" fmla="*/ 149582 w 363894"/>
                  <a:gd name="connsiteY80" fmla="*/ 469278 h 759790"/>
                  <a:gd name="connsiteX81" fmla="*/ 151963 w 363894"/>
                  <a:gd name="connsiteY81" fmla="*/ 419271 h 759790"/>
                  <a:gd name="connsiteX82" fmla="*/ 166250 w 363894"/>
                  <a:gd name="connsiteY82" fmla="*/ 419271 h 759790"/>
                  <a:gd name="connsiteX83" fmla="*/ 185300 w 363894"/>
                  <a:gd name="connsiteY83" fmla="*/ 424034 h 759790"/>
                  <a:gd name="connsiteX84" fmla="*/ 194825 w 363894"/>
                  <a:gd name="connsiteY84" fmla="*/ 426415 h 759790"/>
                  <a:gd name="connsiteX85" fmla="*/ 201969 w 363894"/>
                  <a:gd name="connsiteY85" fmla="*/ 433559 h 759790"/>
                  <a:gd name="connsiteX86" fmla="*/ 216257 w 363894"/>
                  <a:gd name="connsiteY86" fmla="*/ 445465 h 759790"/>
                  <a:gd name="connsiteX87" fmla="*/ 232925 w 363894"/>
                  <a:gd name="connsiteY87" fmla="*/ 462134 h 759790"/>
                  <a:gd name="connsiteX88" fmla="*/ 282932 w 363894"/>
                  <a:gd name="connsiteY88" fmla="*/ 464515 h 759790"/>
                  <a:gd name="connsiteX89" fmla="*/ 301982 w 363894"/>
                  <a:gd name="connsiteY89" fmla="*/ 466896 h 759790"/>
                  <a:gd name="connsiteX90" fmla="*/ 316269 w 363894"/>
                  <a:gd name="connsiteY90" fmla="*/ 476421 h 759790"/>
                  <a:gd name="connsiteX91" fmla="*/ 332938 w 363894"/>
                  <a:gd name="connsiteY91" fmla="*/ 474040 h 759790"/>
                  <a:gd name="connsiteX92" fmla="*/ 342463 w 363894"/>
                  <a:gd name="connsiteY92" fmla="*/ 471659 h 759790"/>
                  <a:gd name="connsiteX93" fmla="*/ 347225 w 363894"/>
                  <a:gd name="connsiteY93" fmla="*/ 464515 h 759790"/>
                  <a:gd name="connsiteX94" fmla="*/ 344844 w 363894"/>
                  <a:gd name="connsiteY94" fmla="*/ 414509 h 759790"/>
                  <a:gd name="connsiteX95" fmla="*/ 335319 w 363894"/>
                  <a:gd name="connsiteY95" fmla="*/ 402603 h 759790"/>
                  <a:gd name="connsiteX96" fmla="*/ 321032 w 363894"/>
                  <a:gd name="connsiteY96" fmla="*/ 397840 h 759790"/>
                  <a:gd name="connsiteX97" fmla="*/ 301982 w 363894"/>
                  <a:gd name="connsiteY97" fmla="*/ 393078 h 759790"/>
                  <a:gd name="connsiteX98" fmla="*/ 294838 w 363894"/>
                  <a:gd name="connsiteY98" fmla="*/ 388315 h 759790"/>
                  <a:gd name="connsiteX99" fmla="*/ 278169 w 363894"/>
                  <a:gd name="connsiteY99" fmla="*/ 378790 h 759790"/>
                  <a:gd name="connsiteX100" fmla="*/ 263882 w 363894"/>
                  <a:gd name="connsiteY100" fmla="*/ 364503 h 759790"/>
                  <a:gd name="connsiteX101" fmla="*/ 242450 w 363894"/>
                  <a:gd name="connsiteY101" fmla="*/ 354978 h 759790"/>
                  <a:gd name="connsiteX102" fmla="*/ 228163 w 363894"/>
                  <a:gd name="connsiteY102" fmla="*/ 347834 h 759790"/>
                  <a:gd name="connsiteX103" fmla="*/ 223400 w 363894"/>
                  <a:gd name="connsiteY103" fmla="*/ 340690 h 759790"/>
                  <a:gd name="connsiteX104" fmla="*/ 225782 w 363894"/>
                  <a:gd name="connsiteY104" fmla="*/ 333546 h 759790"/>
                  <a:gd name="connsiteX105" fmla="*/ 230544 w 363894"/>
                  <a:gd name="connsiteY105" fmla="*/ 326403 h 759790"/>
                  <a:gd name="connsiteX106" fmla="*/ 266263 w 363894"/>
                  <a:gd name="connsiteY106" fmla="*/ 319259 h 759790"/>
                  <a:gd name="connsiteX107" fmla="*/ 280550 w 363894"/>
                  <a:gd name="connsiteY107" fmla="*/ 309734 h 759790"/>
                  <a:gd name="connsiteX108" fmla="*/ 290075 w 363894"/>
                  <a:gd name="connsiteY108" fmla="*/ 295446 h 759790"/>
                  <a:gd name="connsiteX109" fmla="*/ 330557 w 363894"/>
                  <a:gd name="connsiteY109" fmla="*/ 288303 h 759790"/>
                  <a:gd name="connsiteX110" fmla="*/ 347225 w 363894"/>
                  <a:gd name="connsiteY110" fmla="*/ 276396 h 759790"/>
                  <a:gd name="connsiteX111" fmla="*/ 351988 w 363894"/>
                  <a:gd name="connsiteY111" fmla="*/ 269253 h 759790"/>
                  <a:gd name="connsiteX112" fmla="*/ 356750 w 363894"/>
                  <a:gd name="connsiteY112" fmla="*/ 240678 h 759790"/>
                  <a:gd name="connsiteX113" fmla="*/ 359132 w 363894"/>
                  <a:gd name="connsiteY113" fmla="*/ 233534 h 759790"/>
                  <a:gd name="connsiteX114" fmla="*/ 361513 w 363894"/>
                  <a:gd name="connsiteY114" fmla="*/ 219246 h 759790"/>
                  <a:gd name="connsiteX115" fmla="*/ 363894 w 363894"/>
                  <a:gd name="connsiteY115" fmla="*/ 197815 h 759790"/>
                  <a:gd name="connsiteX116" fmla="*/ 361513 w 363894"/>
                  <a:gd name="connsiteY116" fmla="*/ 188290 h 759790"/>
                  <a:gd name="connsiteX117" fmla="*/ 344844 w 363894"/>
                  <a:gd name="connsiteY117" fmla="*/ 169240 h 759790"/>
                  <a:gd name="connsiteX118" fmla="*/ 325794 w 363894"/>
                  <a:gd name="connsiteY118" fmla="*/ 166859 h 759790"/>
                  <a:gd name="connsiteX119" fmla="*/ 275788 w 363894"/>
                  <a:gd name="connsiteY119" fmla="*/ 171621 h 759790"/>
                  <a:gd name="connsiteX120" fmla="*/ 266263 w 363894"/>
                  <a:gd name="connsiteY120" fmla="*/ 174003 h 759790"/>
                  <a:gd name="connsiteX121" fmla="*/ 249594 w 363894"/>
                  <a:gd name="connsiteY121" fmla="*/ 188290 h 759790"/>
                  <a:gd name="connsiteX122" fmla="*/ 228163 w 363894"/>
                  <a:gd name="connsiteY122" fmla="*/ 195434 h 759790"/>
                  <a:gd name="connsiteX123" fmla="*/ 211494 w 363894"/>
                  <a:gd name="connsiteY123" fmla="*/ 200196 h 759790"/>
                  <a:gd name="connsiteX124" fmla="*/ 204350 w 363894"/>
                  <a:gd name="connsiteY124" fmla="*/ 204959 h 759790"/>
                  <a:gd name="connsiteX125" fmla="*/ 199588 w 363894"/>
                  <a:gd name="connsiteY125" fmla="*/ 212103 h 759790"/>
                  <a:gd name="connsiteX126" fmla="*/ 190063 w 363894"/>
                  <a:gd name="connsiteY126" fmla="*/ 214484 h 759790"/>
                  <a:gd name="connsiteX127" fmla="*/ 187682 w 363894"/>
                  <a:gd name="connsiteY127" fmla="*/ 231153 h 759790"/>
                  <a:gd name="connsiteX128" fmla="*/ 201969 w 363894"/>
                  <a:gd name="connsiteY128" fmla="*/ 240678 h 759790"/>
                  <a:gd name="connsiteX129" fmla="*/ 206732 w 363894"/>
                  <a:gd name="connsiteY129" fmla="*/ 247821 h 759790"/>
                  <a:gd name="connsiteX130" fmla="*/ 204350 w 363894"/>
                  <a:gd name="connsiteY130" fmla="*/ 264490 h 759790"/>
                  <a:gd name="connsiteX131" fmla="*/ 197207 w 363894"/>
                  <a:gd name="connsiteY131" fmla="*/ 269253 h 759790"/>
                  <a:gd name="connsiteX132" fmla="*/ 168632 w 363894"/>
                  <a:gd name="connsiteY132" fmla="*/ 274015 h 759790"/>
                  <a:gd name="connsiteX133" fmla="*/ 154344 w 363894"/>
                  <a:gd name="connsiteY133" fmla="*/ 281159 h 759790"/>
                  <a:gd name="connsiteX134" fmla="*/ 149582 w 363894"/>
                  <a:gd name="connsiteY134" fmla="*/ 290684 h 759790"/>
                  <a:gd name="connsiteX135" fmla="*/ 142438 w 363894"/>
                  <a:gd name="connsiteY135" fmla="*/ 312115 h 759790"/>
                  <a:gd name="connsiteX136" fmla="*/ 135294 w 363894"/>
                  <a:gd name="connsiteY136" fmla="*/ 326403 h 759790"/>
                  <a:gd name="connsiteX137" fmla="*/ 128150 w 363894"/>
                  <a:gd name="connsiteY137" fmla="*/ 331165 h 759790"/>
                  <a:gd name="connsiteX138" fmla="*/ 121007 w 363894"/>
                  <a:gd name="connsiteY138" fmla="*/ 328784 h 759790"/>
                  <a:gd name="connsiteX139" fmla="*/ 113863 w 363894"/>
                  <a:gd name="connsiteY139" fmla="*/ 324021 h 759790"/>
                  <a:gd name="connsiteX140" fmla="*/ 92432 w 363894"/>
                  <a:gd name="connsiteY140" fmla="*/ 321640 h 759790"/>
                  <a:gd name="connsiteX141" fmla="*/ 87669 w 363894"/>
                  <a:gd name="connsiteY141" fmla="*/ 314496 h 759790"/>
                  <a:gd name="connsiteX142" fmla="*/ 82907 w 363894"/>
                  <a:gd name="connsiteY142" fmla="*/ 300209 h 759790"/>
                  <a:gd name="connsiteX143" fmla="*/ 87669 w 363894"/>
                  <a:gd name="connsiteY143" fmla="*/ 293065 h 759790"/>
                  <a:gd name="connsiteX144" fmla="*/ 94813 w 363894"/>
                  <a:gd name="connsiteY144" fmla="*/ 278778 h 759790"/>
                  <a:gd name="connsiteX145" fmla="*/ 101957 w 363894"/>
                  <a:gd name="connsiteY145" fmla="*/ 276396 h 759790"/>
                  <a:gd name="connsiteX146" fmla="*/ 116244 w 363894"/>
                  <a:gd name="connsiteY146" fmla="*/ 266871 h 759790"/>
                  <a:gd name="connsiteX147" fmla="*/ 130532 w 363894"/>
                  <a:gd name="connsiteY147" fmla="*/ 254965 h 759790"/>
                  <a:gd name="connsiteX148" fmla="*/ 132913 w 363894"/>
                  <a:gd name="connsiteY148" fmla="*/ 247821 h 759790"/>
                  <a:gd name="connsiteX149" fmla="*/ 151963 w 363894"/>
                  <a:gd name="connsiteY149" fmla="*/ 226390 h 759790"/>
                  <a:gd name="connsiteX150" fmla="*/ 166250 w 363894"/>
                  <a:gd name="connsiteY150" fmla="*/ 214484 h 759790"/>
                  <a:gd name="connsiteX151" fmla="*/ 175775 w 363894"/>
                  <a:gd name="connsiteY151" fmla="*/ 193053 h 759790"/>
                  <a:gd name="connsiteX152" fmla="*/ 178157 w 363894"/>
                  <a:gd name="connsiteY152" fmla="*/ 185909 h 759790"/>
                  <a:gd name="connsiteX153" fmla="*/ 180538 w 363894"/>
                  <a:gd name="connsiteY153" fmla="*/ 178765 h 759790"/>
                  <a:gd name="connsiteX154" fmla="*/ 178157 w 363894"/>
                  <a:gd name="connsiteY154" fmla="*/ 154953 h 759790"/>
                  <a:gd name="connsiteX155" fmla="*/ 173394 w 363894"/>
                  <a:gd name="connsiteY155" fmla="*/ 140665 h 759790"/>
                  <a:gd name="connsiteX156" fmla="*/ 171013 w 363894"/>
                  <a:gd name="connsiteY156" fmla="*/ 133521 h 759790"/>
                  <a:gd name="connsiteX157" fmla="*/ 163869 w 363894"/>
                  <a:gd name="connsiteY157" fmla="*/ 100184 h 759790"/>
                  <a:gd name="connsiteX158" fmla="*/ 156725 w 363894"/>
                  <a:gd name="connsiteY158" fmla="*/ 93040 h 759790"/>
                  <a:gd name="connsiteX159" fmla="*/ 142438 w 363894"/>
                  <a:gd name="connsiteY159" fmla="*/ 83515 h 759790"/>
                  <a:gd name="connsiteX160" fmla="*/ 135294 w 363894"/>
                  <a:gd name="connsiteY160" fmla="*/ 69228 h 759790"/>
                  <a:gd name="connsiteX161" fmla="*/ 137675 w 363894"/>
                  <a:gd name="connsiteY161" fmla="*/ 57321 h 759790"/>
                  <a:gd name="connsiteX162" fmla="*/ 140057 w 363894"/>
                  <a:gd name="connsiteY162" fmla="*/ 50178 h 759790"/>
                  <a:gd name="connsiteX163" fmla="*/ 161488 w 363894"/>
                  <a:gd name="connsiteY163" fmla="*/ 38271 h 759790"/>
                  <a:gd name="connsiteX164" fmla="*/ 175775 w 363894"/>
                  <a:gd name="connsiteY164" fmla="*/ 26365 h 759790"/>
                  <a:gd name="connsiteX165" fmla="*/ 180538 w 363894"/>
                  <a:gd name="connsiteY165" fmla="*/ 19221 h 759790"/>
                  <a:gd name="connsiteX166" fmla="*/ 182919 w 363894"/>
                  <a:gd name="connsiteY166" fmla="*/ 9696 h 759790"/>
                  <a:gd name="connsiteX167" fmla="*/ 168632 w 363894"/>
                  <a:gd name="connsiteY167" fmla="*/ 171 h 75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63894" h="759790">
                    <a:moveTo>
                      <a:pt x="168632" y="171"/>
                    </a:moveTo>
                    <a:cubicBezTo>
                      <a:pt x="161885" y="-623"/>
                      <a:pt x="148603" y="1411"/>
                      <a:pt x="142438" y="4934"/>
                    </a:cubicBezTo>
                    <a:cubicBezTo>
                      <a:pt x="124286" y="15307"/>
                      <a:pt x="139685" y="7686"/>
                      <a:pt x="128150" y="19221"/>
                    </a:cubicBezTo>
                    <a:cubicBezTo>
                      <a:pt x="126126" y="21245"/>
                      <a:pt x="123205" y="22152"/>
                      <a:pt x="121007" y="23984"/>
                    </a:cubicBezTo>
                    <a:cubicBezTo>
                      <a:pt x="118420" y="26140"/>
                      <a:pt x="116450" y="28972"/>
                      <a:pt x="113863" y="31128"/>
                    </a:cubicBezTo>
                    <a:cubicBezTo>
                      <a:pt x="111664" y="32960"/>
                      <a:pt x="109334" y="34728"/>
                      <a:pt x="106719" y="35890"/>
                    </a:cubicBezTo>
                    <a:cubicBezTo>
                      <a:pt x="102132" y="37929"/>
                      <a:pt x="92432" y="40653"/>
                      <a:pt x="92432" y="40653"/>
                    </a:cubicBezTo>
                    <a:cubicBezTo>
                      <a:pt x="86768" y="57639"/>
                      <a:pt x="94799" y="37101"/>
                      <a:pt x="82907" y="54940"/>
                    </a:cubicBezTo>
                    <a:cubicBezTo>
                      <a:pt x="81515" y="57029"/>
                      <a:pt x="81917" y="59995"/>
                      <a:pt x="80525" y="62084"/>
                    </a:cubicBezTo>
                    <a:cubicBezTo>
                      <a:pt x="78657" y="64886"/>
                      <a:pt x="75449" y="66570"/>
                      <a:pt x="73382" y="69228"/>
                    </a:cubicBezTo>
                    <a:cubicBezTo>
                      <a:pt x="60839" y="85356"/>
                      <a:pt x="67068" y="79086"/>
                      <a:pt x="59094" y="93040"/>
                    </a:cubicBezTo>
                    <a:cubicBezTo>
                      <a:pt x="57674" y="95525"/>
                      <a:pt x="55494" y="97569"/>
                      <a:pt x="54332" y="100184"/>
                    </a:cubicBezTo>
                    <a:cubicBezTo>
                      <a:pt x="52293" y="104771"/>
                      <a:pt x="51157" y="109709"/>
                      <a:pt x="49569" y="114471"/>
                    </a:cubicBezTo>
                    <a:lnTo>
                      <a:pt x="42425" y="135903"/>
                    </a:lnTo>
                    <a:lnTo>
                      <a:pt x="40044" y="143046"/>
                    </a:lnTo>
                    <a:lnTo>
                      <a:pt x="37663" y="150190"/>
                    </a:lnTo>
                    <a:cubicBezTo>
                      <a:pt x="36183" y="166471"/>
                      <a:pt x="36417" y="174224"/>
                      <a:pt x="32900" y="188290"/>
                    </a:cubicBezTo>
                    <a:cubicBezTo>
                      <a:pt x="32291" y="190725"/>
                      <a:pt x="32087" y="193474"/>
                      <a:pt x="30519" y="195434"/>
                    </a:cubicBezTo>
                    <a:cubicBezTo>
                      <a:pt x="28731" y="197669"/>
                      <a:pt x="25756" y="198609"/>
                      <a:pt x="23375" y="200196"/>
                    </a:cubicBezTo>
                    <a:cubicBezTo>
                      <a:pt x="17932" y="216526"/>
                      <a:pt x="24359" y="196258"/>
                      <a:pt x="18613" y="219246"/>
                    </a:cubicBezTo>
                    <a:cubicBezTo>
                      <a:pt x="18004" y="221681"/>
                      <a:pt x="17800" y="224430"/>
                      <a:pt x="16232" y="226390"/>
                    </a:cubicBezTo>
                    <a:cubicBezTo>
                      <a:pt x="14444" y="228625"/>
                      <a:pt x="11469" y="229565"/>
                      <a:pt x="9088" y="231153"/>
                    </a:cubicBezTo>
                    <a:cubicBezTo>
                      <a:pt x="-5717" y="253355"/>
                      <a:pt x="634" y="240793"/>
                      <a:pt x="6707" y="295446"/>
                    </a:cubicBezTo>
                    <a:cubicBezTo>
                      <a:pt x="7023" y="298290"/>
                      <a:pt x="9234" y="300802"/>
                      <a:pt x="11469" y="302590"/>
                    </a:cubicBezTo>
                    <a:cubicBezTo>
                      <a:pt x="13429" y="304158"/>
                      <a:pt x="16232" y="304177"/>
                      <a:pt x="18613" y="304971"/>
                    </a:cubicBezTo>
                    <a:cubicBezTo>
                      <a:pt x="21788" y="309734"/>
                      <a:pt x="26328" y="313829"/>
                      <a:pt x="28138" y="319259"/>
                    </a:cubicBezTo>
                    <a:lnTo>
                      <a:pt x="32900" y="333546"/>
                    </a:lnTo>
                    <a:lnTo>
                      <a:pt x="37663" y="347834"/>
                    </a:lnTo>
                    <a:cubicBezTo>
                      <a:pt x="38457" y="351803"/>
                      <a:pt x="39472" y="355733"/>
                      <a:pt x="40044" y="359740"/>
                    </a:cubicBezTo>
                    <a:cubicBezTo>
                      <a:pt x="44447" y="390567"/>
                      <a:pt x="39126" y="371274"/>
                      <a:pt x="47188" y="395459"/>
                    </a:cubicBezTo>
                    <a:cubicBezTo>
                      <a:pt x="47982" y="397840"/>
                      <a:pt x="48177" y="400514"/>
                      <a:pt x="49569" y="402603"/>
                    </a:cubicBezTo>
                    <a:cubicBezTo>
                      <a:pt x="61585" y="420626"/>
                      <a:pt x="55047" y="412843"/>
                      <a:pt x="68619" y="426415"/>
                    </a:cubicBezTo>
                    <a:cubicBezTo>
                      <a:pt x="74287" y="443418"/>
                      <a:pt x="70597" y="436526"/>
                      <a:pt x="78144" y="447846"/>
                    </a:cubicBezTo>
                    <a:lnTo>
                      <a:pt x="85288" y="469278"/>
                    </a:lnTo>
                    <a:lnTo>
                      <a:pt x="87669" y="476421"/>
                    </a:lnTo>
                    <a:lnTo>
                      <a:pt x="90050" y="483565"/>
                    </a:lnTo>
                    <a:cubicBezTo>
                      <a:pt x="90844" y="496265"/>
                      <a:pt x="91902" y="508951"/>
                      <a:pt x="92432" y="521665"/>
                    </a:cubicBezTo>
                    <a:cubicBezTo>
                      <a:pt x="93490" y="547055"/>
                      <a:pt x="93363" y="572494"/>
                      <a:pt x="94813" y="597865"/>
                    </a:cubicBezTo>
                    <a:cubicBezTo>
                      <a:pt x="94956" y="600371"/>
                      <a:pt x="95626" y="603049"/>
                      <a:pt x="97194" y="605009"/>
                    </a:cubicBezTo>
                    <a:cubicBezTo>
                      <a:pt x="98982" y="607244"/>
                      <a:pt x="101957" y="608184"/>
                      <a:pt x="104338" y="609771"/>
                    </a:cubicBezTo>
                    <a:cubicBezTo>
                      <a:pt x="105925" y="612152"/>
                      <a:pt x="106865" y="615127"/>
                      <a:pt x="109100" y="616915"/>
                    </a:cubicBezTo>
                    <a:cubicBezTo>
                      <a:pt x="111060" y="618483"/>
                      <a:pt x="114050" y="618077"/>
                      <a:pt x="116244" y="619296"/>
                    </a:cubicBezTo>
                    <a:cubicBezTo>
                      <a:pt x="121248" y="622076"/>
                      <a:pt x="125769" y="625646"/>
                      <a:pt x="130532" y="628821"/>
                    </a:cubicBezTo>
                    <a:lnTo>
                      <a:pt x="130532" y="628821"/>
                    </a:lnTo>
                    <a:lnTo>
                      <a:pt x="144819" y="643109"/>
                    </a:lnTo>
                    <a:cubicBezTo>
                      <a:pt x="152824" y="667127"/>
                      <a:pt x="140608" y="629866"/>
                      <a:pt x="149582" y="659778"/>
                    </a:cubicBezTo>
                    <a:cubicBezTo>
                      <a:pt x="151025" y="664586"/>
                      <a:pt x="152757" y="669303"/>
                      <a:pt x="154344" y="674065"/>
                    </a:cubicBezTo>
                    <a:cubicBezTo>
                      <a:pt x="155138" y="676446"/>
                      <a:pt x="155333" y="679120"/>
                      <a:pt x="156725" y="681209"/>
                    </a:cubicBezTo>
                    <a:lnTo>
                      <a:pt x="175775" y="709784"/>
                    </a:lnTo>
                    <a:lnTo>
                      <a:pt x="185300" y="724071"/>
                    </a:lnTo>
                    <a:cubicBezTo>
                      <a:pt x="186888" y="726452"/>
                      <a:pt x="187348" y="730310"/>
                      <a:pt x="190063" y="731215"/>
                    </a:cubicBezTo>
                    <a:lnTo>
                      <a:pt x="197207" y="733596"/>
                    </a:lnTo>
                    <a:cubicBezTo>
                      <a:pt x="198794" y="735977"/>
                      <a:pt x="199945" y="738716"/>
                      <a:pt x="201969" y="740740"/>
                    </a:cubicBezTo>
                    <a:cubicBezTo>
                      <a:pt x="203993" y="742764"/>
                      <a:pt x="206628" y="744083"/>
                      <a:pt x="209113" y="745503"/>
                    </a:cubicBezTo>
                    <a:cubicBezTo>
                      <a:pt x="217351" y="750210"/>
                      <a:pt x="217768" y="749975"/>
                      <a:pt x="225782" y="752646"/>
                    </a:cubicBezTo>
                    <a:cubicBezTo>
                      <a:pt x="229395" y="755055"/>
                      <a:pt x="235138" y="759790"/>
                      <a:pt x="240069" y="759790"/>
                    </a:cubicBezTo>
                    <a:cubicBezTo>
                      <a:pt x="243342" y="759790"/>
                      <a:pt x="246419" y="758203"/>
                      <a:pt x="249594" y="757409"/>
                    </a:cubicBezTo>
                    <a:cubicBezTo>
                      <a:pt x="248800" y="753440"/>
                      <a:pt x="248634" y="749293"/>
                      <a:pt x="247213" y="745503"/>
                    </a:cubicBezTo>
                    <a:cubicBezTo>
                      <a:pt x="246208" y="742823"/>
                      <a:pt x="243577" y="740990"/>
                      <a:pt x="242450" y="738359"/>
                    </a:cubicBezTo>
                    <a:cubicBezTo>
                      <a:pt x="241161" y="735351"/>
                      <a:pt x="241009" y="731969"/>
                      <a:pt x="240069" y="728834"/>
                    </a:cubicBezTo>
                    <a:cubicBezTo>
                      <a:pt x="238627" y="724025"/>
                      <a:pt x="238857" y="718096"/>
                      <a:pt x="235307" y="714546"/>
                    </a:cubicBezTo>
                    <a:cubicBezTo>
                      <a:pt x="230544" y="709784"/>
                      <a:pt x="224755" y="705863"/>
                      <a:pt x="221019" y="700259"/>
                    </a:cubicBezTo>
                    <a:cubicBezTo>
                      <a:pt x="219432" y="697878"/>
                      <a:pt x="218089" y="695314"/>
                      <a:pt x="216257" y="693115"/>
                    </a:cubicBezTo>
                    <a:cubicBezTo>
                      <a:pt x="214101" y="690528"/>
                      <a:pt x="211181" y="688629"/>
                      <a:pt x="209113" y="685971"/>
                    </a:cubicBezTo>
                    <a:cubicBezTo>
                      <a:pt x="205599" y="681453"/>
                      <a:pt x="203022" y="676263"/>
                      <a:pt x="199588" y="671684"/>
                    </a:cubicBezTo>
                    <a:lnTo>
                      <a:pt x="192444" y="662159"/>
                    </a:lnTo>
                    <a:cubicBezTo>
                      <a:pt x="186777" y="645156"/>
                      <a:pt x="190467" y="652048"/>
                      <a:pt x="182919" y="640728"/>
                    </a:cubicBezTo>
                    <a:cubicBezTo>
                      <a:pt x="182125" y="638347"/>
                      <a:pt x="181661" y="635829"/>
                      <a:pt x="180538" y="633584"/>
                    </a:cubicBezTo>
                    <a:cubicBezTo>
                      <a:pt x="179258" y="631024"/>
                      <a:pt x="176902" y="629071"/>
                      <a:pt x="175775" y="626440"/>
                    </a:cubicBezTo>
                    <a:cubicBezTo>
                      <a:pt x="171201" y="615767"/>
                      <a:pt x="175644" y="619032"/>
                      <a:pt x="171013" y="609771"/>
                    </a:cubicBezTo>
                    <a:cubicBezTo>
                      <a:pt x="169733" y="607211"/>
                      <a:pt x="167838" y="605009"/>
                      <a:pt x="166250" y="602628"/>
                    </a:cubicBezTo>
                    <a:cubicBezTo>
                      <a:pt x="165456" y="600247"/>
                      <a:pt x="164991" y="597729"/>
                      <a:pt x="163869" y="595484"/>
                    </a:cubicBezTo>
                    <a:cubicBezTo>
                      <a:pt x="162589" y="592924"/>
                      <a:pt x="160234" y="590970"/>
                      <a:pt x="159107" y="588340"/>
                    </a:cubicBezTo>
                    <a:cubicBezTo>
                      <a:pt x="157818" y="585332"/>
                      <a:pt x="157624" y="581962"/>
                      <a:pt x="156725" y="578815"/>
                    </a:cubicBezTo>
                    <a:cubicBezTo>
                      <a:pt x="153701" y="568231"/>
                      <a:pt x="154442" y="574543"/>
                      <a:pt x="151963" y="562146"/>
                    </a:cubicBezTo>
                    <a:cubicBezTo>
                      <a:pt x="151016" y="557412"/>
                      <a:pt x="150376" y="552621"/>
                      <a:pt x="149582" y="547859"/>
                    </a:cubicBezTo>
                    <a:cubicBezTo>
                      <a:pt x="150376" y="538334"/>
                      <a:pt x="150700" y="528758"/>
                      <a:pt x="151963" y="519284"/>
                    </a:cubicBezTo>
                    <a:cubicBezTo>
                      <a:pt x="152295" y="516796"/>
                      <a:pt x="153852" y="514601"/>
                      <a:pt x="154344" y="512140"/>
                    </a:cubicBezTo>
                    <a:cubicBezTo>
                      <a:pt x="155445" y="506636"/>
                      <a:pt x="155931" y="501027"/>
                      <a:pt x="156725" y="495471"/>
                    </a:cubicBezTo>
                    <a:cubicBezTo>
                      <a:pt x="155931" y="491502"/>
                      <a:pt x="155409" y="487470"/>
                      <a:pt x="154344" y="483565"/>
                    </a:cubicBezTo>
                    <a:cubicBezTo>
                      <a:pt x="153023" y="478722"/>
                      <a:pt x="149582" y="469278"/>
                      <a:pt x="149582" y="469278"/>
                    </a:cubicBezTo>
                    <a:cubicBezTo>
                      <a:pt x="150376" y="452609"/>
                      <a:pt x="148978" y="435690"/>
                      <a:pt x="151963" y="419271"/>
                    </a:cubicBezTo>
                    <a:cubicBezTo>
                      <a:pt x="153063" y="413221"/>
                      <a:pt x="165150" y="418971"/>
                      <a:pt x="166250" y="419271"/>
                    </a:cubicBezTo>
                    <a:cubicBezTo>
                      <a:pt x="172565" y="420993"/>
                      <a:pt x="178950" y="422446"/>
                      <a:pt x="185300" y="424034"/>
                    </a:cubicBezTo>
                    <a:lnTo>
                      <a:pt x="194825" y="426415"/>
                    </a:lnTo>
                    <a:cubicBezTo>
                      <a:pt x="197206" y="428796"/>
                      <a:pt x="199382" y="431403"/>
                      <a:pt x="201969" y="433559"/>
                    </a:cubicBezTo>
                    <a:cubicBezTo>
                      <a:pt x="210660" y="440801"/>
                      <a:pt x="208566" y="435577"/>
                      <a:pt x="216257" y="445465"/>
                    </a:cubicBezTo>
                    <a:cubicBezTo>
                      <a:pt x="223158" y="454338"/>
                      <a:pt x="222113" y="461233"/>
                      <a:pt x="232925" y="462134"/>
                    </a:cubicBezTo>
                    <a:cubicBezTo>
                      <a:pt x="249555" y="463520"/>
                      <a:pt x="266263" y="463721"/>
                      <a:pt x="282932" y="464515"/>
                    </a:cubicBezTo>
                    <a:cubicBezTo>
                      <a:pt x="289282" y="465309"/>
                      <a:pt x="295955" y="464744"/>
                      <a:pt x="301982" y="466896"/>
                    </a:cubicBezTo>
                    <a:cubicBezTo>
                      <a:pt x="307372" y="468821"/>
                      <a:pt x="316269" y="476421"/>
                      <a:pt x="316269" y="476421"/>
                    </a:cubicBezTo>
                    <a:cubicBezTo>
                      <a:pt x="321825" y="475627"/>
                      <a:pt x="327416" y="475044"/>
                      <a:pt x="332938" y="474040"/>
                    </a:cubicBezTo>
                    <a:cubicBezTo>
                      <a:pt x="336158" y="473455"/>
                      <a:pt x="339740" y="473474"/>
                      <a:pt x="342463" y="471659"/>
                    </a:cubicBezTo>
                    <a:cubicBezTo>
                      <a:pt x="344844" y="470071"/>
                      <a:pt x="345638" y="466896"/>
                      <a:pt x="347225" y="464515"/>
                    </a:cubicBezTo>
                    <a:cubicBezTo>
                      <a:pt x="346431" y="447846"/>
                      <a:pt x="346230" y="431139"/>
                      <a:pt x="344844" y="414509"/>
                    </a:cubicBezTo>
                    <a:cubicBezTo>
                      <a:pt x="344273" y="407655"/>
                      <a:pt x="341456" y="405331"/>
                      <a:pt x="335319" y="402603"/>
                    </a:cubicBezTo>
                    <a:cubicBezTo>
                      <a:pt x="330732" y="400564"/>
                      <a:pt x="325794" y="399428"/>
                      <a:pt x="321032" y="397840"/>
                    </a:cubicBezTo>
                    <a:cubicBezTo>
                      <a:pt x="310054" y="394180"/>
                      <a:pt x="316341" y="395950"/>
                      <a:pt x="301982" y="393078"/>
                    </a:cubicBezTo>
                    <a:cubicBezTo>
                      <a:pt x="299601" y="391490"/>
                      <a:pt x="297398" y="389595"/>
                      <a:pt x="294838" y="388315"/>
                    </a:cubicBezTo>
                    <a:cubicBezTo>
                      <a:pt x="282117" y="381955"/>
                      <a:pt x="292567" y="391748"/>
                      <a:pt x="278169" y="378790"/>
                    </a:cubicBezTo>
                    <a:cubicBezTo>
                      <a:pt x="273163" y="374285"/>
                      <a:pt x="270271" y="366633"/>
                      <a:pt x="263882" y="364503"/>
                    </a:cubicBezTo>
                    <a:cubicBezTo>
                      <a:pt x="227036" y="352220"/>
                      <a:pt x="265083" y="366295"/>
                      <a:pt x="242450" y="354978"/>
                    </a:cubicBezTo>
                    <a:cubicBezTo>
                      <a:pt x="222733" y="345119"/>
                      <a:pt x="248637" y="361482"/>
                      <a:pt x="228163" y="347834"/>
                    </a:cubicBezTo>
                    <a:cubicBezTo>
                      <a:pt x="226575" y="345453"/>
                      <a:pt x="223870" y="343513"/>
                      <a:pt x="223400" y="340690"/>
                    </a:cubicBezTo>
                    <a:cubicBezTo>
                      <a:pt x="222987" y="338214"/>
                      <a:pt x="224659" y="335791"/>
                      <a:pt x="225782" y="333546"/>
                    </a:cubicBezTo>
                    <a:cubicBezTo>
                      <a:pt x="227062" y="330987"/>
                      <a:pt x="228117" y="327920"/>
                      <a:pt x="230544" y="326403"/>
                    </a:cubicBezTo>
                    <a:cubicBezTo>
                      <a:pt x="239673" y="320698"/>
                      <a:pt x="256991" y="320289"/>
                      <a:pt x="266263" y="319259"/>
                    </a:cubicBezTo>
                    <a:cubicBezTo>
                      <a:pt x="271025" y="316084"/>
                      <a:pt x="277375" y="314496"/>
                      <a:pt x="280550" y="309734"/>
                    </a:cubicBezTo>
                    <a:cubicBezTo>
                      <a:pt x="283725" y="304971"/>
                      <a:pt x="284645" y="297256"/>
                      <a:pt x="290075" y="295446"/>
                    </a:cubicBezTo>
                    <a:cubicBezTo>
                      <a:pt x="312681" y="287912"/>
                      <a:pt x="299363" y="291138"/>
                      <a:pt x="330557" y="288303"/>
                    </a:cubicBezTo>
                    <a:cubicBezTo>
                      <a:pt x="351990" y="281158"/>
                      <a:pt x="340874" y="289097"/>
                      <a:pt x="347225" y="276396"/>
                    </a:cubicBezTo>
                    <a:cubicBezTo>
                      <a:pt x="348505" y="273836"/>
                      <a:pt x="350400" y="271634"/>
                      <a:pt x="351988" y="269253"/>
                    </a:cubicBezTo>
                    <a:cubicBezTo>
                      <a:pt x="357571" y="252502"/>
                      <a:pt x="351431" y="272586"/>
                      <a:pt x="356750" y="240678"/>
                    </a:cubicBezTo>
                    <a:cubicBezTo>
                      <a:pt x="357163" y="238202"/>
                      <a:pt x="358338" y="235915"/>
                      <a:pt x="359132" y="233534"/>
                    </a:cubicBezTo>
                    <a:cubicBezTo>
                      <a:pt x="359926" y="228771"/>
                      <a:pt x="360875" y="224032"/>
                      <a:pt x="361513" y="219246"/>
                    </a:cubicBezTo>
                    <a:cubicBezTo>
                      <a:pt x="362463" y="212121"/>
                      <a:pt x="363894" y="205003"/>
                      <a:pt x="363894" y="197815"/>
                    </a:cubicBezTo>
                    <a:cubicBezTo>
                      <a:pt x="363894" y="194542"/>
                      <a:pt x="362977" y="191217"/>
                      <a:pt x="361513" y="188290"/>
                    </a:cubicBezTo>
                    <a:cubicBezTo>
                      <a:pt x="359049" y="183361"/>
                      <a:pt x="352426" y="171308"/>
                      <a:pt x="344844" y="169240"/>
                    </a:cubicBezTo>
                    <a:cubicBezTo>
                      <a:pt x="338670" y="167556"/>
                      <a:pt x="332144" y="167653"/>
                      <a:pt x="325794" y="166859"/>
                    </a:cubicBezTo>
                    <a:cubicBezTo>
                      <a:pt x="309125" y="168446"/>
                      <a:pt x="292413" y="169626"/>
                      <a:pt x="275788" y="171621"/>
                    </a:cubicBezTo>
                    <a:cubicBezTo>
                      <a:pt x="272539" y="172011"/>
                      <a:pt x="269271" y="172714"/>
                      <a:pt x="266263" y="174003"/>
                    </a:cubicBezTo>
                    <a:cubicBezTo>
                      <a:pt x="248032" y="181816"/>
                      <a:pt x="272675" y="175861"/>
                      <a:pt x="249594" y="188290"/>
                    </a:cubicBezTo>
                    <a:cubicBezTo>
                      <a:pt x="242964" y="191860"/>
                      <a:pt x="235307" y="193053"/>
                      <a:pt x="228163" y="195434"/>
                    </a:cubicBezTo>
                    <a:cubicBezTo>
                      <a:pt x="217920" y="198848"/>
                      <a:pt x="223447" y="197208"/>
                      <a:pt x="211494" y="200196"/>
                    </a:cubicBezTo>
                    <a:cubicBezTo>
                      <a:pt x="209113" y="201784"/>
                      <a:pt x="206374" y="202935"/>
                      <a:pt x="204350" y="204959"/>
                    </a:cubicBezTo>
                    <a:cubicBezTo>
                      <a:pt x="202326" y="206983"/>
                      <a:pt x="201969" y="210515"/>
                      <a:pt x="199588" y="212103"/>
                    </a:cubicBezTo>
                    <a:cubicBezTo>
                      <a:pt x="196865" y="213918"/>
                      <a:pt x="193238" y="213690"/>
                      <a:pt x="190063" y="214484"/>
                    </a:cubicBezTo>
                    <a:cubicBezTo>
                      <a:pt x="186392" y="219990"/>
                      <a:pt x="181281" y="223838"/>
                      <a:pt x="187682" y="231153"/>
                    </a:cubicBezTo>
                    <a:cubicBezTo>
                      <a:pt x="191451" y="235460"/>
                      <a:pt x="201969" y="240678"/>
                      <a:pt x="201969" y="240678"/>
                    </a:cubicBezTo>
                    <a:cubicBezTo>
                      <a:pt x="203557" y="243059"/>
                      <a:pt x="206447" y="244973"/>
                      <a:pt x="206732" y="247821"/>
                    </a:cubicBezTo>
                    <a:cubicBezTo>
                      <a:pt x="207290" y="253406"/>
                      <a:pt x="206629" y="259361"/>
                      <a:pt x="204350" y="264490"/>
                    </a:cubicBezTo>
                    <a:cubicBezTo>
                      <a:pt x="203188" y="267105"/>
                      <a:pt x="199767" y="267973"/>
                      <a:pt x="197207" y="269253"/>
                    </a:cubicBezTo>
                    <a:cubicBezTo>
                      <a:pt x="189230" y="273242"/>
                      <a:pt x="175416" y="273261"/>
                      <a:pt x="168632" y="274015"/>
                    </a:cubicBezTo>
                    <a:cubicBezTo>
                      <a:pt x="163755" y="275640"/>
                      <a:pt x="157895" y="276897"/>
                      <a:pt x="154344" y="281159"/>
                    </a:cubicBezTo>
                    <a:cubicBezTo>
                      <a:pt x="152072" y="283886"/>
                      <a:pt x="150900" y="287388"/>
                      <a:pt x="149582" y="290684"/>
                    </a:cubicBezTo>
                    <a:cubicBezTo>
                      <a:pt x="149573" y="290707"/>
                      <a:pt x="143632" y="308531"/>
                      <a:pt x="142438" y="312115"/>
                    </a:cubicBezTo>
                    <a:cubicBezTo>
                      <a:pt x="140501" y="317926"/>
                      <a:pt x="139911" y="321786"/>
                      <a:pt x="135294" y="326403"/>
                    </a:cubicBezTo>
                    <a:cubicBezTo>
                      <a:pt x="133270" y="328427"/>
                      <a:pt x="130531" y="329578"/>
                      <a:pt x="128150" y="331165"/>
                    </a:cubicBezTo>
                    <a:cubicBezTo>
                      <a:pt x="125769" y="330371"/>
                      <a:pt x="123252" y="329906"/>
                      <a:pt x="121007" y="328784"/>
                    </a:cubicBezTo>
                    <a:cubicBezTo>
                      <a:pt x="118447" y="327504"/>
                      <a:pt x="116640" y="324715"/>
                      <a:pt x="113863" y="324021"/>
                    </a:cubicBezTo>
                    <a:cubicBezTo>
                      <a:pt x="106890" y="322278"/>
                      <a:pt x="99576" y="322434"/>
                      <a:pt x="92432" y="321640"/>
                    </a:cubicBezTo>
                    <a:cubicBezTo>
                      <a:pt x="90844" y="319259"/>
                      <a:pt x="88831" y="317111"/>
                      <a:pt x="87669" y="314496"/>
                    </a:cubicBezTo>
                    <a:cubicBezTo>
                      <a:pt x="85630" y="309909"/>
                      <a:pt x="82907" y="300209"/>
                      <a:pt x="82907" y="300209"/>
                    </a:cubicBezTo>
                    <a:cubicBezTo>
                      <a:pt x="84494" y="297828"/>
                      <a:pt x="86389" y="295625"/>
                      <a:pt x="87669" y="293065"/>
                    </a:cubicBezTo>
                    <a:cubicBezTo>
                      <a:pt x="90545" y="287312"/>
                      <a:pt x="89124" y="283329"/>
                      <a:pt x="94813" y="278778"/>
                    </a:cubicBezTo>
                    <a:cubicBezTo>
                      <a:pt x="96773" y="277210"/>
                      <a:pt x="99763" y="277615"/>
                      <a:pt x="101957" y="276396"/>
                    </a:cubicBezTo>
                    <a:cubicBezTo>
                      <a:pt x="106960" y="273616"/>
                      <a:pt x="112196" y="270918"/>
                      <a:pt x="116244" y="266871"/>
                    </a:cubicBezTo>
                    <a:cubicBezTo>
                      <a:pt x="125412" y="257704"/>
                      <a:pt x="120586" y="261596"/>
                      <a:pt x="130532" y="254965"/>
                    </a:cubicBezTo>
                    <a:cubicBezTo>
                      <a:pt x="131326" y="252584"/>
                      <a:pt x="131791" y="250066"/>
                      <a:pt x="132913" y="247821"/>
                    </a:cubicBezTo>
                    <a:cubicBezTo>
                      <a:pt x="137161" y="239323"/>
                      <a:pt x="145654" y="232699"/>
                      <a:pt x="151963" y="226390"/>
                    </a:cubicBezTo>
                    <a:cubicBezTo>
                      <a:pt x="161130" y="217223"/>
                      <a:pt x="156305" y="221114"/>
                      <a:pt x="166250" y="214484"/>
                    </a:cubicBezTo>
                    <a:cubicBezTo>
                      <a:pt x="173798" y="203162"/>
                      <a:pt x="170107" y="210057"/>
                      <a:pt x="175775" y="193053"/>
                    </a:cubicBezTo>
                    <a:lnTo>
                      <a:pt x="178157" y="185909"/>
                    </a:lnTo>
                    <a:lnTo>
                      <a:pt x="180538" y="178765"/>
                    </a:lnTo>
                    <a:cubicBezTo>
                      <a:pt x="179744" y="170828"/>
                      <a:pt x="179627" y="162793"/>
                      <a:pt x="178157" y="154953"/>
                    </a:cubicBezTo>
                    <a:cubicBezTo>
                      <a:pt x="177232" y="150019"/>
                      <a:pt x="174982" y="145428"/>
                      <a:pt x="173394" y="140665"/>
                    </a:cubicBezTo>
                    <a:lnTo>
                      <a:pt x="171013" y="133521"/>
                    </a:lnTo>
                    <a:cubicBezTo>
                      <a:pt x="170481" y="129261"/>
                      <a:pt x="168717" y="105032"/>
                      <a:pt x="163869" y="100184"/>
                    </a:cubicBezTo>
                    <a:cubicBezTo>
                      <a:pt x="161488" y="97803"/>
                      <a:pt x="159383" y="95108"/>
                      <a:pt x="156725" y="93040"/>
                    </a:cubicBezTo>
                    <a:cubicBezTo>
                      <a:pt x="152207" y="89526"/>
                      <a:pt x="142438" y="83515"/>
                      <a:pt x="142438" y="83515"/>
                    </a:cubicBezTo>
                    <a:cubicBezTo>
                      <a:pt x="140030" y="79903"/>
                      <a:pt x="135294" y="74157"/>
                      <a:pt x="135294" y="69228"/>
                    </a:cubicBezTo>
                    <a:cubicBezTo>
                      <a:pt x="135294" y="65180"/>
                      <a:pt x="136693" y="61248"/>
                      <a:pt x="137675" y="57321"/>
                    </a:cubicBezTo>
                    <a:cubicBezTo>
                      <a:pt x="138284" y="54886"/>
                      <a:pt x="138282" y="51953"/>
                      <a:pt x="140057" y="50178"/>
                    </a:cubicBezTo>
                    <a:cubicBezTo>
                      <a:pt x="155069" y="35166"/>
                      <a:pt x="149512" y="44259"/>
                      <a:pt x="161488" y="38271"/>
                    </a:cubicBezTo>
                    <a:cubicBezTo>
                      <a:pt x="166843" y="35594"/>
                      <a:pt x="172011" y="30882"/>
                      <a:pt x="175775" y="26365"/>
                    </a:cubicBezTo>
                    <a:cubicBezTo>
                      <a:pt x="177607" y="24166"/>
                      <a:pt x="178950" y="21602"/>
                      <a:pt x="180538" y="19221"/>
                    </a:cubicBezTo>
                    <a:cubicBezTo>
                      <a:pt x="181332" y="16046"/>
                      <a:pt x="182919" y="12969"/>
                      <a:pt x="182919" y="9696"/>
                    </a:cubicBezTo>
                    <a:cubicBezTo>
                      <a:pt x="182919" y="7186"/>
                      <a:pt x="175379" y="965"/>
                      <a:pt x="168632" y="17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6" name="Freeform 235"/>
              <p:cNvSpPr/>
              <p:nvPr/>
            </p:nvSpPr>
            <p:spPr>
              <a:xfrm>
                <a:off x="7606392" y="3536508"/>
                <a:ext cx="271314" cy="124153"/>
              </a:xfrm>
              <a:custGeom>
                <a:avLst/>
                <a:gdLst>
                  <a:gd name="connsiteX0" fmla="*/ 126206 w 271314"/>
                  <a:gd name="connsiteY0" fmla="*/ 328 h 124153"/>
                  <a:gd name="connsiteX1" fmla="*/ 52388 w 271314"/>
                  <a:gd name="connsiteY1" fmla="*/ 2709 h 124153"/>
                  <a:gd name="connsiteX2" fmla="*/ 30956 w 271314"/>
                  <a:gd name="connsiteY2" fmla="*/ 5090 h 124153"/>
                  <a:gd name="connsiteX3" fmla="*/ 23813 w 271314"/>
                  <a:gd name="connsiteY3" fmla="*/ 9853 h 124153"/>
                  <a:gd name="connsiteX4" fmla="*/ 19050 w 271314"/>
                  <a:gd name="connsiteY4" fmla="*/ 24140 h 124153"/>
                  <a:gd name="connsiteX5" fmla="*/ 14288 w 271314"/>
                  <a:gd name="connsiteY5" fmla="*/ 43190 h 124153"/>
                  <a:gd name="connsiteX6" fmla="*/ 2381 w 271314"/>
                  <a:gd name="connsiteY6" fmla="*/ 57478 h 124153"/>
                  <a:gd name="connsiteX7" fmla="*/ 0 w 271314"/>
                  <a:gd name="connsiteY7" fmla="*/ 64622 h 124153"/>
                  <a:gd name="connsiteX8" fmla="*/ 2381 w 271314"/>
                  <a:gd name="connsiteY8" fmla="*/ 74147 h 124153"/>
                  <a:gd name="connsiteX9" fmla="*/ 23813 w 271314"/>
                  <a:gd name="connsiteY9" fmla="*/ 90815 h 124153"/>
                  <a:gd name="connsiteX10" fmla="*/ 38100 w 271314"/>
                  <a:gd name="connsiteY10" fmla="*/ 105103 h 124153"/>
                  <a:gd name="connsiteX11" fmla="*/ 45244 w 271314"/>
                  <a:gd name="connsiteY11" fmla="*/ 121772 h 124153"/>
                  <a:gd name="connsiteX12" fmla="*/ 52388 w 271314"/>
                  <a:gd name="connsiteY12" fmla="*/ 124153 h 124153"/>
                  <a:gd name="connsiteX13" fmla="*/ 80963 w 271314"/>
                  <a:gd name="connsiteY13" fmla="*/ 121772 h 124153"/>
                  <a:gd name="connsiteX14" fmla="*/ 90488 w 271314"/>
                  <a:gd name="connsiteY14" fmla="*/ 117009 h 124153"/>
                  <a:gd name="connsiteX15" fmla="*/ 109538 w 271314"/>
                  <a:gd name="connsiteY15" fmla="*/ 95578 h 124153"/>
                  <a:gd name="connsiteX16" fmla="*/ 126206 w 271314"/>
                  <a:gd name="connsiteY16" fmla="*/ 78909 h 124153"/>
                  <a:gd name="connsiteX17" fmla="*/ 140494 w 271314"/>
                  <a:gd name="connsiteY17" fmla="*/ 74147 h 124153"/>
                  <a:gd name="connsiteX18" fmla="*/ 147638 w 271314"/>
                  <a:gd name="connsiteY18" fmla="*/ 71765 h 124153"/>
                  <a:gd name="connsiteX19" fmla="*/ 183356 w 271314"/>
                  <a:gd name="connsiteY19" fmla="*/ 78909 h 124153"/>
                  <a:gd name="connsiteX20" fmla="*/ 192881 w 271314"/>
                  <a:gd name="connsiteY20" fmla="*/ 86053 h 124153"/>
                  <a:gd name="connsiteX21" fmla="*/ 207169 w 271314"/>
                  <a:gd name="connsiteY21" fmla="*/ 95578 h 124153"/>
                  <a:gd name="connsiteX22" fmla="*/ 221456 w 271314"/>
                  <a:gd name="connsiteY22" fmla="*/ 93197 h 124153"/>
                  <a:gd name="connsiteX23" fmla="*/ 223838 w 271314"/>
                  <a:gd name="connsiteY23" fmla="*/ 86053 h 124153"/>
                  <a:gd name="connsiteX24" fmla="*/ 228600 w 271314"/>
                  <a:gd name="connsiteY24" fmla="*/ 78909 h 124153"/>
                  <a:gd name="connsiteX25" fmla="*/ 242888 w 271314"/>
                  <a:gd name="connsiteY25" fmla="*/ 74147 h 124153"/>
                  <a:gd name="connsiteX26" fmla="*/ 250031 w 271314"/>
                  <a:gd name="connsiteY26" fmla="*/ 71765 h 124153"/>
                  <a:gd name="connsiteX27" fmla="*/ 264319 w 271314"/>
                  <a:gd name="connsiteY27" fmla="*/ 62240 h 124153"/>
                  <a:gd name="connsiteX28" fmla="*/ 266700 w 271314"/>
                  <a:gd name="connsiteY28" fmla="*/ 36047 h 124153"/>
                  <a:gd name="connsiteX29" fmla="*/ 252413 w 271314"/>
                  <a:gd name="connsiteY29" fmla="*/ 31284 h 124153"/>
                  <a:gd name="connsiteX30" fmla="*/ 245269 w 271314"/>
                  <a:gd name="connsiteY30" fmla="*/ 28903 h 124153"/>
                  <a:gd name="connsiteX31" fmla="*/ 195263 w 271314"/>
                  <a:gd name="connsiteY31" fmla="*/ 31284 h 124153"/>
                  <a:gd name="connsiteX32" fmla="*/ 178594 w 271314"/>
                  <a:gd name="connsiteY32" fmla="*/ 36047 h 124153"/>
                  <a:gd name="connsiteX33" fmla="*/ 161925 w 271314"/>
                  <a:gd name="connsiteY33" fmla="*/ 31284 h 124153"/>
                  <a:gd name="connsiteX34" fmla="*/ 154781 w 271314"/>
                  <a:gd name="connsiteY34" fmla="*/ 24140 h 124153"/>
                  <a:gd name="connsiteX35" fmla="*/ 147638 w 271314"/>
                  <a:gd name="connsiteY35" fmla="*/ 21759 h 124153"/>
                  <a:gd name="connsiteX36" fmla="*/ 145256 w 271314"/>
                  <a:gd name="connsiteY36" fmla="*/ 14615 h 124153"/>
                  <a:gd name="connsiteX37" fmla="*/ 138113 w 271314"/>
                  <a:gd name="connsiteY37" fmla="*/ 9853 h 124153"/>
                  <a:gd name="connsiteX38" fmla="*/ 126206 w 271314"/>
                  <a:gd name="connsiteY38" fmla="*/ 328 h 12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1314" h="124153">
                    <a:moveTo>
                      <a:pt x="126206" y="328"/>
                    </a:moveTo>
                    <a:cubicBezTo>
                      <a:pt x="111919" y="-863"/>
                      <a:pt x="76976" y="1480"/>
                      <a:pt x="52388" y="2709"/>
                    </a:cubicBezTo>
                    <a:cubicBezTo>
                      <a:pt x="45209" y="3068"/>
                      <a:pt x="37929" y="3347"/>
                      <a:pt x="30956" y="5090"/>
                    </a:cubicBezTo>
                    <a:cubicBezTo>
                      <a:pt x="28180" y="5784"/>
                      <a:pt x="26194" y="8265"/>
                      <a:pt x="23813" y="9853"/>
                    </a:cubicBezTo>
                    <a:cubicBezTo>
                      <a:pt x="22225" y="14615"/>
                      <a:pt x="20034" y="19217"/>
                      <a:pt x="19050" y="24140"/>
                    </a:cubicBezTo>
                    <a:cubicBezTo>
                      <a:pt x="18145" y="28668"/>
                      <a:pt x="16729" y="38309"/>
                      <a:pt x="14288" y="43190"/>
                    </a:cubicBezTo>
                    <a:cubicBezTo>
                      <a:pt x="10973" y="49820"/>
                      <a:pt x="7647" y="52212"/>
                      <a:pt x="2381" y="57478"/>
                    </a:cubicBezTo>
                    <a:cubicBezTo>
                      <a:pt x="1587" y="59859"/>
                      <a:pt x="0" y="62112"/>
                      <a:pt x="0" y="64622"/>
                    </a:cubicBezTo>
                    <a:cubicBezTo>
                      <a:pt x="0" y="67895"/>
                      <a:pt x="757" y="71306"/>
                      <a:pt x="2381" y="74147"/>
                    </a:cubicBezTo>
                    <a:cubicBezTo>
                      <a:pt x="6849" y="81965"/>
                      <a:pt x="18153" y="85154"/>
                      <a:pt x="23813" y="90815"/>
                    </a:cubicBezTo>
                    <a:lnTo>
                      <a:pt x="38100" y="105103"/>
                    </a:lnTo>
                    <a:cubicBezTo>
                      <a:pt x="39530" y="110823"/>
                      <a:pt x="40104" y="117660"/>
                      <a:pt x="45244" y="121772"/>
                    </a:cubicBezTo>
                    <a:cubicBezTo>
                      <a:pt x="47204" y="123340"/>
                      <a:pt x="50007" y="123359"/>
                      <a:pt x="52388" y="124153"/>
                    </a:cubicBezTo>
                    <a:cubicBezTo>
                      <a:pt x="61913" y="123359"/>
                      <a:pt x="71569" y="123533"/>
                      <a:pt x="80963" y="121772"/>
                    </a:cubicBezTo>
                    <a:cubicBezTo>
                      <a:pt x="84452" y="121118"/>
                      <a:pt x="87716" y="119227"/>
                      <a:pt x="90488" y="117009"/>
                    </a:cubicBezTo>
                    <a:cubicBezTo>
                      <a:pt x="102138" y="107689"/>
                      <a:pt x="103020" y="105355"/>
                      <a:pt x="109538" y="95578"/>
                    </a:cubicBezTo>
                    <a:cubicBezTo>
                      <a:pt x="112831" y="85697"/>
                      <a:pt x="111877" y="83684"/>
                      <a:pt x="126206" y="78909"/>
                    </a:cubicBezTo>
                    <a:lnTo>
                      <a:pt x="140494" y="74147"/>
                    </a:lnTo>
                    <a:lnTo>
                      <a:pt x="147638" y="71765"/>
                    </a:lnTo>
                    <a:cubicBezTo>
                      <a:pt x="175258" y="74067"/>
                      <a:pt x="169400" y="68940"/>
                      <a:pt x="183356" y="78909"/>
                    </a:cubicBezTo>
                    <a:cubicBezTo>
                      <a:pt x="186586" y="81216"/>
                      <a:pt x="189630" y="83777"/>
                      <a:pt x="192881" y="86053"/>
                    </a:cubicBezTo>
                    <a:cubicBezTo>
                      <a:pt x="197570" y="89335"/>
                      <a:pt x="207169" y="95578"/>
                      <a:pt x="207169" y="95578"/>
                    </a:cubicBezTo>
                    <a:cubicBezTo>
                      <a:pt x="211931" y="94784"/>
                      <a:pt x="217264" y="95592"/>
                      <a:pt x="221456" y="93197"/>
                    </a:cubicBezTo>
                    <a:cubicBezTo>
                      <a:pt x="223635" y="91952"/>
                      <a:pt x="222715" y="88298"/>
                      <a:pt x="223838" y="86053"/>
                    </a:cubicBezTo>
                    <a:cubicBezTo>
                      <a:pt x="225118" y="83493"/>
                      <a:pt x="226173" y="80426"/>
                      <a:pt x="228600" y="78909"/>
                    </a:cubicBezTo>
                    <a:cubicBezTo>
                      <a:pt x="232857" y="76248"/>
                      <a:pt x="238125" y="75735"/>
                      <a:pt x="242888" y="74147"/>
                    </a:cubicBezTo>
                    <a:cubicBezTo>
                      <a:pt x="245269" y="73353"/>
                      <a:pt x="247943" y="73157"/>
                      <a:pt x="250031" y="71765"/>
                    </a:cubicBezTo>
                    <a:lnTo>
                      <a:pt x="264319" y="62240"/>
                    </a:lnTo>
                    <a:cubicBezTo>
                      <a:pt x="269885" y="53891"/>
                      <a:pt x="275575" y="48727"/>
                      <a:pt x="266700" y="36047"/>
                    </a:cubicBezTo>
                    <a:cubicBezTo>
                      <a:pt x="263821" y="31934"/>
                      <a:pt x="257175" y="32872"/>
                      <a:pt x="252413" y="31284"/>
                    </a:cubicBezTo>
                    <a:lnTo>
                      <a:pt x="245269" y="28903"/>
                    </a:lnTo>
                    <a:cubicBezTo>
                      <a:pt x="228600" y="29697"/>
                      <a:pt x="211897" y="29953"/>
                      <a:pt x="195263" y="31284"/>
                    </a:cubicBezTo>
                    <a:cubicBezTo>
                      <a:pt x="191325" y="31599"/>
                      <a:pt x="182690" y="34681"/>
                      <a:pt x="178594" y="36047"/>
                    </a:cubicBezTo>
                    <a:cubicBezTo>
                      <a:pt x="173038" y="34459"/>
                      <a:pt x="167094" y="33868"/>
                      <a:pt x="161925" y="31284"/>
                    </a:cubicBezTo>
                    <a:cubicBezTo>
                      <a:pt x="158913" y="29778"/>
                      <a:pt x="157583" y="26008"/>
                      <a:pt x="154781" y="24140"/>
                    </a:cubicBezTo>
                    <a:cubicBezTo>
                      <a:pt x="152693" y="22748"/>
                      <a:pt x="150019" y="22553"/>
                      <a:pt x="147638" y="21759"/>
                    </a:cubicBezTo>
                    <a:cubicBezTo>
                      <a:pt x="146844" y="19378"/>
                      <a:pt x="146824" y="16575"/>
                      <a:pt x="145256" y="14615"/>
                    </a:cubicBezTo>
                    <a:cubicBezTo>
                      <a:pt x="143468" y="12380"/>
                      <a:pt x="140402" y="11570"/>
                      <a:pt x="138113" y="9853"/>
                    </a:cubicBezTo>
                    <a:cubicBezTo>
                      <a:pt x="137215" y="9179"/>
                      <a:pt x="140493" y="1519"/>
                      <a:pt x="126206" y="32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7" name="Freeform 236"/>
              <p:cNvSpPr/>
              <p:nvPr/>
            </p:nvSpPr>
            <p:spPr>
              <a:xfrm>
                <a:off x="7896905" y="3565411"/>
                <a:ext cx="188118" cy="66675"/>
              </a:xfrm>
              <a:custGeom>
                <a:avLst/>
                <a:gdLst>
                  <a:gd name="connsiteX0" fmla="*/ 104775 w 188118"/>
                  <a:gd name="connsiteY0" fmla="*/ 19050 h 66675"/>
                  <a:gd name="connsiteX1" fmla="*/ 80962 w 188118"/>
                  <a:gd name="connsiteY1" fmla="*/ 16669 h 66675"/>
                  <a:gd name="connsiteX2" fmla="*/ 50006 w 188118"/>
                  <a:gd name="connsiteY2" fmla="*/ 11906 h 66675"/>
                  <a:gd name="connsiteX3" fmla="*/ 23812 w 188118"/>
                  <a:gd name="connsiteY3" fmla="*/ 2381 h 66675"/>
                  <a:gd name="connsiteX4" fmla="*/ 16668 w 188118"/>
                  <a:gd name="connsiteY4" fmla="*/ 0 h 66675"/>
                  <a:gd name="connsiteX5" fmla="*/ 2381 w 188118"/>
                  <a:gd name="connsiteY5" fmla="*/ 9525 h 66675"/>
                  <a:gd name="connsiteX6" fmla="*/ 0 w 188118"/>
                  <a:gd name="connsiteY6" fmla="*/ 16669 h 66675"/>
                  <a:gd name="connsiteX7" fmla="*/ 4762 w 188118"/>
                  <a:gd name="connsiteY7" fmla="*/ 52387 h 66675"/>
                  <a:gd name="connsiteX8" fmla="*/ 9525 w 188118"/>
                  <a:gd name="connsiteY8" fmla="*/ 59531 h 66675"/>
                  <a:gd name="connsiteX9" fmla="*/ 23812 w 188118"/>
                  <a:gd name="connsiteY9" fmla="*/ 64294 h 66675"/>
                  <a:gd name="connsiteX10" fmla="*/ 104775 w 188118"/>
                  <a:gd name="connsiteY10" fmla="*/ 66675 h 66675"/>
                  <a:gd name="connsiteX11" fmla="*/ 157162 w 188118"/>
                  <a:gd name="connsiteY11" fmla="*/ 64294 h 66675"/>
                  <a:gd name="connsiteX12" fmla="*/ 173831 w 188118"/>
                  <a:gd name="connsiteY12" fmla="*/ 59531 h 66675"/>
                  <a:gd name="connsiteX13" fmla="*/ 185737 w 188118"/>
                  <a:gd name="connsiteY13" fmla="*/ 42862 h 66675"/>
                  <a:gd name="connsiteX14" fmla="*/ 188118 w 188118"/>
                  <a:gd name="connsiteY14" fmla="*/ 35719 h 66675"/>
                  <a:gd name="connsiteX15" fmla="*/ 104775 w 188118"/>
                  <a:gd name="connsiteY15" fmla="*/ 19050 h 66675"/>
                  <a:gd name="connsiteX16" fmla="*/ 104775 w 188118"/>
                  <a:gd name="connsiteY16"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8118" h="66675">
                    <a:moveTo>
                      <a:pt x="104775" y="19050"/>
                    </a:moveTo>
                    <a:lnTo>
                      <a:pt x="80962" y="16669"/>
                    </a:lnTo>
                    <a:cubicBezTo>
                      <a:pt x="70563" y="15446"/>
                      <a:pt x="60325" y="13626"/>
                      <a:pt x="50006" y="11906"/>
                    </a:cubicBezTo>
                    <a:cubicBezTo>
                      <a:pt x="33444" y="5282"/>
                      <a:pt x="42149" y="8493"/>
                      <a:pt x="23812" y="2381"/>
                    </a:cubicBezTo>
                    <a:lnTo>
                      <a:pt x="16668" y="0"/>
                    </a:lnTo>
                    <a:cubicBezTo>
                      <a:pt x="9179" y="2496"/>
                      <a:pt x="7477" y="1880"/>
                      <a:pt x="2381" y="9525"/>
                    </a:cubicBezTo>
                    <a:cubicBezTo>
                      <a:pt x="989" y="11614"/>
                      <a:pt x="794" y="14288"/>
                      <a:pt x="0" y="16669"/>
                    </a:cubicBezTo>
                    <a:cubicBezTo>
                      <a:pt x="355" y="20574"/>
                      <a:pt x="1122" y="43893"/>
                      <a:pt x="4762" y="52387"/>
                    </a:cubicBezTo>
                    <a:cubicBezTo>
                      <a:pt x="5889" y="55018"/>
                      <a:pt x="7098" y="58014"/>
                      <a:pt x="9525" y="59531"/>
                    </a:cubicBezTo>
                    <a:cubicBezTo>
                      <a:pt x="13782" y="62192"/>
                      <a:pt x="18806" y="63919"/>
                      <a:pt x="23812" y="64294"/>
                    </a:cubicBezTo>
                    <a:cubicBezTo>
                      <a:pt x="50736" y="66313"/>
                      <a:pt x="77787" y="65881"/>
                      <a:pt x="104775" y="66675"/>
                    </a:cubicBezTo>
                    <a:cubicBezTo>
                      <a:pt x="122237" y="65881"/>
                      <a:pt x="139733" y="65635"/>
                      <a:pt x="157162" y="64294"/>
                    </a:cubicBezTo>
                    <a:cubicBezTo>
                      <a:pt x="161044" y="63995"/>
                      <a:pt x="169778" y="60882"/>
                      <a:pt x="173831" y="59531"/>
                    </a:cubicBezTo>
                    <a:cubicBezTo>
                      <a:pt x="175453" y="57369"/>
                      <a:pt x="183994" y="46348"/>
                      <a:pt x="185737" y="42862"/>
                    </a:cubicBezTo>
                    <a:cubicBezTo>
                      <a:pt x="186859" y="40617"/>
                      <a:pt x="187324" y="38100"/>
                      <a:pt x="188118" y="35719"/>
                    </a:cubicBezTo>
                    <a:cubicBezTo>
                      <a:pt x="180394" y="-2906"/>
                      <a:pt x="190057" y="25445"/>
                      <a:pt x="104775" y="19050"/>
                    </a:cubicBezTo>
                    <a:lnTo>
                      <a:pt x="104775" y="1905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8" name="Freeform 237"/>
              <p:cNvSpPr/>
              <p:nvPr/>
            </p:nvSpPr>
            <p:spPr>
              <a:xfrm>
                <a:off x="6368142" y="3596855"/>
                <a:ext cx="621513" cy="971062"/>
              </a:xfrm>
              <a:custGeom>
                <a:avLst/>
                <a:gdLst>
                  <a:gd name="connsiteX0" fmla="*/ 133350 w 621513"/>
                  <a:gd name="connsiteY0" fmla="*/ 11418 h 971062"/>
                  <a:gd name="connsiteX1" fmla="*/ 135731 w 621513"/>
                  <a:gd name="connsiteY1" fmla="*/ 106668 h 971062"/>
                  <a:gd name="connsiteX2" fmla="*/ 140494 w 621513"/>
                  <a:gd name="connsiteY2" fmla="*/ 116193 h 971062"/>
                  <a:gd name="connsiteX3" fmla="*/ 150019 w 621513"/>
                  <a:gd name="connsiteY3" fmla="*/ 137625 h 971062"/>
                  <a:gd name="connsiteX4" fmla="*/ 145256 w 621513"/>
                  <a:gd name="connsiteY4" fmla="*/ 187631 h 971062"/>
                  <a:gd name="connsiteX5" fmla="*/ 142875 w 621513"/>
                  <a:gd name="connsiteY5" fmla="*/ 194775 h 971062"/>
                  <a:gd name="connsiteX6" fmla="*/ 140494 w 621513"/>
                  <a:gd name="connsiteY6" fmla="*/ 206681 h 971062"/>
                  <a:gd name="connsiteX7" fmla="*/ 135731 w 621513"/>
                  <a:gd name="connsiteY7" fmla="*/ 228112 h 971062"/>
                  <a:gd name="connsiteX8" fmla="*/ 97631 w 621513"/>
                  <a:gd name="connsiteY8" fmla="*/ 235256 h 971062"/>
                  <a:gd name="connsiteX9" fmla="*/ 88106 w 621513"/>
                  <a:gd name="connsiteY9" fmla="*/ 237637 h 971062"/>
                  <a:gd name="connsiteX10" fmla="*/ 71438 w 621513"/>
                  <a:gd name="connsiteY10" fmla="*/ 259068 h 971062"/>
                  <a:gd name="connsiteX11" fmla="*/ 54769 w 621513"/>
                  <a:gd name="connsiteY11" fmla="*/ 273356 h 971062"/>
                  <a:gd name="connsiteX12" fmla="*/ 47625 w 621513"/>
                  <a:gd name="connsiteY12" fmla="*/ 330506 h 971062"/>
                  <a:gd name="connsiteX13" fmla="*/ 42863 w 621513"/>
                  <a:gd name="connsiteY13" fmla="*/ 344793 h 971062"/>
                  <a:gd name="connsiteX14" fmla="*/ 40481 w 621513"/>
                  <a:gd name="connsiteY14" fmla="*/ 354318 h 971062"/>
                  <a:gd name="connsiteX15" fmla="*/ 35719 w 621513"/>
                  <a:gd name="connsiteY15" fmla="*/ 382893 h 971062"/>
                  <a:gd name="connsiteX16" fmla="*/ 28575 w 621513"/>
                  <a:gd name="connsiteY16" fmla="*/ 390037 h 971062"/>
                  <a:gd name="connsiteX17" fmla="*/ 14288 w 621513"/>
                  <a:gd name="connsiteY17" fmla="*/ 399562 h 971062"/>
                  <a:gd name="connsiteX18" fmla="*/ 9525 w 621513"/>
                  <a:gd name="connsiteY18" fmla="*/ 406706 h 971062"/>
                  <a:gd name="connsiteX19" fmla="*/ 4763 w 621513"/>
                  <a:gd name="connsiteY19" fmla="*/ 420993 h 971062"/>
                  <a:gd name="connsiteX20" fmla="*/ 7144 w 621513"/>
                  <a:gd name="connsiteY20" fmla="*/ 428137 h 971062"/>
                  <a:gd name="connsiteX21" fmla="*/ 21431 w 621513"/>
                  <a:gd name="connsiteY21" fmla="*/ 435281 h 971062"/>
                  <a:gd name="connsiteX22" fmla="*/ 26194 w 621513"/>
                  <a:gd name="connsiteY22" fmla="*/ 442425 h 971062"/>
                  <a:gd name="connsiteX23" fmla="*/ 21431 w 621513"/>
                  <a:gd name="connsiteY23" fmla="*/ 471000 h 971062"/>
                  <a:gd name="connsiteX24" fmla="*/ 23813 w 621513"/>
                  <a:gd name="connsiteY24" fmla="*/ 497193 h 971062"/>
                  <a:gd name="connsiteX25" fmla="*/ 30956 w 621513"/>
                  <a:gd name="connsiteY25" fmla="*/ 501956 h 971062"/>
                  <a:gd name="connsiteX26" fmla="*/ 35719 w 621513"/>
                  <a:gd name="connsiteY26" fmla="*/ 509100 h 971062"/>
                  <a:gd name="connsiteX27" fmla="*/ 42863 w 621513"/>
                  <a:gd name="connsiteY27" fmla="*/ 516243 h 971062"/>
                  <a:gd name="connsiteX28" fmla="*/ 52388 w 621513"/>
                  <a:gd name="connsiteY28" fmla="*/ 537675 h 971062"/>
                  <a:gd name="connsiteX29" fmla="*/ 57150 w 621513"/>
                  <a:gd name="connsiteY29" fmla="*/ 544818 h 971062"/>
                  <a:gd name="connsiteX30" fmla="*/ 61913 w 621513"/>
                  <a:gd name="connsiteY30" fmla="*/ 561487 h 971062"/>
                  <a:gd name="connsiteX31" fmla="*/ 66675 w 621513"/>
                  <a:gd name="connsiteY31" fmla="*/ 575775 h 971062"/>
                  <a:gd name="connsiteX32" fmla="*/ 69056 w 621513"/>
                  <a:gd name="connsiteY32" fmla="*/ 582918 h 971062"/>
                  <a:gd name="connsiteX33" fmla="*/ 66675 w 621513"/>
                  <a:gd name="connsiteY33" fmla="*/ 601968 h 971062"/>
                  <a:gd name="connsiteX34" fmla="*/ 64294 w 621513"/>
                  <a:gd name="connsiteY34" fmla="*/ 623400 h 971062"/>
                  <a:gd name="connsiteX35" fmla="*/ 61913 w 621513"/>
                  <a:gd name="connsiteY35" fmla="*/ 632925 h 971062"/>
                  <a:gd name="connsiteX36" fmla="*/ 59531 w 621513"/>
                  <a:gd name="connsiteY36" fmla="*/ 673406 h 971062"/>
                  <a:gd name="connsiteX37" fmla="*/ 54769 w 621513"/>
                  <a:gd name="connsiteY37" fmla="*/ 687693 h 971062"/>
                  <a:gd name="connsiteX38" fmla="*/ 50006 w 621513"/>
                  <a:gd name="connsiteY38" fmla="*/ 704362 h 971062"/>
                  <a:gd name="connsiteX39" fmla="*/ 45244 w 621513"/>
                  <a:gd name="connsiteY39" fmla="*/ 721031 h 971062"/>
                  <a:gd name="connsiteX40" fmla="*/ 42863 w 621513"/>
                  <a:gd name="connsiteY40" fmla="*/ 744843 h 971062"/>
                  <a:gd name="connsiteX41" fmla="*/ 35719 w 621513"/>
                  <a:gd name="connsiteY41" fmla="*/ 771037 h 971062"/>
                  <a:gd name="connsiteX42" fmla="*/ 30956 w 621513"/>
                  <a:gd name="connsiteY42" fmla="*/ 780562 h 971062"/>
                  <a:gd name="connsiteX43" fmla="*/ 28575 w 621513"/>
                  <a:gd name="connsiteY43" fmla="*/ 787706 h 971062"/>
                  <a:gd name="connsiteX44" fmla="*/ 23813 w 621513"/>
                  <a:gd name="connsiteY44" fmla="*/ 794850 h 971062"/>
                  <a:gd name="connsiteX45" fmla="*/ 19050 w 621513"/>
                  <a:gd name="connsiteY45" fmla="*/ 811518 h 971062"/>
                  <a:gd name="connsiteX46" fmla="*/ 14288 w 621513"/>
                  <a:gd name="connsiteY46" fmla="*/ 818662 h 971062"/>
                  <a:gd name="connsiteX47" fmla="*/ 9525 w 621513"/>
                  <a:gd name="connsiteY47" fmla="*/ 837712 h 971062"/>
                  <a:gd name="connsiteX48" fmla="*/ 7144 w 621513"/>
                  <a:gd name="connsiteY48" fmla="*/ 844856 h 971062"/>
                  <a:gd name="connsiteX49" fmla="*/ 4763 w 621513"/>
                  <a:gd name="connsiteY49" fmla="*/ 856762 h 971062"/>
                  <a:gd name="connsiteX50" fmla="*/ 2381 w 621513"/>
                  <a:gd name="connsiteY50" fmla="*/ 863906 h 971062"/>
                  <a:gd name="connsiteX51" fmla="*/ 0 w 621513"/>
                  <a:gd name="connsiteY51" fmla="*/ 873431 h 971062"/>
                  <a:gd name="connsiteX52" fmla="*/ 2381 w 621513"/>
                  <a:gd name="connsiteY52" fmla="*/ 899625 h 971062"/>
                  <a:gd name="connsiteX53" fmla="*/ 4763 w 621513"/>
                  <a:gd name="connsiteY53" fmla="*/ 906768 h 971062"/>
                  <a:gd name="connsiteX54" fmla="*/ 33338 w 621513"/>
                  <a:gd name="connsiteY54" fmla="*/ 930581 h 971062"/>
                  <a:gd name="connsiteX55" fmla="*/ 40481 w 621513"/>
                  <a:gd name="connsiteY55" fmla="*/ 932962 h 971062"/>
                  <a:gd name="connsiteX56" fmla="*/ 54769 w 621513"/>
                  <a:gd name="connsiteY56" fmla="*/ 947250 h 971062"/>
                  <a:gd name="connsiteX57" fmla="*/ 76200 w 621513"/>
                  <a:gd name="connsiteY57" fmla="*/ 963918 h 971062"/>
                  <a:gd name="connsiteX58" fmla="*/ 100013 w 621513"/>
                  <a:gd name="connsiteY58" fmla="*/ 968681 h 971062"/>
                  <a:gd name="connsiteX59" fmla="*/ 111919 w 621513"/>
                  <a:gd name="connsiteY59" fmla="*/ 971062 h 971062"/>
                  <a:gd name="connsiteX60" fmla="*/ 147638 w 621513"/>
                  <a:gd name="connsiteY60" fmla="*/ 968681 h 971062"/>
                  <a:gd name="connsiteX61" fmla="*/ 157163 w 621513"/>
                  <a:gd name="connsiteY61" fmla="*/ 954393 h 971062"/>
                  <a:gd name="connsiteX62" fmla="*/ 161925 w 621513"/>
                  <a:gd name="connsiteY62" fmla="*/ 947250 h 971062"/>
                  <a:gd name="connsiteX63" fmla="*/ 180975 w 621513"/>
                  <a:gd name="connsiteY63" fmla="*/ 940106 h 971062"/>
                  <a:gd name="connsiteX64" fmla="*/ 207169 w 621513"/>
                  <a:gd name="connsiteY64" fmla="*/ 937725 h 971062"/>
                  <a:gd name="connsiteX65" fmla="*/ 214313 w 621513"/>
                  <a:gd name="connsiteY65" fmla="*/ 930581 h 971062"/>
                  <a:gd name="connsiteX66" fmla="*/ 228600 w 621513"/>
                  <a:gd name="connsiteY66" fmla="*/ 925818 h 971062"/>
                  <a:gd name="connsiteX67" fmla="*/ 250031 w 621513"/>
                  <a:gd name="connsiteY67" fmla="*/ 928200 h 971062"/>
                  <a:gd name="connsiteX68" fmla="*/ 257175 w 621513"/>
                  <a:gd name="connsiteY68" fmla="*/ 930581 h 971062"/>
                  <a:gd name="connsiteX69" fmla="*/ 271463 w 621513"/>
                  <a:gd name="connsiteY69" fmla="*/ 944868 h 971062"/>
                  <a:gd name="connsiteX70" fmla="*/ 276225 w 621513"/>
                  <a:gd name="connsiteY70" fmla="*/ 937725 h 971062"/>
                  <a:gd name="connsiteX71" fmla="*/ 276225 w 621513"/>
                  <a:gd name="connsiteY71" fmla="*/ 882956 h 971062"/>
                  <a:gd name="connsiteX72" fmla="*/ 254794 w 621513"/>
                  <a:gd name="connsiteY72" fmla="*/ 861525 h 971062"/>
                  <a:gd name="connsiteX73" fmla="*/ 247650 w 621513"/>
                  <a:gd name="connsiteY73" fmla="*/ 854381 h 971062"/>
                  <a:gd name="connsiteX74" fmla="*/ 245269 w 621513"/>
                  <a:gd name="connsiteY74" fmla="*/ 840093 h 971062"/>
                  <a:gd name="connsiteX75" fmla="*/ 240506 w 621513"/>
                  <a:gd name="connsiteY75" fmla="*/ 821043 h 971062"/>
                  <a:gd name="connsiteX76" fmla="*/ 238125 w 621513"/>
                  <a:gd name="connsiteY76" fmla="*/ 809137 h 971062"/>
                  <a:gd name="connsiteX77" fmla="*/ 247650 w 621513"/>
                  <a:gd name="connsiteY77" fmla="*/ 768656 h 971062"/>
                  <a:gd name="connsiteX78" fmla="*/ 257175 w 621513"/>
                  <a:gd name="connsiteY78" fmla="*/ 754368 h 971062"/>
                  <a:gd name="connsiteX79" fmla="*/ 261938 w 621513"/>
                  <a:gd name="connsiteY79" fmla="*/ 747225 h 971062"/>
                  <a:gd name="connsiteX80" fmla="*/ 264319 w 621513"/>
                  <a:gd name="connsiteY80" fmla="*/ 730556 h 971062"/>
                  <a:gd name="connsiteX81" fmla="*/ 266700 w 621513"/>
                  <a:gd name="connsiteY81" fmla="*/ 723412 h 971062"/>
                  <a:gd name="connsiteX82" fmla="*/ 269081 w 621513"/>
                  <a:gd name="connsiteY82" fmla="*/ 704362 h 971062"/>
                  <a:gd name="connsiteX83" fmla="*/ 264319 w 621513"/>
                  <a:gd name="connsiteY83" fmla="*/ 651975 h 971062"/>
                  <a:gd name="connsiteX84" fmla="*/ 259556 w 621513"/>
                  <a:gd name="connsiteY84" fmla="*/ 637687 h 971062"/>
                  <a:gd name="connsiteX85" fmla="*/ 254794 w 621513"/>
                  <a:gd name="connsiteY85" fmla="*/ 618637 h 971062"/>
                  <a:gd name="connsiteX86" fmla="*/ 252413 w 621513"/>
                  <a:gd name="connsiteY86" fmla="*/ 611493 h 971062"/>
                  <a:gd name="connsiteX87" fmla="*/ 247650 w 621513"/>
                  <a:gd name="connsiteY87" fmla="*/ 592443 h 971062"/>
                  <a:gd name="connsiteX88" fmla="*/ 250031 w 621513"/>
                  <a:gd name="connsiteY88" fmla="*/ 501956 h 971062"/>
                  <a:gd name="connsiteX89" fmla="*/ 254794 w 621513"/>
                  <a:gd name="connsiteY89" fmla="*/ 494812 h 971062"/>
                  <a:gd name="connsiteX90" fmla="*/ 269081 w 621513"/>
                  <a:gd name="connsiteY90" fmla="*/ 487668 h 971062"/>
                  <a:gd name="connsiteX91" fmla="*/ 276225 w 621513"/>
                  <a:gd name="connsiteY91" fmla="*/ 480525 h 971062"/>
                  <a:gd name="connsiteX92" fmla="*/ 283369 w 621513"/>
                  <a:gd name="connsiteY92" fmla="*/ 454331 h 971062"/>
                  <a:gd name="connsiteX93" fmla="*/ 283369 w 621513"/>
                  <a:gd name="connsiteY93" fmla="*/ 397181 h 971062"/>
                  <a:gd name="connsiteX94" fmla="*/ 278606 w 621513"/>
                  <a:gd name="connsiteY94" fmla="*/ 390037 h 971062"/>
                  <a:gd name="connsiteX95" fmla="*/ 273844 w 621513"/>
                  <a:gd name="connsiteY95" fmla="*/ 373368 h 971062"/>
                  <a:gd name="connsiteX96" fmla="*/ 269081 w 621513"/>
                  <a:gd name="connsiteY96" fmla="*/ 347175 h 971062"/>
                  <a:gd name="connsiteX97" fmla="*/ 252413 w 621513"/>
                  <a:gd name="connsiteY97" fmla="*/ 325743 h 971062"/>
                  <a:gd name="connsiteX98" fmla="*/ 235744 w 621513"/>
                  <a:gd name="connsiteY98" fmla="*/ 306693 h 971062"/>
                  <a:gd name="connsiteX99" fmla="*/ 228600 w 621513"/>
                  <a:gd name="connsiteY99" fmla="*/ 292406 h 971062"/>
                  <a:gd name="connsiteX100" fmla="*/ 233363 w 621513"/>
                  <a:gd name="connsiteY100" fmla="*/ 285262 h 971062"/>
                  <a:gd name="connsiteX101" fmla="*/ 254794 w 621513"/>
                  <a:gd name="connsiteY101" fmla="*/ 273356 h 971062"/>
                  <a:gd name="connsiteX102" fmla="*/ 271463 w 621513"/>
                  <a:gd name="connsiteY102" fmla="*/ 266212 h 971062"/>
                  <a:gd name="connsiteX103" fmla="*/ 285750 w 621513"/>
                  <a:gd name="connsiteY103" fmla="*/ 256687 h 971062"/>
                  <a:gd name="connsiteX104" fmla="*/ 307181 w 621513"/>
                  <a:gd name="connsiteY104" fmla="*/ 240018 h 971062"/>
                  <a:gd name="connsiteX105" fmla="*/ 314325 w 621513"/>
                  <a:gd name="connsiteY105" fmla="*/ 235256 h 971062"/>
                  <a:gd name="connsiteX106" fmla="*/ 321469 w 621513"/>
                  <a:gd name="connsiteY106" fmla="*/ 230493 h 971062"/>
                  <a:gd name="connsiteX107" fmla="*/ 328613 w 621513"/>
                  <a:gd name="connsiteY107" fmla="*/ 228112 h 971062"/>
                  <a:gd name="connsiteX108" fmla="*/ 345281 w 621513"/>
                  <a:gd name="connsiteY108" fmla="*/ 220968 h 971062"/>
                  <a:gd name="connsiteX109" fmla="*/ 364331 w 621513"/>
                  <a:gd name="connsiteY109" fmla="*/ 209062 h 971062"/>
                  <a:gd name="connsiteX110" fmla="*/ 388144 w 621513"/>
                  <a:gd name="connsiteY110" fmla="*/ 204300 h 971062"/>
                  <a:gd name="connsiteX111" fmla="*/ 411956 w 621513"/>
                  <a:gd name="connsiteY111" fmla="*/ 206681 h 971062"/>
                  <a:gd name="connsiteX112" fmla="*/ 414338 w 621513"/>
                  <a:gd name="connsiteY112" fmla="*/ 213825 h 971062"/>
                  <a:gd name="connsiteX113" fmla="*/ 421481 w 621513"/>
                  <a:gd name="connsiteY113" fmla="*/ 220968 h 971062"/>
                  <a:gd name="connsiteX114" fmla="*/ 428625 w 621513"/>
                  <a:gd name="connsiteY114" fmla="*/ 237637 h 971062"/>
                  <a:gd name="connsiteX115" fmla="*/ 426244 w 621513"/>
                  <a:gd name="connsiteY115" fmla="*/ 244781 h 971062"/>
                  <a:gd name="connsiteX116" fmla="*/ 428625 w 621513"/>
                  <a:gd name="connsiteY116" fmla="*/ 251925 h 971062"/>
                  <a:gd name="connsiteX117" fmla="*/ 435769 w 621513"/>
                  <a:gd name="connsiteY117" fmla="*/ 254306 h 971062"/>
                  <a:gd name="connsiteX118" fmla="*/ 454819 w 621513"/>
                  <a:gd name="connsiteY118" fmla="*/ 256687 h 971062"/>
                  <a:gd name="connsiteX119" fmla="*/ 471488 w 621513"/>
                  <a:gd name="connsiteY119" fmla="*/ 263831 h 971062"/>
                  <a:gd name="connsiteX120" fmla="*/ 478631 w 621513"/>
                  <a:gd name="connsiteY120" fmla="*/ 268593 h 971062"/>
                  <a:gd name="connsiteX121" fmla="*/ 488156 w 621513"/>
                  <a:gd name="connsiteY121" fmla="*/ 270975 h 971062"/>
                  <a:gd name="connsiteX122" fmla="*/ 509588 w 621513"/>
                  <a:gd name="connsiteY122" fmla="*/ 275737 h 971062"/>
                  <a:gd name="connsiteX123" fmla="*/ 519113 w 621513"/>
                  <a:gd name="connsiteY123" fmla="*/ 280500 h 971062"/>
                  <a:gd name="connsiteX124" fmla="*/ 538163 w 621513"/>
                  <a:gd name="connsiteY124" fmla="*/ 285262 h 971062"/>
                  <a:gd name="connsiteX125" fmla="*/ 545306 w 621513"/>
                  <a:gd name="connsiteY125" fmla="*/ 287643 h 971062"/>
                  <a:gd name="connsiteX126" fmla="*/ 583406 w 621513"/>
                  <a:gd name="connsiteY126" fmla="*/ 280500 h 971062"/>
                  <a:gd name="connsiteX127" fmla="*/ 585788 w 621513"/>
                  <a:gd name="connsiteY127" fmla="*/ 273356 h 971062"/>
                  <a:gd name="connsiteX128" fmla="*/ 588169 w 621513"/>
                  <a:gd name="connsiteY128" fmla="*/ 259068 h 971062"/>
                  <a:gd name="connsiteX129" fmla="*/ 602456 w 621513"/>
                  <a:gd name="connsiteY129" fmla="*/ 242400 h 971062"/>
                  <a:gd name="connsiteX130" fmla="*/ 609600 w 621513"/>
                  <a:gd name="connsiteY130" fmla="*/ 240018 h 971062"/>
                  <a:gd name="connsiteX131" fmla="*/ 616744 w 621513"/>
                  <a:gd name="connsiteY131" fmla="*/ 235256 h 971062"/>
                  <a:gd name="connsiteX132" fmla="*/ 619125 w 621513"/>
                  <a:gd name="connsiteY132" fmla="*/ 223350 h 971062"/>
                  <a:gd name="connsiteX133" fmla="*/ 621506 w 621513"/>
                  <a:gd name="connsiteY133" fmla="*/ 213825 h 971062"/>
                  <a:gd name="connsiteX134" fmla="*/ 614363 w 621513"/>
                  <a:gd name="connsiteY134" fmla="*/ 185250 h 971062"/>
                  <a:gd name="connsiteX135" fmla="*/ 607219 w 621513"/>
                  <a:gd name="connsiteY135" fmla="*/ 180487 h 971062"/>
                  <a:gd name="connsiteX136" fmla="*/ 602456 w 621513"/>
                  <a:gd name="connsiteY136" fmla="*/ 173343 h 971062"/>
                  <a:gd name="connsiteX137" fmla="*/ 592931 w 621513"/>
                  <a:gd name="connsiteY137" fmla="*/ 166200 h 971062"/>
                  <a:gd name="connsiteX138" fmla="*/ 585788 w 621513"/>
                  <a:gd name="connsiteY138" fmla="*/ 163818 h 971062"/>
                  <a:gd name="connsiteX139" fmla="*/ 573881 w 621513"/>
                  <a:gd name="connsiteY139" fmla="*/ 159056 h 971062"/>
                  <a:gd name="connsiteX140" fmla="*/ 566738 w 621513"/>
                  <a:gd name="connsiteY140" fmla="*/ 154293 h 971062"/>
                  <a:gd name="connsiteX141" fmla="*/ 547688 w 621513"/>
                  <a:gd name="connsiteY141" fmla="*/ 149531 h 971062"/>
                  <a:gd name="connsiteX142" fmla="*/ 538163 w 621513"/>
                  <a:gd name="connsiteY142" fmla="*/ 144768 h 971062"/>
                  <a:gd name="connsiteX143" fmla="*/ 514350 w 621513"/>
                  <a:gd name="connsiteY143" fmla="*/ 137625 h 971062"/>
                  <a:gd name="connsiteX144" fmla="*/ 507206 w 621513"/>
                  <a:gd name="connsiteY144" fmla="*/ 135243 h 971062"/>
                  <a:gd name="connsiteX145" fmla="*/ 457200 w 621513"/>
                  <a:gd name="connsiteY145" fmla="*/ 132862 h 971062"/>
                  <a:gd name="connsiteX146" fmla="*/ 426244 w 621513"/>
                  <a:gd name="connsiteY146" fmla="*/ 128100 h 971062"/>
                  <a:gd name="connsiteX147" fmla="*/ 419100 w 621513"/>
                  <a:gd name="connsiteY147" fmla="*/ 123337 h 971062"/>
                  <a:gd name="connsiteX148" fmla="*/ 409575 w 621513"/>
                  <a:gd name="connsiteY148" fmla="*/ 118575 h 971062"/>
                  <a:gd name="connsiteX149" fmla="*/ 383381 w 621513"/>
                  <a:gd name="connsiteY149" fmla="*/ 111431 h 971062"/>
                  <a:gd name="connsiteX150" fmla="*/ 373856 w 621513"/>
                  <a:gd name="connsiteY150" fmla="*/ 104287 h 971062"/>
                  <a:gd name="connsiteX151" fmla="*/ 366713 w 621513"/>
                  <a:gd name="connsiteY151" fmla="*/ 101906 h 971062"/>
                  <a:gd name="connsiteX152" fmla="*/ 359569 w 621513"/>
                  <a:gd name="connsiteY152" fmla="*/ 97143 h 971062"/>
                  <a:gd name="connsiteX153" fmla="*/ 354806 w 621513"/>
                  <a:gd name="connsiteY153" fmla="*/ 90000 h 971062"/>
                  <a:gd name="connsiteX154" fmla="*/ 326231 w 621513"/>
                  <a:gd name="connsiteY154" fmla="*/ 66187 h 971062"/>
                  <a:gd name="connsiteX155" fmla="*/ 319088 w 621513"/>
                  <a:gd name="connsiteY155" fmla="*/ 51900 h 971062"/>
                  <a:gd name="connsiteX156" fmla="*/ 314325 w 621513"/>
                  <a:gd name="connsiteY156" fmla="*/ 35231 h 971062"/>
                  <a:gd name="connsiteX157" fmla="*/ 307181 w 621513"/>
                  <a:gd name="connsiteY157" fmla="*/ 30468 h 971062"/>
                  <a:gd name="connsiteX158" fmla="*/ 297656 w 621513"/>
                  <a:gd name="connsiteY158" fmla="*/ 23325 h 971062"/>
                  <a:gd name="connsiteX159" fmla="*/ 290513 w 621513"/>
                  <a:gd name="connsiteY159" fmla="*/ 16181 h 971062"/>
                  <a:gd name="connsiteX160" fmla="*/ 280988 w 621513"/>
                  <a:gd name="connsiteY160" fmla="*/ 13800 h 971062"/>
                  <a:gd name="connsiteX161" fmla="*/ 238125 w 621513"/>
                  <a:gd name="connsiteY161" fmla="*/ 6656 h 971062"/>
                  <a:gd name="connsiteX162" fmla="*/ 154781 w 621513"/>
                  <a:gd name="connsiteY162" fmla="*/ 1893 h 971062"/>
                  <a:gd name="connsiteX163" fmla="*/ 133350 w 621513"/>
                  <a:gd name="connsiteY163" fmla="*/ 11418 h 97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621513" h="971062">
                    <a:moveTo>
                      <a:pt x="133350" y="11418"/>
                    </a:moveTo>
                    <a:cubicBezTo>
                      <a:pt x="130175" y="28881"/>
                      <a:pt x="133570" y="74982"/>
                      <a:pt x="135731" y="106668"/>
                    </a:cubicBezTo>
                    <a:cubicBezTo>
                      <a:pt x="135972" y="110210"/>
                      <a:pt x="139176" y="112897"/>
                      <a:pt x="140494" y="116193"/>
                    </a:cubicBezTo>
                    <a:cubicBezTo>
                      <a:pt x="148996" y="137449"/>
                      <a:pt x="140855" y="123880"/>
                      <a:pt x="150019" y="137625"/>
                    </a:cubicBezTo>
                    <a:cubicBezTo>
                      <a:pt x="148982" y="152142"/>
                      <a:pt x="148335" y="172236"/>
                      <a:pt x="145256" y="187631"/>
                    </a:cubicBezTo>
                    <a:cubicBezTo>
                      <a:pt x="144764" y="190092"/>
                      <a:pt x="143484" y="192340"/>
                      <a:pt x="142875" y="194775"/>
                    </a:cubicBezTo>
                    <a:cubicBezTo>
                      <a:pt x="141893" y="198701"/>
                      <a:pt x="141218" y="202699"/>
                      <a:pt x="140494" y="206681"/>
                    </a:cubicBezTo>
                    <a:cubicBezTo>
                      <a:pt x="140466" y="206836"/>
                      <a:pt x="138202" y="225023"/>
                      <a:pt x="135731" y="228112"/>
                    </a:cubicBezTo>
                    <a:cubicBezTo>
                      <a:pt x="127810" y="238014"/>
                      <a:pt x="103116" y="234834"/>
                      <a:pt x="97631" y="235256"/>
                    </a:cubicBezTo>
                    <a:cubicBezTo>
                      <a:pt x="94456" y="236050"/>
                      <a:pt x="90947" y="236013"/>
                      <a:pt x="88106" y="237637"/>
                    </a:cubicBezTo>
                    <a:cubicBezTo>
                      <a:pt x="80290" y="242104"/>
                      <a:pt x="77097" y="253409"/>
                      <a:pt x="71438" y="259068"/>
                    </a:cubicBezTo>
                    <a:cubicBezTo>
                      <a:pt x="59889" y="270617"/>
                      <a:pt x="65649" y="266102"/>
                      <a:pt x="54769" y="273356"/>
                    </a:cubicBezTo>
                    <a:cubicBezTo>
                      <a:pt x="43615" y="306814"/>
                      <a:pt x="55603" y="266678"/>
                      <a:pt x="47625" y="330506"/>
                    </a:cubicBezTo>
                    <a:cubicBezTo>
                      <a:pt x="47002" y="335487"/>
                      <a:pt x="44081" y="339923"/>
                      <a:pt x="42863" y="344793"/>
                    </a:cubicBezTo>
                    <a:cubicBezTo>
                      <a:pt x="42069" y="347968"/>
                      <a:pt x="41084" y="351101"/>
                      <a:pt x="40481" y="354318"/>
                    </a:cubicBezTo>
                    <a:cubicBezTo>
                      <a:pt x="38701" y="363809"/>
                      <a:pt x="42547" y="376065"/>
                      <a:pt x="35719" y="382893"/>
                    </a:cubicBezTo>
                    <a:cubicBezTo>
                      <a:pt x="33338" y="385274"/>
                      <a:pt x="31233" y="387969"/>
                      <a:pt x="28575" y="390037"/>
                    </a:cubicBezTo>
                    <a:cubicBezTo>
                      <a:pt x="24057" y="393551"/>
                      <a:pt x="14288" y="399562"/>
                      <a:pt x="14288" y="399562"/>
                    </a:cubicBezTo>
                    <a:cubicBezTo>
                      <a:pt x="12700" y="401943"/>
                      <a:pt x="10687" y="404091"/>
                      <a:pt x="9525" y="406706"/>
                    </a:cubicBezTo>
                    <a:cubicBezTo>
                      <a:pt x="7486" y="411293"/>
                      <a:pt x="4763" y="420993"/>
                      <a:pt x="4763" y="420993"/>
                    </a:cubicBezTo>
                    <a:cubicBezTo>
                      <a:pt x="5557" y="423374"/>
                      <a:pt x="5576" y="426177"/>
                      <a:pt x="7144" y="428137"/>
                    </a:cubicBezTo>
                    <a:cubicBezTo>
                      <a:pt x="10501" y="432334"/>
                      <a:pt x="16725" y="433712"/>
                      <a:pt x="21431" y="435281"/>
                    </a:cubicBezTo>
                    <a:cubicBezTo>
                      <a:pt x="23019" y="437662"/>
                      <a:pt x="25956" y="439573"/>
                      <a:pt x="26194" y="442425"/>
                    </a:cubicBezTo>
                    <a:cubicBezTo>
                      <a:pt x="27258" y="455188"/>
                      <a:pt x="24787" y="460936"/>
                      <a:pt x="21431" y="471000"/>
                    </a:cubicBezTo>
                    <a:cubicBezTo>
                      <a:pt x="22225" y="479731"/>
                      <a:pt x="21235" y="488814"/>
                      <a:pt x="23813" y="497193"/>
                    </a:cubicBezTo>
                    <a:cubicBezTo>
                      <a:pt x="24655" y="499928"/>
                      <a:pt x="28932" y="499932"/>
                      <a:pt x="30956" y="501956"/>
                    </a:cubicBezTo>
                    <a:cubicBezTo>
                      <a:pt x="32980" y="503980"/>
                      <a:pt x="33887" y="506901"/>
                      <a:pt x="35719" y="509100"/>
                    </a:cubicBezTo>
                    <a:cubicBezTo>
                      <a:pt x="37875" y="511687"/>
                      <a:pt x="40707" y="513656"/>
                      <a:pt x="42863" y="516243"/>
                    </a:cubicBezTo>
                    <a:cubicBezTo>
                      <a:pt x="59010" y="535619"/>
                      <a:pt x="31633" y="506542"/>
                      <a:pt x="52388" y="537675"/>
                    </a:cubicBezTo>
                    <a:lnTo>
                      <a:pt x="57150" y="544818"/>
                    </a:lnTo>
                    <a:cubicBezTo>
                      <a:pt x="65152" y="568827"/>
                      <a:pt x="52943" y="531586"/>
                      <a:pt x="61913" y="561487"/>
                    </a:cubicBezTo>
                    <a:cubicBezTo>
                      <a:pt x="63356" y="566295"/>
                      <a:pt x="65088" y="571012"/>
                      <a:pt x="66675" y="575775"/>
                    </a:cubicBezTo>
                    <a:lnTo>
                      <a:pt x="69056" y="582918"/>
                    </a:lnTo>
                    <a:cubicBezTo>
                      <a:pt x="68262" y="589268"/>
                      <a:pt x="67423" y="595612"/>
                      <a:pt x="66675" y="601968"/>
                    </a:cubicBezTo>
                    <a:cubicBezTo>
                      <a:pt x="65835" y="609107"/>
                      <a:pt x="65387" y="616296"/>
                      <a:pt x="64294" y="623400"/>
                    </a:cubicBezTo>
                    <a:cubicBezTo>
                      <a:pt x="63796" y="626635"/>
                      <a:pt x="62707" y="629750"/>
                      <a:pt x="61913" y="632925"/>
                    </a:cubicBezTo>
                    <a:cubicBezTo>
                      <a:pt x="61119" y="646419"/>
                      <a:pt x="61279" y="660003"/>
                      <a:pt x="59531" y="673406"/>
                    </a:cubicBezTo>
                    <a:cubicBezTo>
                      <a:pt x="58882" y="678384"/>
                      <a:pt x="56356" y="682931"/>
                      <a:pt x="54769" y="687693"/>
                    </a:cubicBezTo>
                    <a:cubicBezTo>
                      <a:pt x="49062" y="704816"/>
                      <a:pt x="55985" y="683439"/>
                      <a:pt x="50006" y="704362"/>
                    </a:cubicBezTo>
                    <a:cubicBezTo>
                      <a:pt x="43184" y="728235"/>
                      <a:pt x="52674" y="691307"/>
                      <a:pt x="45244" y="721031"/>
                    </a:cubicBezTo>
                    <a:cubicBezTo>
                      <a:pt x="44450" y="728968"/>
                      <a:pt x="44174" y="736975"/>
                      <a:pt x="42863" y="744843"/>
                    </a:cubicBezTo>
                    <a:cubicBezTo>
                      <a:pt x="42533" y="746821"/>
                      <a:pt x="38236" y="765164"/>
                      <a:pt x="35719" y="771037"/>
                    </a:cubicBezTo>
                    <a:cubicBezTo>
                      <a:pt x="34321" y="774300"/>
                      <a:pt x="32354" y="777299"/>
                      <a:pt x="30956" y="780562"/>
                    </a:cubicBezTo>
                    <a:cubicBezTo>
                      <a:pt x="29967" y="782869"/>
                      <a:pt x="29697" y="785461"/>
                      <a:pt x="28575" y="787706"/>
                    </a:cubicBezTo>
                    <a:cubicBezTo>
                      <a:pt x="27295" y="790266"/>
                      <a:pt x="25093" y="792290"/>
                      <a:pt x="23813" y="794850"/>
                    </a:cubicBezTo>
                    <a:cubicBezTo>
                      <a:pt x="19172" y="804130"/>
                      <a:pt x="23635" y="800819"/>
                      <a:pt x="19050" y="811518"/>
                    </a:cubicBezTo>
                    <a:cubicBezTo>
                      <a:pt x="17923" y="814149"/>
                      <a:pt x="15568" y="816102"/>
                      <a:pt x="14288" y="818662"/>
                    </a:cubicBezTo>
                    <a:cubicBezTo>
                      <a:pt x="11564" y="824110"/>
                      <a:pt x="10885" y="832270"/>
                      <a:pt x="9525" y="837712"/>
                    </a:cubicBezTo>
                    <a:cubicBezTo>
                      <a:pt x="8916" y="840147"/>
                      <a:pt x="7753" y="842421"/>
                      <a:pt x="7144" y="844856"/>
                    </a:cubicBezTo>
                    <a:cubicBezTo>
                      <a:pt x="6162" y="848782"/>
                      <a:pt x="5745" y="852836"/>
                      <a:pt x="4763" y="856762"/>
                    </a:cubicBezTo>
                    <a:cubicBezTo>
                      <a:pt x="4154" y="859197"/>
                      <a:pt x="3071" y="861492"/>
                      <a:pt x="2381" y="863906"/>
                    </a:cubicBezTo>
                    <a:cubicBezTo>
                      <a:pt x="1482" y="867053"/>
                      <a:pt x="794" y="870256"/>
                      <a:pt x="0" y="873431"/>
                    </a:cubicBezTo>
                    <a:cubicBezTo>
                      <a:pt x="794" y="882162"/>
                      <a:pt x="1141" y="890946"/>
                      <a:pt x="2381" y="899625"/>
                    </a:cubicBezTo>
                    <a:cubicBezTo>
                      <a:pt x="2736" y="902110"/>
                      <a:pt x="3222" y="904787"/>
                      <a:pt x="4763" y="906768"/>
                    </a:cubicBezTo>
                    <a:cubicBezTo>
                      <a:pt x="9407" y="912739"/>
                      <a:pt x="25081" y="927829"/>
                      <a:pt x="33338" y="930581"/>
                    </a:cubicBezTo>
                    <a:lnTo>
                      <a:pt x="40481" y="932962"/>
                    </a:lnTo>
                    <a:lnTo>
                      <a:pt x="54769" y="947250"/>
                    </a:lnTo>
                    <a:cubicBezTo>
                      <a:pt x="60094" y="952575"/>
                      <a:pt x="69083" y="962494"/>
                      <a:pt x="76200" y="963918"/>
                    </a:cubicBezTo>
                    <a:lnTo>
                      <a:pt x="100013" y="968681"/>
                    </a:lnTo>
                    <a:lnTo>
                      <a:pt x="111919" y="971062"/>
                    </a:lnTo>
                    <a:cubicBezTo>
                      <a:pt x="123825" y="970268"/>
                      <a:pt x="135989" y="971270"/>
                      <a:pt x="147638" y="968681"/>
                    </a:cubicBezTo>
                    <a:cubicBezTo>
                      <a:pt x="155253" y="966989"/>
                      <a:pt x="154687" y="959344"/>
                      <a:pt x="157163" y="954393"/>
                    </a:cubicBezTo>
                    <a:cubicBezTo>
                      <a:pt x="158443" y="951834"/>
                      <a:pt x="159902" y="949273"/>
                      <a:pt x="161925" y="947250"/>
                    </a:cubicBezTo>
                    <a:cubicBezTo>
                      <a:pt x="167541" y="941634"/>
                      <a:pt x="173185" y="941080"/>
                      <a:pt x="180975" y="940106"/>
                    </a:cubicBezTo>
                    <a:cubicBezTo>
                      <a:pt x="189675" y="939019"/>
                      <a:pt x="198438" y="938519"/>
                      <a:pt x="207169" y="937725"/>
                    </a:cubicBezTo>
                    <a:cubicBezTo>
                      <a:pt x="209550" y="935344"/>
                      <a:pt x="211369" y="932217"/>
                      <a:pt x="214313" y="930581"/>
                    </a:cubicBezTo>
                    <a:cubicBezTo>
                      <a:pt x="218701" y="928143"/>
                      <a:pt x="228600" y="925818"/>
                      <a:pt x="228600" y="925818"/>
                    </a:cubicBezTo>
                    <a:cubicBezTo>
                      <a:pt x="235744" y="926612"/>
                      <a:pt x="242941" y="927018"/>
                      <a:pt x="250031" y="928200"/>
                    </a:cubicBezTo>
                    <a:cubicBezTo>
                      <a:pt x="252507" y="928613"/>
                      <a:pt x="255194" y="929040"/>
                      <a:pt x="257175" y="930581"/>
                    </a:cubicBezTo>
                    <a:cubicBezTo>
                      <a:pt x="262492" y="934716"/>
                      <a:pt x="271463" y="944868"/>
                      <a:pt x="271463" y="944868"/>
                    </a:cubicBezTo>
                    <a:cubicBezTo>
                      <a:pt x="273050" y="942487"/>
                      <a:pt x="275472" y="940486"/>
                      <a:pt x="276225" y="937725"/>
                    </a:cubicBezTo>
                    <a:cubicBezTo>
                      <a:pt x="279886" y="924299"/>
                      <a:pt x="279404" y="892494"/>
                      <a:pt x="276225" y="882956"/>
                    </a:cubicBezTo>
                    <a:cubicBezTo>
                      <a:pt x="276223" y="882950"/>
                      <a:pt x="258368" y="865099"/>
                      <a:pt x="254794" y="861525"/>
                    </a:cubicBezTo>
                    <a:lnTo>
                      <a:pt x="247650" y="854381"/>
                    </a:lnTo>
                    <a:cubicBezTo>
                      <a:pt x="246856" y="849618"/>
                      <a:pt x="246281" y="844814"/>
                      <a:pt x="245269" y="840093"/>
                    </a:cubicBezTo>
                    <a:cubicBezTo>
                      <a:pt x="243898" y="833693"/>
                      <a:pt x="241790" y="827461"/>
                      <a:pt x="240506" y="821043"/>
                    </a:cubicBezTo>
                    <a:lnTo>
                      <a:pt x="238125" y="809137"/>
                    </a:lnTo>
                    <a:cubicBezTo>
                      <a:pt x="241863" y="756806"/>
                      <a:pt x="232291" y="788404"/>
                      <a:pt x="247650" y="768656"/>
                    </a:cubicBezTo>
                    <a:cubicBezTo>
                      <a:pt x="251164" y="764138"/>
                      <a:pt x="254000" y="759131"/>
                      <a:pt x="257175" y="754368"/>
                    </a:cubicBezTo>
                    <a:lnTo>
                      <a:pt x="261938" y="747225"/>
                    </a:lnTo>
                    <a:cubicBezTo>
                      <a:pt x="262732" y="741669"/>
                      <a:pt x="263218" y="736060"/>
                      <a:pt x="264319" y="730556"/>
                    </a:cubicBezTo>
                    <a:cubicBezTo>
                      <a:pt x="264811" y="728095"/>
                      <a:pt x="266251" y="725882"/>
                      <a:pt x="266700" y="723412"/>
                    </a:cubicBezTo>
                    <a:cubicBezTo>
                      <a:pt x="267845" y="717116"/>
                      <a:pt x="268287" y="710712"/>
                      <a:pt x="269081" y="704362"/>
                    </a:cubicBezTo>
                    <a:cubicBezTo>
                      <a:pt x="268364" y="692887"/>
                      <a:pt x="268046" y="666883"/>
                      <a:pt x="264319" y="651975"/>
                    </a:cubicBezTo>
                    <a:cubicBezTo>
                      <a:pt x="263101" y="647105"/>
                      <a:pt x="260773" y="642557"/>
                      <a:pt x="259556" y="637687"/>
                    </a:cubicBezTo>
                    <a:cubicBezTo>
                      <a:pt x="257969" y="631337"/>
                      <a:pt x="256864" y="624847"/>
                      <a:pt x="254794" y="618637"/>
                    </a:cubicBezTo>
                    <a:cubicBezTo>
                      <a:pt x="254000" y="616256"/>
                      <a:pt x="253073" y="613915"/>
                      <a:pt x="252413" y="611493"/>
                    </a:cubicBezTo>
                    <a:cubicBezTo>
                      <a:pt x="250691" y="605178"/>
                      <a:pt x="247650" y="592443"/>
                      <a:pt x="247650" y="592443"/>
                    </a:cubicBezTo>
                    <a:cubicBezTo>
                      <a:pt x="248444" y="562281"/>
                      <a:pt x="247829" y="532048"/>
                      <a:pt x="250031" y="501956"/>
                    </a:cubicBezTo>
                    <a:cubicBezTo>
                      <a:pt x="250240" y="499102"/>
                      <a:pt x="252770" y="496836"/>
                      <a:pt x="254794" y="494812"/>
                    </a:cubicBezTo>
                    <a:cubicBezTo>
                      <a:pt x="259409" y="490198"/>
                      <a:pt x="263273" y="489605"/>
                      <a:pt x="269081" y="487668"/>
                    </a:cubicBezTo>
                    <a:cubicBezTo>
                      <a:pt x="271462" y="485287"/>
                      <a:pt x="274590" y="483469"/>
                      <a:pt x="276225" y="480525"/>
                    </a:cubicBezTo>
                    <a:cubicBezTo>
                      <a:pt x="280002" y="473726"/>
                      <a:pt x="281830" y="462027"/>
                      <a:pt x="283369" y="454331"/>
                    </a:cubicBezTo>
                    <a:cubicBezTo>
                      <a:pt x="285018" y="432890"/>
                      <a:pt x="287876" y="418215"/>
                      <a:pt x="283369" y="397181"/>
                    </a:cubicBezTo>
                    <a:cubicBezTo>
                      <a:pt x="282769" y="394382"/>
                      <a:pt x="280194" y="392418"/>
                      <a:pt x="278606" y="390037"/>
                    </a:cubicBezTo>
                    <a:cubicBezTo>
                      <a:pt x="276566" y="383916"/>
                      <a:pt x="275040" y="379946"/>
                      <a:pt x="273844" y="373368"/>
                    </a:cubicBezTo>
                    <a:cubicBezTo>
                      <a:pt x="273447" y="371186"/>
                      <a:pt x="271398" y="351808"/>
                      <a:pt x="269081" y="347175"/>
                    </a:cubicBezTo>
                    <a:cubicBezTo>
                      <a:pt x="258055" y="325125"/>
                      <a:pt x="263387" y="339853"/>
                      <a:pt x="252413" y="325743"/>
                    </a:cubicBezTo>
                    <a:cubicBezTo>
                      <a:pt x="237455" y="306511"/>
                      <a:pt x="249573" y="315913"/>
                      <a:pt x="235744" y="306693"/>
                    </a:cubicBezTo>
                    <a:cubicBezTo>
                      <a:pt x="234084" y="304204"/>
                      <a:pt x="227942" y="296351"/>
                      <a:pt x="228600" y="292406"/>
                    </a:cubicBezTo>
                    <a:cubicBezTo>
                      <a:pt x="229071" y="289583"/>
                      <a:pt x="231209" y="287147"/>
                      <a:pt x="233363" y="285262"/>
                    </a:cubicBezTo>
                    <a:cubicBezTo>
                      <a:pt x="248217" y="272264"/>
                      <a:pt x="242887" y="278459"/>
                      <a:pt x="254794" y="273356"/>
                    </a:cubicBezTo>
                    <a:cubicBezTo>
                      <a:pt x="275392" y="264528"/>
                      <a:pt x="254709" y="271796"/>
                      <a:pt x="271463" y="266212"/>
                    </a:cubicBezTo>
                    <a:cubicBezTo>
                      <a:pt x="276225" y="263037"/>
                      <a:pt x="281703" y="260734"/>
                      <a:pt x="285750" y="256687"/>
                    </a:cubicBezTo>
                    <a:cubicBezTo>
                      <a:pt x="296940" y="245497"/>
                      <a:pt x="290094" y="251409"/>
                      <a:pt x="307181" y="240018"/>
                    </a:cubicBezTo>
                    <a:lnTo>
                      <a:pt x="314325" y="235256"/>
                    </a:lnTo>
                    <a:cubicBezTo>
                      <a:pt x="316706" y="233668"/>
                      <a:pt x="318754" y="231398"/>
                      <a:pt x="321469" y="230493"/>
                    </a:cubicBezTo>
                    <a:lnTo>
                      <a:pt x="328613" y="228112"/>
                    </a:lnTo>
                    <a:cubicBezTo>
                      <a:pt x="343086" y="218463"/>
                      <a:pt x="327711" y="227557"/>
                      <a:pt x="345281" y="220968"/>
                    </a:cubicBezTo>
                    <a:cubicBezTo>
                      <a:pt x="360096" y="215412"/>
                      <a:pt x="350021" y="217239"/>
                      <a:pt x="364331" y="209062"/>
                    </a:cubicBezTo>
                    <a:cubicBezTo>
                      <a:pt x="369872" y="205896"/>
                      <a:pt x="384482" y="204823"/>
                      <a:pt x="388144" y="204300"/>
                    </a:cubicBezTo>
                    <a:cubicBezTo>
                      <a:pt x="396081" y="205094"/>
                      <a:pt x="404459" y="203955"/>
                      <a:pt x="411956" y="206681"/>
                    </a:cubicBezTo>
                    <a:cubicBezTo>
                      <a:pt x="414315" y="207539"/>
                      <a:pt x="412946" y="211736"/>
                      <a:pt x="414338" y="213825"/>
                    </a:cubicBezTo>
                    <a:cubicBezTo>
                      <a:pt x="416206" y="216627"/>
                      <a:pt x="419524" y="218228"/>
                      <a:pt x="421481" y="220968"/>
                    </a:cubicBezTo>
                    <a:cubicBezTo>
                      <a:pt x="425161" y="226120"/>
                      <a:pt x="426681" y="231805"/>
                      <a:pt x="428625" y="237637"/>
                    </a:cubicBezTo>
                    <a:cubicBezTo>
                      <a:pt x="427831" y="240018"/>
                      <a:pt x="426244" y="242271"/>
                      <a:pt x="426244" y="244781"/>
                    </a:cubicBezTo>
                    <a:cubicBezTo>
                      <a:pt x="426244" y="247291"/>
                      <a:pt x="426850" y="250150"/>
                      <a:pt x="428625" y="251925"/>
                    </a:cubicBezTo>
                    <a:cubicBezTo>
                      <a:pt x="430400" y="253700"/>
                      <a:pt x="433299" y="253857"/>
                      <a:pt x="435769" y="254306"/>
                    </a:cubicBezTo>
                    <a:cubicBezTo>
                      <a:pt x="442065" y="255451"/>
                      <a:pt x="448469" y="255893"/>
                      <a:pt x="454819" y="256687"/>
                    </a:cubicBezTo>
                    <a:cubicBezTo>
                      <a:pt x="472752" y="268643"/>
                      <a:pt x="449963" y="254607"/>
                      <a:pt x="471488" y="263831"/>
                    </a:cubicBezTo>
                    <a:cubicBezTo>
                      <a:pt x="474118" y="264958"/>
                      <a:pt x="476001" y="267466"/>
                      <a:pt x="478631" y="268593"/>
                    </a:cubicBezTo>
                    <a:cubicBezTo>
                      <a:pt x="481639" y="269882"/>
                      <a:pt x="485009" y="270076"/>
                      <a:pt x="488156" y="270975"/>
                    </a:cubicBezTo>
                    <a:cubicBezTo>
                      <a:pt x="504561" y="275663"/>
                      <a:pt x="483820" y="271443"/>
                      <a:pt x="509588" y="275737"/>
                    </a:cubicBezTo>
                    <a:cubicBezTo>
                      <a:pt x="512763" y="277325"/>
                      <a:pt x="515745" y="279377"/>
                      <a:pt x="519113" y="280500"/>
                    </a:cubicBezTo>
                    <a:cubicBezTo>
                      <a:pt x="525323" y="282570"/>
                      <a:pt x="531953" y="283192"/>
                      <a:pt x="538163" y="285262"/>
                    </a:cubicBezTo>
                    <a:lnTo>
                      <a:pt x="545306" y="287643"/>
                    </a:lnTo>
                    <a:cubicBezTo>
                      <a:pt x="558006" y="285262"/>
                      <a:pt x="571221" y="284800"/>
                      <a:pt x="583406" y="280500"/>
                    </a:cubicBezTo>
                    <a:cubicBezTo>
                      <a:pt x="585773" y="279665"/>
                      <a:pt x="585243" y="275806"/>
                      <a:pt x="585788" y="273356"/>
                    </a:cubicBezTo>
                    <a:cubicBezTo>
                      <a:pt x="586835" y="268643"/>
                      <a:pt x="586376" y="263551"/>
                      <a:pt x="588169" y="259068"/>
                    </a:cubicBezTo>
                    <a:cubicBezTo>
                      <a:pt x="589369" y="256068"/>
                      <a:pt x="599264" y="244528"/>
                      <a:pt x="602456" y="242400"/>
                    </a:cubicBezTo>
                    <a:cubicBezTo>
                      <a:pt x="604545" y="241008"/>
                      <a:pt x="607355" y="241141"/>
                      <a:pt x="609600" y="240018"/>
                    </a:cubicBezTo>
                    <a:cubicBezTo>
                      <a:pt x="612160" y="238738"/>
                      <a:pt x="614363" y="236843"/>
                      <a:pt x="616744" y="235256"/>
                    </a:cubicBezTo>
                    <a:cubicBezTo>
                      <a:pt x="617538" y="231287"/>
                      <a:pt x="618247" y="227301"/>
                      <a:pt x="619125" y="223350"/>
                    </a:cubicBezTo>
                    <a:cubicBezTo>
                      <a:pt x="619835" y="220155"/>
                      <a:pt x="621506" y="217098"/>
                      <a:pt x="621506" y="213825"/>
                    </a:cubicBezTo>
                    <a:cubicBezTo>
                      <a:pt x="621506" y="203234"/>
                      <a:pt x="622038" y="192925"/>
                      <a:pt x="614363" y="185250"/>
                    </a:cubicBezTo>
                    <a:cubicBezTo>
                      <a:pt x="612339" y="183226"/>
                      <a:pt x="609600" y="182075"/>
                      <a:pt x="607219" y="180487"/>
                    </a:cubicBezTo>
                    <a:cubicBezTo>
                      <a:pt x="605631" y="178106"/>
                      <a:pt x="604480" y="175367"/>
                      <a:pt x="602456" y="173343"/>
                    </a:cubicBezTo>
                    <a:cubicBezTo>
                      <a:pt x="599650" y="170537"/>
                      <a:pt x="596377" y="168169"/>
                      <a:pt x="592931" y="166200"/>
                    </a:cubicBezTo>
                    <a:cubicBezTo>
                      <a:pt x="590752" y="164955"/>
                      <a:pt x="588138" y="164699"/>
                      <a:pt x="585788" y="163818"/>
                    </a:cubicBezTo>
                    <a:cubicBezTo>
                      <a:pt x="581786" y="162317"/>
                      <a:pt x="577704" y="160968"/>
                      <a:pt x="573881" y="159056"/>
                    </a:cubicBezTo>
                    <a:cubicBezTo>
                      <a:pt x="571321" y="157776"/>
                      <a:pt x="569418" y="155298"/>
                      <a:pt x="566738" y="154293"/>
                    </a:cubicBezTo>
                    <a:cubicBezTo>
                      <a:pt x="536927" y="143114"/>
                      <a:pt x="568246" y="158342"/>
                      <a:pt x="547688" y="149531"/>
                    </a:cubicBezTo>
                    <a:cubicBezTo>
                      <a:pt x="544425" y="148133"/>
                      <a:pt x="541459" y="146086"/>
                      <a:pt x="538163" y="144768"/>
                    </a:cubicBezTo>
                    <a:cubicBezTo>
                      <a:pt x="524012" y="139108"/>
                      <a:pt x="526632" y="141134"/>
                      <a:pt x="514350" y="137625"/>
                    </a:cubicBezTo>
                    <a:cubicBezTo>
                      <a:pt x="511936" y="136935"/>
                      <a:pt x="509708" y="135451"/>
                      <a:pt x="507206" y="135243"/>
                    </a:cubicBezTo>
                    <a:cubicBezTo>
                      <a:pt x="490576" y="133857"/>
                      <a:pt x="473869" y="133656"/>
                      <a:pt x="457200" y="132862"/>
                    </a:cubicBezTo>
                    <a:cubicBezTo>
                      <a:pt x="455916" y="132679"/>
                      <a:pt x="428722" y="128926"/>
                      <a:pt x="426244" y="128100"/>
                    </a:cubicBezTo>
                    <a:cubicBezTo>
                      <a:pt x="423529" y="127195"/>
                      <a:pt x="421585" y="124757"/>
                      <a:pt x="419100" y="123337"/>
                    </a:cubicBezTo>
                    <a:cubicBezTo>
                      <a:pt x="416018" y="121576"/>
                      <a:pt x="412871" y="119893"/>
                      <a:pt x="409575" y="118575"/>
                    </a:cubicBezTo>
                    <a:cubicBezTo>
                      <a:pt x="397486" y="113739"/>
                      <a:pt x="395343" y="113823"/>
                      <a:pt x="383381" y="111431"/>
                    </a:cubicBezTo>
                    <a:cubicBezTo>
                      <a:pt x="380206" y="109050"/>
                      <a:pt x="377302" y="106256"/>
                      <a:pt x="373856" y="104287"/>
                    </a:cubicBezTo>
                    <a:cubicBezTo>
                      <a:pt x="371677" y="103042"/>
                      <a:pt x="368958" y="103028"/>
                      <a:pt x="366713" y="101906"/>
                    </a:cubicBezTo>
                    <a:cubicBezTo>
                      <a:pt x="364153" y="100626"/>
                      <a:pt x="361950" y="98731"/>
                      <a:pt x="359569" y="97143"/>
                    </a:cubicBezTo>
                    <a:cubicBezTo>
                      <a:pt x="357981" y="94762"/>
                      <a:pt x="356924" y="91925"/>
                      <a:pt x="354806" y="90000"/>
                    </a:cubicBezTo>
                    <a:cubicBezTo>
                      <a:pt x="344873" y="80970"/>
                      <a:pt x="334507" y="76118"/>
                      <a:pt x="326231" y="66187"/>
                    </a:cubicBezTo>
                    <a:cubicBezTo>
                      <a:pt x="321528" y="60543"/>
                      <a:pt x="321101" y="58611"/>
                      <a:pt x="319088" y="51900"/>
                    </a:cubicBezTo>
                    <a:cubicBezTo>
                      <a:pt x="317427" y="46365"/>
                      <a:pt x="317131" y="40282"/>
                      <a:pt x="314325" y="35231"/>
                    </a:cubicBezTo>
                    <a:cubicBezTo>
                      <a:pt x="312935" y="32729"/>
                      <a:pt x="309510" y="32132"/>
                      <a:pt x="307181" y="30468"/>
                    </a:cubicBezTo>
                    <a:cubicBezTo>
                      <a:pt x="303952" y="28161"/>
                      <a:pt x="300669" y="25908"/>
                      <a:pt x="297656" y="23325"/>
                    </a:cubicBezTo>
                    <a:cubicBezTo>
                      <a:pt x="295099" y="21133"/>
                      <a:pt x="293437" y="17852"/>
                      <a:pt x="290513" y="16181"/>
                    </a:cubicBezTo>
                    <a:cubicBezTo>
                      <a:pt x="287672" y="14557"/>
                      <a:pt x="284123" y="14740"/>
                      <a:pt x="280988" y="13800"/>
                    </a:cubicBezTo>
                    <a:cubicBezTo>
                      <a:pt x="254647" y="5898"/>
                      <a:pt x="277386" y="9676"/>
                      <a:pt x="238125" y="6656"/>
                    </a:cubicBezTo>
                    <a:cubicBezTo>
                      <a:pt x="207829" y="4326"/>
                      <a:pt x="186427" y="2948"/>
                      <a:pt x="154781" y="1893"/>
                    </a:cubicBezTo>
                    <a:cubicBezTo>
                      <a:pt x="147641" y="1655"/>
                      <a:pt x="136525" y="-6045"/>
                      <a:pt x="133350" y="1141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39" name="Freeform 238"/>
              <p:cNvSpPr/>
              <p:nvPr/>
            </p:nvSpPr>
            <p:spPr>
              <a:xfrm>
                <a:off x="6749021" y="3846267"/>
                <a:ext cx="507327" cy="521625"/>
              </a:xfrm>
              <a:custGeom>
                <a:avLst/>
                <a:gdLst>
                  <a:gd name="connsiteX0" fmla="*/ 40602 w 507327"/>
                  <a:gd name="connsiteY0" fmla="*/ 131 h 521625"/>
                  <a:gd name="connsiteX1" fmla="*/ 45365 w 507327"/>
                  <a:gd name="connsiteY1" fmla="*/ 23944 h 521625"/>
                  <a:gd name="connsiteX2" fmla="*/ 50127 w 507327"/>
                  <a:gd name="connsiteY2" fmla="*/ 38231 h 521625"/>
                  <a:gd name="connsiteX3" fmla="*/ 52509 w 507327"/>
                  <a:gd name="connsiteY3" fmla="*/ 45375 h 521625"/>
                  <a:gd name="connsiteX4" fmla="*/ 45365 w 507327"/>
                  <a:gd name="connsiteY4" fmla="*/ 66806 h 521625"/>
                  <a:gd name="connsiteX5" fmla="*/ 40602 w 507327"/>
                  <a:gd name="connsiteY5" fmla="*/ 78713 h 521625"/>
                  <a:gd name="connsiteX6" fmla="*/ 38221 w 507327"/>
                  <a:gd name="connsiteY6" fmla="*/ 85856 h 521625"/>
                  <a:gd name="connsiteX7" fmla="*/ 33459 w 507327"/>
                  <a:gd name="connsiteY7" fmla="*/ 93000 h 521625"/>
                  <a:gd name="connsiteX8" fmla="*/ 31077 w 507327"/>
                  <a:gd name="connsiteY8" fmla="*/ 100144 h 521625"/>
                  <a:gd name="connsiteX9" fmla="*/ 23934 w 507327"/>
                  <a:gd name="connsiteY9" fmla="*/ 107288 h 521625"/>
                  <a:gd name="connsiteX10" fmla="*/ 14409 w 507327"/>
                  <a:gd name="connsiteY10" fmla="*/ 121575 h 521625"/>
                  <a:gd name="connsiteX11" fmla="*/ 4884 w 507327"/>
                  <a:gd name="connsiteY11" fmla="*/ 135863 h 521625"/>
                  <a:gd name="connsiteX12" fmla="*/ 2502 w 507327"/>
                  <a:gd name="connsiteY12" fmla="*/ 145388 h 521625"/>
                  <a:gd name="connsiteX13" fmla="*/ 2502 w 507327"/>
                  <a:gd name="connsiteY13" fmla="*/ 159675 h 521625"/>
                  <a:gd name="connsiteX14" fmla="*/ 9646 w 507327"/>
                  <a:gd name="connsiteY14" fmla="*/ 164438 h 521625"/>
                  <a:gd name="connsiteX15" fmla="*/ 16790 w 507327"/>
                  <a:gd name="connsiteY15" fmla="*/ 166819 h 521625"/>
                  <a:gd name="connsiteX16" fmla="*/ 23934 w 507327"/>
                  <a:gd name="connsiteY16" fmla="*/ 173963 h 521625"/>
                  <a:gd name="connsiteX17" fmla="*/ 31077 w 507327"/>
                  <a:gd name="connsiteY17" fmla="*/ 178725 h 521625"/>
                  <a:gd name="connsiteX18" fmla="*/ 35840 w 507327"/>
                  <a:gd name="connsiteY18" fmla="*/ 185869 h 521625"/>
                  <a:gd name="connsiteX19" fmla="*/ 59652 w 507327"/>
                  <a:gd name="connsiteY19" fmla="*/ 207300 h 521625"/>
                  <a:gd name="connsiteX20" fmla="*/ 71559 w 507327"/>
                  <a:gd name="connsiteY20" fmla="*/ 223969 h 521625"/>
                  <a:gd name="connsiteX21" fmla="*/ 81084 w 507327"/>
                  <a:gd name="connsiteY21" fmla="*/ 238256 h 521625"/>
                  <a:gd name="connsiteX22" fmla="*/ 88227 w 507327"/>
                  <a:gd name="connsiteY22" fmla="*/ 245400 h 521625"/>
                  <a:gd name="connsiteX23" fmla="*/ 92990 w 507327"/>
                  <a:gd name="connsiteY23" fmla="*/ 254925 h 521625"/>
                  <a:gd name="connsiteX24" fmla="*/ 107277 w 507327"/>
                  <a:gd name="connsiteY24" fmla="*/ 264450 h 521625"/>
                  <a:gd name="connsiteX25" fmla="*/ 114421 w 507327"/>
                  <a:gd name="connsiteY25" fmla="*/ 269213 h 521625"/>
                  <a:gd name="connsiteX26" fmla="*/ 128709 w 507327"/>
                  <a:gd name="connsiteY26" fmla="*/ 278738 h 521625"/>
                  <a:gd name="connsiteX27" fmla="*/ 142996 w 507327"/>
                  <a:gd name="connsiteY27" fmla="*/ 290644 h 521625"/>
                  <a:gd name="connsiteX28" fmla="*/ 162046 w 507327"/>
                  <a:gd name="connsiteY28" fmla="*/ 304931 h 521625"/>
                  <a:gd name="connsiteX29" fmla="*/ 176334 w 507327"/>
                  <a:gd name="connsiteY29" fmla="*/ 312075 h 521625"/>
                  <a:gd name="connsiteX30" fmla="*/ 183477 w 507327"/>
                  <a:gd name="connsiteY30" fmla="*/ 314456 h 521625"/>
                  <a:gd name="connsiteX31" fmla="*/ 190621 w 507327"/>
                  <a:gd name="connsiteY31" fmla="*/ 319219 h 521625"/>
                  <a:gd name="connsiteX32" fmla="*/ 193002 w 507327"/>
                  <a:gd name="connsiteY32" fmla="*/ 343031 h 521625"/>
                  <a:gd name="connsiteX33" fmla="*/ 188240 w 507327"/>
                  <a:gd name="connsiteY33" fmla="*/ 350175 h 521625"/>
                  <a:gd name="connsiteX34" fmla="*/ 185859 w 507327"/>
                  <a:gd name="connsiteY34" fmla="*/ 357319 h 521625"/>
                  <a:gd name="connsiteX35" fmla="*/ 176334 w 507327"/>
                  <a:gd name="connsiteY35" fmla="*/ 371606 h 521625"/>
                  <a:gd name="connsiteX36" fmla="*/ 173952 w 507327"/>
                  <a:gd name="connsiteY36" fmla="*/ 378750 h 521625"/>
                  <a:gd name="connsiteX37" fmla="*/ 164427 w 507327"/>
                  <a:gd name="connsiteY37" fmla="*/ 393038 h 521625"/>
                  <a:gd name="connsiteX38" fmla="*/ 154902 w 507327"/>
                  <a:gd name="connsiteY38" fmla="*/ 412088 h 521625"/>
                  <a:gd name="connsiteX39" fmla="*/ 152521 w 507327"/>
                  <a:gd name="connsiteY39" fmla="*/ 419231 h 521625"/>
                  <a:gd name="connsiteX40" fmla="*/ 154902 w 507327"/>
                  <a:gd name="connsiteY40" fmla="*/ 443044 h 521625"/>
                  <a:gd name="connsiteX41" fmla="*/ 162046 w 507327"/>
                  <a:gd name="connsiteY41" fmla="*/ 447806 h 521625"/>
                  <a:gd name="connsiteX42" fmla="*/ 171571 w 507327"/>
                  <a:gd name="connsiteY42" fmla="*/ 462094 h 521625"/>
                  <a:gd name="connsiteX43" fmla="*/ 197765 w 507327"/>
                  <a:gd name="connsiteY43" fmla="*/ 493050 h 521625"/>
                  <a:gd name="connsiteX44" fmla="*/ 204909 w 507327"/>
                  <a:gd name="connsiteY44" fmla="*/ 497813 h 521625"/>
                  <a:gd name="connsiteX45" fmla="*/ 219196 w 507327"/>
                  <a:gd name="connsiteY45" fmla="*/ 512100 h 521625"/>
                  <a:gd name="connsiteX46" fmla="*/ 221577 w 507327"/>
                  <a:gd name="connsiteY46" fmla="*/ 519244 h 521625"/>
                  <a:gd name="connsiteX47" fmla="*/ 228721 w 507327"/>
                  <a:gd name="connsiteY47" fmla="*/ 521625 h 521625"/>
                  <a:gd name="connsiteX48" fmla="*/ 250152 w 507327"/>
                  <a:gd name="connsiteY48" fmla="*/ 519244 h 521625"/>
                  <a:gd name="connsiteX49" fmla="*/ 264440 w 507327"/>
                  <a:gd name="connsiteY49" fmla="*/ 514481 h 521625"/>
                  <a:gd name="connsiteX50" fmla="*/ 302540 w 507327"/>
                  <a:gd name="connsiteY50" fmla="*/ 509719 h 521625"/>
                  <a:gd name="connsiteX51" fmla="*/ 304921 w 507327"/>
                  <a:gd name="connsiteY51" fmla="*/ 476381 h 521625"/>
                  <a:gd name="connsiteX52" fmla="*/ 300159 w 507327"/>
                  <a:gd name="connsiteY52" fmla="*/ 469238 h 521625"/>
                  <a:gd name="connsiteX53" fmla="*/ 297777 w 507327"/>
                  <a:gd name="connsiteY53" fmla="*/ 457331 h 521625"/>
                  <a:gd name="connsiteX54" fmla="*/ 312065 w 507327"/>
                  <a:gd name="connsiteY54" fmla="*/ 414469 h 521625"/>
                  <a:gd name="connsiteX55" fmla="*/ 319209 w 507327"/>
                  <a:gd name="connsiteY55" fmla="*/ 407325 h 521625"/>
                  <a:gd name="connsiteX56" fmla="*/ 326352 w 507327"/>
                  <a:gd name="connsiteY56" fmla="*/ 404944 h 521625"/>
                  <a:gd name="connsiteX57" fmla="*/ 343021 w 507327"/>
                  <a:gd name="connsiteY57" fmla="*/ 400181 h 521625"/>
                  <a:gd name="connsiteX58" fmla="*/ 476371 w 507327"/>
                  <a:gd name="connsiteY58" fmla="*/ 400181 h 521625"/>
                  <a:gd name="connsiteX59" fmla="*/ 483515 w 507327"/>
                  <a:gd name="connsiteY59" fmla="*/ 397800 h 521625"/>
                  <a:gd name="connsiteX60" fmla="*/ 490659 w 507327"/>
                  <a:gd name="connsiteY60" fmla="*/ 390656 h 521625"/>
                  <a:gd name="connsiteX61" fmla="*/ 497802 w 507327"/>
                  <a:gd name="connsiteY61" fmla="*/ 385894 h 521625"/>
                  <a:gd name="connsiteX62" fmla="*/ 504946 w 507327"/>
                  <a:gd name="connsiteY62" fmla="*/ 376369 h 521625"/>
                  <a:gd name="connsiteX63" fmla="*/ 507327 w 507327"/>
                  <a:gd name="connsiteY63" fmla="*/ 364463 h 521625"/>
                  <a:gd name="connsiteX64" fmla="*/ 502565 w 507327"/>
                  <a:gd name="connsiteY64" fmla="*/ 333506 h 521625"/>
                  <a:gd name="connsiteX65" fmla="*/ 497802 w 507327"/>
                  <a:gd name="connsiteY65" fmla="*/ 326363 h 521625"/>
                  <a:gd name="connsiteX66" fmla="*/ 488277 w 507327"/>
                  <a:gd name="connsiteY66" fmla="*/ 312075 h 521625"/>
                  <a:gd name="connsiteX67" fmla="*/ 483515 w 507327"/>
                  <a:gd name="connsiteY67" fmla="*/ 304931 h 521625"/>
                  <a:gd name="connsiteX68" fmla="*/ 466846 w 507327"/>
                  <a:gd name="connsiteY68" fmla="*/ 297788 h 521625"/>
                  <a:gd name="connsiteX69" fmla="*/ 457321 w 507327"/>
                  <a:gd name="connsiteY69" fmla="*/ 283500 h 521625"/>
                  <a:gd name="connsiteX70" fmla="*/ 443034 w 507327"/>
                  <a:gd name="connsiteY70" fmla="*/ 269213 h 521625"/>
                  <a:gd name="connsiteX71" fmla="*/ 433509 w 507327"/>
                  <a:gd name="connsiteY71" fmla="*/ 254925 h 521625"/>
                  <a:gd name="connsiteX72" fmla="*/ 421602 w 507327"/>
                  <a:gd name="connsiteY72" fmla="*/ 238256 h 521625"/>
                  <a:gd name="connsiteX73" fmla="*/ 412077 w 507327"/>
                  <a:gd name="connsiteY73" fmla="*/ 223969 h 521625"/>
                  <a:gd name="connsiteX74" fmla="*/ 407315 w 507327"/>
                  <a:gd name="connsiteY74" fmla="*/ 216825 h 521625"/>
                  <a:gd name="connsiteX75" fmla="*/ 393027 w 507327"/>
                  <a:gd name="connsiteY75" fmla="*/ 207300 h 521625"/>
                  <a:gd name="connsiteX76" fmla="*/ 385884 w 507327"/>
                  <a:gd name="connsiteY76" fmla="*/ 202538 h 521625"/>
                  <a:gd name="connsiteX77" fmla="*/ 373977 w 507327"/>
                  <a:gd name="connsiteY77" fmla="*/ 188250 h 521625"/>
                  <a:gd name="connsiteX78" fmla="*/ 359690 w 507327"/>
                  <a:gd name="connsiteY78" fmla="*/ 164438 h 521625"/>
                  <a:gd name="connsiteX79" fmla="*/ 357309 w 507327"/>
                  <a:gd name="connsiteY79" fmla="*/ 131100 h 521625"/>
                  <a:gd name="connsiteX80" fmla="*/ 354927 w 507327"/>
                  <a:gd name="connsiteY80" fmla="*/ 123956 h 521625"/>
                  <a:gd name="connsiteX81" fmla="*/ 357309 w 507327"/>
                  <a:gd name="connsiteY81" fmla="*/ 97763 h 521625"/>
                  <a:gd name="connsiteX82" fmla="*/ 359690 w 507327"/>
                  <a:gd name="connsiteY82" fmla="*/ 90619 h 521625"/>
                  <a:gd name="connsiteX83" fmla="*/ 362071 w 507327"/>
                  <a:gd name="connsiteY83" fmla="*/ 81094 h 521625"/>
                  <a:gd name="connsiteX84" fmla="*/ 354927 w 507327"/>
                  <a:gd name="connsiteY84" fmla="*/ 66806 h 521625"/>
                  <a:gd name="connsiteX85" fmla="*/ 347784 w 507327"/>
                  <a:gd name="connsiteY85" fmla="*/ 59663 h 521625"/>
                  <a:gd name="connsiteX86" fmla="*/ 316827 w 507327"/>
                  <a:gd name="connsiteY86" fmla="*/ 52519 h 521625"/>
                  <a:gd name="connsiteX87" fmla="*/ 288252 w 507327"/>
                  <a:gd name="connsiteY87" fmla="*/ 38231 h 521625"/>
                  <a:gd name="connsiteX88" fmla="*/ 273965 w 507327"/>
                  <a:gd name="connsiteY88" fmla="*/ 26325 h 521625"/>
                  <a:gd name="connsiteX89" fmla="*/ 259677 w 507327"/>
                  <a:gd name="connsiteY89" fmla="*/ 21563 h 521625"/>
                  <a:gd name="connsiteX90" fmla="*/ 252534 w 507327"/>
                  <a:gd name="connsiteY90" fmla="*/ 19181 h 521625"/>
                  <a:gd name="connsiteX91" fmla="*/ 197765 w 507327"/>
                  <a:gd name="connsiteY91" fmla="*/ 21563 h 521625"/>
                  <a:gd name="connsiteX92" fmla="*/ 173952 w 507327"/>
                  <a:gd name="connsiteY92" fmla="*/ 28706 h 521625"/>
                  <a:gd name="connsiteX93" fmla="*/ 159665 w 507327"/>
                  <a:gd name="connsiteY93" fmla="*/ 31088 h 521625"/>
                  <a:gd name="connsiteX94" fmla="*/ 138234 w 507327"/>
                  <a:gd name="connsiteY94" fmla="*/ 28706 h 521625"/>
                  <a:gd name="connsiteX95" fmla="*/ 121565 w 507327"/>
                  <a:gd name="connsiteY95" fmla="*/ 23944 h 521625"/>
                  <a:gd name="connsiteX96" fmla="*/ 114421 w 507327"/>
                  <a:gd name="connsiteY96" fmla="*/ 19181 h 521625"/>
                  <a:gd name="connsiteX97" fmla="*/ 107277 w 507327"/>
                  <a:gd name="connsiteY97" fmla="*/ 12038 h 521625"/>
                  <a:gd name="connsiteX98" fmla="*/ 92990 w 507327"/>
                  <a:gd name="connsiteY98" fmla="*/ 7275 h 521625"/>
                  <a:gd name="connsiteX99" fmla="*/ 85846 w 507327"/>
                  <a:gd name="connsiteY99" fmla="*/ 4894 h 521625"/>
                  <a:gd name="connsiteX100" fmla="*/ 78702 w 507327"/>
                  <a:gd name="connsiteY100" fmla="*/ 2513 h 521625"/>
                  <a:gd name="connsiteX101" fmla="*/ 66796 w 507327"/>
                  <a:gd name="connsiteY101" fmla="*/ 131 h 521625"/>
                  <a:gd name="connsiteX102" fmla="*/ 40602 w 507327"/>
                  <a:gd name="connsiteY102" fmla="*/ 131 h 52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07327" h="521625">
                    <a:moveTo>
                      <a:pt x="40602" y="131"/>
                    </a:moveTo>
                    <a:cubicBezTo>
                      <a:pt x="42190" y="8069"/>
                      <a:pt x="42805" y="16264"/>
                      <a:pt x="45365" y="23944"/>
                    </a:cubicBezTo>
                    <a:lnTo>
                      <a:pt x="50127" y="38231"/>
                    </a:lnTo>
                    <a:lnTo>
                      <a:pt x="52509" y="45375"/>
                    </a:lnTo>
                    <a:cubicBezTo>
                      <a:pt x="48087" y="71903"/>
                      <a:pt x="53736" y="50065"/>
                      <a:pt x="45365" y="66806"/>
                    </a:cubicBezTo>
                    <a:cubicBezTo>
                      <a:pt x="43453" y="70629"/>
                      <a:pt x="42103" y="74710"/>
                      <a:pt x="40602" y="78713"/>
                    </a:cubicBezTo>
                    <a:cubicBezTo>
                      <a:pt x="39721" y="81063"/>
                      <a:pt x="39343" y="83611"/>
                      <a:pt x="38221" y="85856"/>
                    </a:cubicBezTo>
                    <a:cubicBezTo>
                      <a:pt x="36941" y="88416"/>
                      <a:pt x="34739" y="90440"/>
                      <a:pt x="33459" y="93000"/>
                    </a:cubicBezTo>
                    <a:cubicBezTo>
                      <a:pt x="32336" y="95245"/>
                      <a:pt x="32469" y="98055"/>
                      <a:pt x="31077" y="100144"/>
                    </a:cubicBezTo>
                    <a:cubicBezTo>
                      <a:pt x="29209" y="102946"/>
                      <a:pt x="26315" y="104907"/>
                      <a:pt x="23934" y="107288"/>
                    </a:cubicBezTo>
                    <a:cubicBezTo>
                      <a:pt x="19378" y="120950"/>
                      <a:pt x="24814" y="108196"/>
                      <a:pt x="14409" y="121575"/>
                    </a:cubicBezTo>
                    <a:cubicBezTo>
                      <a:pt x="10895" y="126093"/>
                      <a:pt x="4884" y="135863"/>
                      <a:pt x="4884" y="135863"/>
                    </a:cubicBezTo>
                    <a:cubicBezTo>
                      <a:pt x="4090" y="139038"/>
                      <a:pt x="3401" y="142241"/>
                      <a:pt x="2502" y="145388"/>
                    </a:cubicBezTo>
                    <a:cubicBezTo>
                      <a:pt x="831" y="151236"/>
                      <a:pt x="-2176" y="153827"/>
                      <a:pt x="2502" y="159675"/>
                    </a:cubicBezTo>
                    <a:cubicBezTo>
                      <a:pt x="4290" y="161910"/>
                      <a:pt x="7086" y="163158"/>
                      <a:pt x="9646" y="164438"/>
                    </a:cubicBezTo>
                    <a:cubicBezTo>
                      <a:pt x="11891" y="165561"/>
                      <a:pt x="14409" y="166025"/>
                      <a:pt x="16790" y="166819"/>
                    </a:cubicBezTo>
                    <a:cubicBezTo>
                      <a:pt x="19171" y="169200"/>
                      <a:pt x="21347" y="171807"/>
                      <a:pt x="23934" y="173963"/>
                    </a:cubicBezTo>
                    <a:cubicBezTo>
                      <a:pt x="26132" y="175795"/>
                      <a:pt x="29054" y="176702"/>
                      <a:pt x="31077" y="178725"/>
                    </a:cubicBezTo>
                    <a:cubicBezTo>
                      <a:pt x="33101" y="180749"/>
                      <a:pt x="33816" y="183845"/>
                      <a:pt x="35840" y="185869"/>
                    </a:cubicBezTo>
                    <a:cubicBezTo>
                      <a:pt x="51838" y="201866"/>
                      <a:pt x="34601" y="169726"/>
                      <a:pt x="59652" y="207300"/>
                    </a:cubicBezTo>
                    <a:cubicBezTo>
                      <a:pt x="75143" y="230535"/>
                      <a:pt x="50874" y="194421"/>
                      <a:pt x="71559" y="223969"/>
                    </a:cubicBezTo>
                    <a:cubicBezTo>
                      <a:pt x="74841" y="228658"/>
                      <a:pt x="77037" y="234208"/>
                      <a:pt x="81084" y="238256"/>
                    </a:cubicBezTo>
                    <a:cubicBezTo>
                      <a:pt x="83465" y="240637"/>
                      <a:pt x="86270" y="242660"/>
                      <a:pt x="88227" y="245400"/>
                    </a:cubicBezTo>
                    <a:cubicBezTo>
                      <a:pt x="90290" y="248289"/>
                      <a:pt x="90480" y="252415"/>
                      <a:pt x="92990" y="254925"/>
                    </a:cubicBezTo>
                    <a:cubicBezTo>
                      <a:pt x="97037" y="258972"/>
                      <a:pt x="102515" y="261275"/>
                      <a:pt x="107277" y="264450"/>
                    </a:cubicBezTo>
                    <a:cubicBezTo>
                      <a:pt x="109658" y="266038"/>
                      <a:pt x="112397" y="267189"/>
                      <a:pt x="114421" y="269213"/>
                    </a:cubicBezTo>
                    <a:cubicBezTo>
                      <a:pt x="123340" y="278131"/>
                      <a:pt x="118370" y="275291"/>
                      <a:pt x="128709" y="278738"/>
                    </a:cubicBezTo>
                    <a:cubicBezTo>
                      <a:pt x="144855" y="300269"/>
                      <a:pt x="127345" y="280685"/>
                      <a:pt x="142996" y="290644"/>
                    </a:cubicBezTo>
                    <a:cubicBezTo>
                      <a:pt x="149693" y="294905"/>
                      <a:pt x="154516" y="302420"/>
                      <a:pt x="162046" y="304931"/>
                    </a:cubicBezTo>
                    <a:cubicBezTo>
                      <a:pt x="180007" y="310920"/>
                      <a:pt x="157865" y="302841"/>
                      <a:pt x="176334" y="312075"/>
                    </a:cubicBezTo>
                    <a:cubicBezTo>
                      <a:pt x="178579" y="313197"/>
                      <a:pt x="181096" y="313662"/>
                      <a:pt x="183477" y="314456"/>
                    </a:cubicBezTo>
                    <a:cubicBezTo>
                      <a:pt x="185858" y="316044"/>
                      <a:pt x="188597" y="317195"/>
                      <a:pt x="190621" y="319219"/>
                    </a:cubicBezTo>
                    <a:cubicBezTo>
                      <a:pt x="198204" y="326802"/>
                      <a:pt x="196364" y="331826"/>
                      <a:pt x="193002" y="343031"/>
                    </a:cubicBezTo>
                    <a:cubicBezTo>
                      <a:pt x="192180" y="345772"/>
                      <a:pt x="189520" y="347615"/>
                      <a:pt x="188240" y="350175"/>
                    </a:cubicBezTo>
                    <a:cubicBezTo>
                      <a:pt x="187118" y="352420"/>
                      <a:pt x="187078" y="355125"/>
                      <a:pt x="185859" y="357319"/>
                    </a:cubicBezTo>
                    <a:cubicBezTo>
                      <a:pt x="183079" y="362322"/>
                      <a:pt x="178144" y="366176"/>
                      <a:pt x="176334" y="371606"/>
                    </a:cubicBezTo>
                    <a:cubicBezTo>
                      <a:pt x="175540" y="373987"/>
                      <a:pt x="175171" y="376556"/>
                      <a:pt x="173952" y="378750"/>
                    </a:cubicBezTo>
                    <a:cubicBezTo>
                      <a:pt x="171172" y="383754"/>
                      <a:pt x="164427" y="393038"/>
                      <a:pt x="164427" y="393038"/>
                    </a:cubicBezTo>
                    <a:cubicBezTo>
                      <a:pt x="159058" y="409145"/>
                      <a:pt x="166149" y="389595"/>
                      <a:pt x="154902" y="412088"/>
                    </a:cubicBezTo>
                    <a:cubicBezTo>
                      <a:pt x="153780" y="414333"/>
                      <a:pt x="153315" y="416850"/>
                      <a:pt x="152521" y="419231"/>
                    </a:cubicBezTo>
                    <a:cubicBezTo>
                      <a:pt x="153315" y="427169"/>
                      <a:pt x="152379" y="435476"/>
                      <a:pt x="154902" y="443044"/>
                    </a:cubicBezTo>
                    <a:cubicBezTo>
                      <a:pt x="155807" y="445759"/>
                      <a:pt x="160161" y="445652"/>
                      <a:pt x="162046" y="447806"/>
                    </a:cubicBezTo>
                    <a:cubicBezTo>
                      <a:pt x="165815" y="452114"/>
                      <a:pt x="168396" y="457331"/>
                      <a:pt x="171571" y="462094"/>
                    </a:cubicBezTo>
                    <a:cubicBezTo>
                      <a:pt x="179231" y="473583"/>
                      <a:pt x="185680" y="484993"/>
                      <a:pt x="197765" y="493050"/>
                    </a:cubicBezTo>
                    <a:cubicBezTo>
                      <a:pt x="200146" y="494638"/>
                      <a:pt x="202770" y="495912"/>
                      <a:pt x="204909" y="497813"/>
                    </a:cubicBezTo>
                    <a:cubicBezTo>
                      <a:pt x="209943" y="502287"/>
                      <a:pt x="219196" y="512100"/>
                      <a:pt x="219196" y="512100"/>
                    </a:cubicBezTo>
                    <a:cubicBezTo>
                      <a:pt x="219990" y="514481"/>
                      <a:pt x="219802" y="517469"/>
                      <a:pt x="221577" y="519244"/>
                    </a:cubicBezTo>
                    <a:cubicBezTo>
                      <a:pt x="223352" y="521019"/>
                      <a:pt x="226211" y="521625"/>
                      <a:pt x="228721" y="521625"/>
                    </a:cubicBezTo>
                    <a:cubicBezTo>
                      <a:pt x="235909" y="521625"/>
                      <a:pt x="243008" y="520038"/>
                      <a:pt x="250152" y="519244"/>
                    </a:cubicBezTo>
                    <a:lnTo>
                      <a:pt x="264440" y="514481"/>
                    </a:lnTo>
                    <a:cubicBezTo>
                      <a:pt x="281399" y="508828"/>
                      <a:pt x="269094" y="512292"/>
                      <a:pt x="302540" y="509719"/>
                    </a:cubicBezTo>
                    <a:cubicBezTo>
                      <a:pt x="307794" y="493955"/>
                      <a:pt x="309877" y="494554"/>
                      <a:pt x="304921" y="476381"/>
                    </a:cubicBezTo>
                    <a:cubicBezTo>
                      <a:pt x="304168" y="473620"/>
                      <a:pt x="301746" y="471619"/>
                      <a:pt x="300159" y="469238"/>
                    </a:cubicBezTo>
                    <a:cubicBezTo>
                      <a:pt x="299365" y="465269"/>
                      <a:pt x="297777" y="461379"/>
                      <a:pt x="297777" y="457331"/>
                    </a:cubicBezTo>
                    <a:cubicBezTo>
                      <a:pt x="297777" y="441713"/>
                      <a:pt x="300542" y="425992"/>
                      <a:pt x="312065" y="414469"/>
                    </a:cubicBezTo>
                    <a:cubicBezTo>
                      <a:pt x="314446" y="412088"/>
                      <a:pt x="316407" y="409193"/>
                      <a:pt x="319209" y="407325"/>
                    </a:cubicBezTo>
                    <a:cubicBezTo>
                      <a:pt x="321297" y="405933"/>
                      <a:pt x="323939" y="405633"/>
                      <a:pt x="326352" y="404944"/>
                    </a:cubicBezTo>
                    <a:cubicBezTo>
                      <a:pt x="347264" y="398969"/>
                      <a:pt x="325906" y="405888"/>
                      <a:pt x="343021" y="400181"/>
                    </a:cubicBezTo>
                    <a:cubicBezTo>
                      <a:pt x="402769" y="401939"/>
                      <a:pt x="422061" y="404526"/>
                      <a:pt x="476371" y="400181"/>
                    </a:cubicBezTo>
                    <a:cubicBezTo>
                      <a:pt x="478873" y="399981"/>
                      <a:pt x="481134" y="398594"/>
                      <a:pt x="483515" y="397800"/>
                    </a:cubicBezTo>
                    <a:cubicBezTo>
                      <a:pt x="485896" y="395419"/>
                      <a:pt x="488072" y="392812"/>
                      <a:pt x="490659" y="390656"/>
                    </a:cubicBezTo>
                    <a:cubicBezTo>
                      <a:pt x="492857" y="388824"/>
                      <a:pt x="495779" y="387917"/>
                      <a:pt x="497802" y="385894"/>
                    </a:cubicBezTo>
                    <a:cubicBezTo>
                      <a:pt x="500608" y="383088"/>
                      <a:pt x="502565" y="379544"/>
                      <a:pt x="504946" y="376369"/>
                    </a:cubicBezTo>
                    <a:cubicBezTo>
                      <a:pt x="505740" y="372400"/>
                      <a:pt x="507327" y="368510"/>
                      <a:pt x="507327" y="364463"/>
                    </a:cubicBezTo>
                    <a:cubicBezTo>
                      <a:pt x="507327" y="359005"/>
                      <a:pt x="506641" y="341656"/>
                      <a:pt x="502565" y="333506"/>
                    </a:cubicBezTo>
                    <a:cubicBezTo>
                      <a:pt x="501285" y="330946"/>
                      <a:pt x="499390" y="328744"/>
                      <a:pt x="497802" y="326363"/>
                    </a:cubicBezTo>
                    <a:cubicBezTo>
                      <a:pt x="493617" y="313808"/>
                      <a:pt x="498187" y="323968"/>
                      <a:pt x="488277" y="312075"/>
                    </a:cubicBezTo>
                    <a:cubicBezTo>
                      <a:pt x="486445" y="309876"/>
                      <a:pt x="485714" y="306763"/>
                      <a:pt x="483515" y="304931"/>
                    </a:cubicBezTo>
                    <a:cubicBezTo>
                      <a:pt x="479592" y="301662"/>
                      <a:pt x="471808" y="299442"/>
                      <a:pt x="466846" y="297788"/>
                    </a:cubicBezTo>
                    <a:cubicBezTo>
                      <a:pt x="463671" y="293025"/>
                      <a:pt x="461368" y="287547"/>
                      <a:pt x="457321" y="283500"/>
                    </a:cubicBezTo>
                    <a:cubicBezTo>
                      <a:pt x="452559" y="278738"/>
                      <a:pt x="446770" y="274817"/>
                      <a:pt x="443034" y="269213"/>
                    </a:cubicBezTo>
                    <a:cubicBezTo>
                      <a:pt x="439859" y="264450"/>
                      <a:pt x="436943" y="259504"/>
                      <a:pt x="433509" y="254925"/>
                    </a:cubicBezTo>
                    <a:cubicBezTo>
                      <a:pt x="424648" y="243110"/>
                      <a:pt x="428567" y="248702"/>
                      <a:pt x="421602" y="238256"/>
                    </a:cubicBezTo>
                    <a:cubicBezTo>
                      <a:pt x="417273" y="220938"/>
                      <a:pt x="423041" y="234933"/>
                      <a:pt x="412077" y="223969"/>
                    </a:cubicBezTo>
                    <a:cubicBezTo>
                      <a:pt x="410053" y="221945"/>
                      <a:pt x="409469" y="218710"/>
                      <a:pt x="407315" y="216825"/>
                    </a:cubicBezTo>
                    <a:cubicBezTo>
                      <a:pt x="403007" y="213056"/>
                      <a:pt x="397790" y="210475"/>
                      <a:pt x="393027" y="207300"/>
                    </a:cubicBezTo>
                    <a:lnTo>
                      <a:pt x="385884" y="202538"/>
                    </a:lnTo>
                    <a:cubicBezTo>
                      <a:pt x="368862" y="177007"/>
                      <a:pt x="395371" y="215756"/>
                      <a:pt x="373977" y="188250"/>
                    </a:cubicBezTo>
                    <a:cubicBezTo>
                      <a:pt x="365930" y="177904"/>
                      <a:pt x="364874" y="174807"/>
                      <a:pt x="359690" y="164438"/>
                    </a:cubicBezTo>
                    <a:cubicBezTo>
                      <a:pt x="358896" y="153325"/>
                      <a:pt x="358611" y="142165"/>
                      <a:pt x="357309" y="131100"/>
                    </a:cubicBezTo>
                    <a:cubicBezTo>
                      <a:pt x="357016" y="128607"/>
                      <a:pt x="354927" y="126466"/>
                      <a:pt x="354927" y="123956"/>
                    </a:cubicBezTo>
                    <a:cubicBezTo>
                      <a:pt x="354927" y="115189"/>
                      <a:pt x="356069" y="106442"/>
                      <a:pt x="357309" y="97763"/>
                    </a:cubicBezTo>
                    <a:cubicBezTo>
                      <a:pt x="357664" y="95278"/>
                      <a:pt x="359000" y="93033"/>
                      <a:pt x="359690" y="90619"/>
                    </a:cubicBezTo>
                    <a:cubicBezTo>
                      <a:pt x="360589" y="87472"/>
                      <a:pt x="361277" y="84269"/>
                      <a:pt x="362071" y="81094"/>
                    </a:cubicBezTo>
                    <a:cubicBezTo>
                      <a:pt x="359684" y="73933"/>
                      <a:pt x="360057" y="72962"/>
                      <a:pt x="354927" y="66806"/>
                    </a:cubicBezTo>
                    <a:cubicBezTo>
                      <a:pt x="352771" y="64219"/>
                      <a:pt x="350728" y="61298"/>
                      <a:pt x="347784" y="59663"/>
                    </a:cubicBezTo>
                    <a:cubicBezTo>
                      <a:pt x="338730" y="54633"/>
                      <a:pt x="326661" y="53924"/>
                      <a:pt x="316827" y="52519"/>
                    </a:cubicBezTo>
                    <a:cubicBezTo>
                      <a:pt x="305208" y="48645"/>
                      <a:pt x="297483" y="47462"/>
                      <a:pt x="288252" y="38231"/>
                    </a:cubicBezTo>
                    <a:cubicBezTo>
                      <a:pt x="283767" y="33746"/>
                      <a:pt x="279931" y="28977"/>
                      <a:pt x="273965" y="26325"/>
                    </a:cubicBezTo>
                    <a:cubicBezTo>
                      <a:pt x="269377" y="24286"/>
                      <a:pt x="264440" y="23151"/>
                      <a:pt x="259677" y="21563"/>
                    </a:cubicBezTo>
                    <a:lnTo>
                      <a:pt x="252534" y="19181"/>
                    </a:lnTo>
                    <a:cubicBezTo>
                      <a:pt x="234278" y="19975"/>
                      <a:pt x="215989" y="20213"/>
                      <a:pt x="197765" y="21563"/>
                    </a:cubicBezTo>
                    <a:cubicBezTo>
                      <a:pt x="190315" y="22115"/>
                      <a:pt x="180690" y="27583"/>
                      <a:pt x="173952" y="28706"/>
                    </a:cubicBezTo>
                    <a:lnTo>
                      <a:pt x="159665" y="31088"/>
                    </a:lnTo>
                    <a:cubicBezTo>
                      <a:pt x="152521" y="30294"/>
                      <a:pt x="145338" y="29799"/>
                      <a:pt x="138234" y="28706"/>
                    </a:cubicBezTo>
                    <a:cubicBezTo>
                      <a:pt x="132680" y="27852"/>
                      <a:pt x="126900" y="25722"/>
                      <a:pt x="121565" y="23944"/>
                    </a:cubicBezTo>
                    <a:cubicBezTo>
                      <a:pt x="119184" y="22356"/>
                      <a:pt x="116620" y="21013"/>
                      <a:pt x="114421" y="19181"/>
                    </a:cubicBezTo>
                    <a:cubicBezTo>
                      <a:pt x="111834" y="17025"/>
                      <a:pt x="110221" y="13673"/>
                      <a:pt x="107277" y="12038"/>
                    </a:cubicBezTo>
                    <a:cubicBezTo>
                      <a:pt x="102889" y="9600"/>
                      <a:pt x="97752" y="8863"/>
                      <a:pt x="92990" y="7275"/>
                    </a:cubicBezTo>
                    <a:lnTo>
                      <a:pt x="85846" y="4894"/>
                    </a:lnTo>
                    <a:cubicBezTo>
                      <a:pt x="83465" y="4100"/>
                      <a:pt x="81163" y="3005"/>
                      <a:pt x="78702" y="2513"/>
                    </a:cubicBezTo>
                    <a:cubicBezTo>
                      <a:pt x="74733" y="1719"/>
                      <a:pt x="70812" y="633"/>
                      <a:pt x="66796" y="131"/>
                    </a:cubicBezTo>
                    <a:cubicBezTo>
                      <a:pt x="64433" y="-164"/>
                      <a:pt x="62033" y="131"/>
                      <a:pt x="40602" y="13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0" name="Freeform 239"/>
              <p:cNvSpPr/>
              <p:nvPr/>
            </p:nvSpPr>
            <p:spPr>
              <a:xfrm>
                <a:off x="6982505" y="4403551"/>
                <a:ext cx="57393" cy="100072"/>
              </a:xfrm>
              <a:custGeom>
                <a:avLst/>
                <a:gdLst>
                  <a:gd name="connsiteX0" fmla="*/ 45243 w 57393"/>
                  <a:gd name="connsiteY0" fmla="*/ 60 h 100072"/>
                  <a:gd name="connsiteX1" fmla="*/ 26193 w 57393"/>
                  <a:gd name="connsiteY1" fmla="*/ 2441 h 100072"/>
                  <a:gd name="connsiteX2" fmla="*/ 19050 w 57393"/>
                  <a:gd name="connsiteY2" fmla="*/ 4822 h 100072"/>
                  <a:gd name="connsiteX3" fmla="*/ 9525 w 57393"/>
                  <a:gd name="connsiteY3" fmla="*/ 7204 h 100072"/>
                  <a:gd name="connsiteX4" fmla="*/ 4762 w 57393"/>
                  <a:gd name="connsiteY4" fmla="*/ 14347 h 100072"/>
                  <a:gd name="connsiteX5" fmla="*/ 0 w 57393"/>
                  <a:gd name="connsiteY5" fmla="*/ 28635 h 100072"/>
                  <a:gd name="connsiteX6" fmla="*/ 7143 w 57393"/>
                  <a:gd name="connsiteY6" fmla="*/ 59591 h 100072"/>
                  <a:gd name="connsiteX7" fmla="*/ 11906 w 57393"/>
                  <a:gd name="connsiteY7" fmla="*/ 66735 h 100072"/>
                  <a:gd name="connsiteX8" fmla="*/ 14287 w 57393"/>
                  <a:gd name="connsiteY8" fmla="*/ 73879 h 100072"/>
                  <a:gd name="connsiteX9" fmla="*/ 28575 w 57393"/>
                  <a:gd name="connsiteY9" fmla="*/ 85785 h 100072"/>
                  <a:gd name="connsiteX10" fmla="*/ 47625 w 57393"/>
                  <a:gd name="connsiteY10" fmla="*/ 97691 h 100072"/>
                  <a:gd name="connsiteX11" fmla="*/ 54768 w 57393"/>
                  <a:gd name="connsiteY11" fmla="*/ 100072 h 100072"/>
                  <a:gd name="connsiteX12" fmla="*/ 54768 w 57393"/>
                  <a:gd name="connsiteY12" fmla="*/ 85785 h 100072"/>
                  <a:gd name="connsiteX13" fmla="*/ 52387 w 57393"/>
                  <a:gd name="connsiteY13" fmla="*/ 11966 h 100072"/>
                  <a:gd name="connsiteX14" fmla="*/ 50006 w 57393"/>
                  <a:gd name="connsiteY14" fmla="*/ 4822 h 100072"/>
                  <a:gd name="connsiteX15" fmla="*/ 45243 w 57393"/>
                  <a:gd name="connsiteY15" fmla="*/ 60 h 10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393" h="100072">
                    <a:moveTo>
                      <a:pt x="45243" y="60"/>
                    </a:moveTo>
                    <a:cubicBezTo>
                      <a:pt x="41274" y="-337"/>
                      <a:pt x="32489" y="1296"/>
                      <a:pt x="26193" y="2441"/>
                    </a:cubicBezTo>
                    <a:cubicBezTo>
                      <a:pt x="23724" y="2890"/>
                      <a:pt x="21463" y="4132"/>
                      <a:pt x="19050" y="4822"/>
                    </a:cubicBezTo>
                    <a:cubicBezTo>
                      <a:pt x="15903" y="5721"/>
                      <a:pt x="12700" y="6410"/>
                      <a:pt x="9525" y="7204"/>
                    </a:cubicBezTo>
                    <a:cubicBezTo>
                      <a:pt x="7937" y="9585"/>
                      <a:pt x="5924" y="11732"/>
                      <a:pt x="4762" y="14347"/>
                    </a:cubicBezTo>
                    <a:cubicBezTo>
                      <a:pt x="2723" y="18935"/>
                      <a:pt x="0" y="28635"/>
                      <a:pt x="0" y="28635"/>
                    </a:cubicBezTo>
                    <a:cubicBezTo>
                      <a:pt x="1097" y="36318"/>
                      <a:pt x="2389" y="52461"/>
                      <a:pt x="7143" y="59591"/>
                    </a:cubicBezTo>
                    <a:lnTo>
                      <a:pt x="11906" y="66735"/>
                    </a:lnTo>
                    <a:cubicBezTo>
                      <a:pt x="12700" y="69116"/>
                      <a:pt x="12895" y="71790"/>
                      <a:pt x="14287" y="73879"/>
                    </a:cubicBezTo>
                    <a:cubicBezTo>
                      <a:pt x="17953" y="79377"/>
                      <a:pt x="23306" y="82272"/>
                      <a:pt x="28575" y="85785"/>
                    </a:cubicBezTo>
                    <a:cubicBezTo>
                      <a:pt x="36122" y="97106"/>
                      <a:pt x="30622" y="92024"/>
                      <a:pt x="47625" y="97691"/>
                    </a:cubicBezTo>
                    <a:lnTo>
                      <a:pt x="54768" y="100072"/>
                    </a:lnTo>
                    <a:cubicBezTo>
                      <a:pt x="60167" y="83881"/>
                      <a:pt x="55721" y="101977"/>
                      <a:pt x="54768" y="85785"/>
                    </a:cubicBezTo>
                    <a:cubicBezTo>
                      <a:pt x="53322" y="61208"/>
                      <a:pt x="53833" y="36543"/>
                      <a:pt x="52387" y="11966"/>
                    </a:cubicBezTo>
                    <a:cubicBezTo>
                      <a:pt x="52240" y="9460"/>
                      <a:pt x="50615" y="7257"/>
                      <a:pt x="50006" y="4822"/>
                    </a:cubicBezTo>
                    <a:cubicBezTo>
                      <a:pt x="49814" y="4052"/>
                      <a:pt x="49212" y="457"/>
                      <a:pt x="45243" y="6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1" name="Freeform 240"/>
              <p:cNvSpPr/>
              <p:nvPr/>
            </p:nvSpPr>
            <p:spPr>
              <a:xfrm>
                <a:off x="7094368" y="4283523"/>
                <a:ext cx="124647" cy="210575"/>
              </a:xfrm>
              <a:custGeom>
                <a:avLst/>
                <a:gdLst>
                  <a:gd name="connsiteX0" fmla="*/ 100068 w 124647"/>
                  <a:gd name="connsiteY0" fmla="*/ 1025 h 210575"/>
                  <a:gd name="connsiteX1" fmla="*/ 88162 w 124647"/>
                  <a:gd name="connsiteY1" fmla="*/ 8169 h 210575"/>
                  <a:gd name="connsiteX2" fmla="*/ 81018 w 124647"/>
                  <a:gd name="connsiteY2" fmla="*/ 12932 h 210575"/>
                  <a:gd name="connsiteX3" fmla="*/ 73874 w 124647"/>
                  <a:gd name="connsiteY3" fmla="*/ 15313 h 210575"/>
                  <a:gd name="connsiteX4" fmla="*/ 66730 w 124647"/>
                  <a:gd name="connsiteY4" fmla="*/ 20075 h 210575"/>
                  <a:gd name="connsiteX5" fmla="*/ 54824 w 124647"/>
                  <a:gd name="connsiteY5" fmla="*/ 22457 h 210575"/>
                  <a:gd name="connsiteX6" fmla="*/ 45299 w 124647"/>
                  <a:gd name="connsiteY6" fmla="*/ 27219 h 210575"/>
                  <a:gd name="connsiteX7" fmla="*/ 38155 w 124647"/>
                  <a:gd name="connsiteY7" fmla="*/ 31982 h 210575"/>
                  <a:gd name="connsiteX8" fmla="*/ 23868 w 124647"/>
                  <a:gd name="connsiteY8" fmla="*/ 39125 h 210575"/>
                  <a:gd name="connsiteX9" fmla="*/ 21487 w 124647"/>
                  <a:gd name="connsiteY9" fmla="*/ 89132 h 210575"/>
                  <a:gd name="connsiteX10" fmla="*/ 28630 w 124647"/>
                  <a:gd name="connsiteY10" fmla="*/ 108182 h 210575"/>
                  <a:gd name="connsiteX11" fmla="*/ 35774 w 124647"/>
                  <a:gd name="connsiteY11" fmla="*/ 122469 h 210575"/>
                  <a:gd name="connsiteX12" fmla="*/ 33393 w 124647"/>
                  <a:gd name="connsiteY12" fmla="*/ 143900 h 210575"/>
                  <a:gd name="connsiteX13" fmla="*/ 9580 w 124647"/>
                  <a:gd name="connsiteY13" fmla="*/ 146282 h 210575"/>
                  <a:gd name="connsiteX14" fmla="*/ 4818 w 124647"/>
                  <a:gd name="connsiteY14" fmla="*/ 153425 h 210575"/>
                  <a:gd name="connsiteX15" fmla="*/ 55 w 124647"/>
                  <a:gd name="connsiteY15" fmla="*/ 167713 h 210575"/>
                  <a:gd name="connsiteX16" fmla="*/ 2437 w 124647"/>
                  <a:gd name="connsiteY16" fmla="*/ 189144 h 210575"/>
                  <a:gd name="connsiteX17" fmla="*/ 9580 w 124647"/>
                  <a:gd name="connsiteY17" fmla="*/ 193907 h 210575"/>
                  <a:gd name="connsiteX18" fmla="*/ 61968 w 124647"/>
                  <a:gd name="connsiteY18" fmla="*/ 196288 h 210575"/>
                  <a:gd name="connsiteX19" fmla="*/ 69112 w 124647"/>
                  <a:gd name="connsiteY19" fmla="*/ 198669 h 210575"/>
                  <a:gd name="connsiteX20" fmla="*/ 83399 w 124647"/>
                  <a:gd name="connsiteY20" fmla="*/ 208194 h 210575"/>
                  <a:gd name="connsiteX21" fmla="*/ 90543 w 124647"/>
                  <a:gd name="connsiteY21" fmla="*/ 210575 h 210575"/>
                  <a:gd name="connsiteX22" fmla="*/ 102449 w 124647"/>
                  <a:gd name="connsiteY22" fmla="*/ 208194 h 210575"/>
                  <a:gd name="connsiteX23" fmla="*/ 100068 w 124647"/>
                  <a:gd name="connsiteY23" fmla="*/ 184382 h 210575"/>
                  <a:gd name="connsiteX24" fmla="*/ 92924 w 124647"/>
                  <a:gd name="connsiteY24" fmla="*/ 167713 h 210575"/>
                  <a:gd name="connsiteX25" fmla="*/ 83399 w 124647"/>
                  <a:gd name="connsiteY25" fmla="*/ 136757 h 210575"/>
                  <a:gd name="connsiteX26" fmla="*/ 81018 w 124647"/>
                  <a:gd name="connsiteY26" fmla="*/ 122469 h 210575"/>
                  <a:gd name="connsiteX27" fmla="*/ 90543 w 124647"/>
                  <a:gd name="connsiteY27" fmla="*/ 110563 h 210575"/>
                  <a:gd name="connsiteX28" fmla="*/ 97687 w 124647"/>
                  <a:gd name="connsiteY28" fmla="*/ 103419 h 210575"/>
                  <a:gd name="connsiteX29" fmla="*/ 111974 w 124647"/>
                  <a:gd name="connsiteY29" fmla="*/ 98657 h 210575"/>
                  <a:gd name="connsiteX30" fmla="*/ 121499 w 124647"/>
                  <a:gd name="connsiteY30" fmla="*/ 31982 h 210575"/>
                  <a:gd name="connsiteX31" fmla="*/ 100068 w 124647"/>
                  <a:gd name="connsiteY31" fmla="*/ 1025 h 2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4647" h="210575">
                    <a:moveTo>
                      <a:pt x="100068" y="1025"/>
                    </a:moveTo>
                    <a:cubicBezTo>
                      <a:pt x="94512" y="-2944"/>
                      <a:pt x="92087" y="5716"/>
                      <a:pt x="88162" y="8169"/>
                    </a:cubicBezTo>
                    <a:cubicBezTo>
                      <a:pt x="85735" y="9686"/>
                      <a:pt x="83578" y="11652"/>
                      <a:pt x="81018" y="12932"/>
                    </a:cubicBezTo>
                    <a:cubicBezTo>
                      <a:pt x="78773" y="14055"/>
                      <a:pt x="76119" y="14191"/>
                      <a:pt x="73874" y="15313"/>
                    </a:cubicBezTo>
                    <a:cubicBezTo>
                      <a:pt x="71314" y="16593"/>
                      <a:pt x="69410" y="19070"/>
                      <a:pt x="66730" y="20075"/>
                    </a:cubicBezTo>
                    <a:cubicBezTo>
                      <a:pt x="62940" y="21496"/>
                      <a:pt x="58793" y="21663"/>
                      <a:pt x="54824" y="22457"/>
                    </a:cubicBezTo>
                    <a:cubicBezTo>
                      <a:pt x="51649" y="24044"/>
                      <a:pt x="48381" y="25458"/>
                      <a:pt x="45299" y="27219"/>
                    </a:cubicBezTo>
                    <a:cubicBezTo>
                      <a:pt x="42814" y="28639"/>
                      <a:pt x="40715" y="30702"/>
                      <a:pt x="38155" y="31982"/>
                    </a:cubicBezTo>
                    <a:cubicBezTo>
                      <a:pt x="18429" y="41846"/>
                      <a:pt x="44352" y="25471"/>
                      <a:pt x="23868" y="39125"/>
                    </a:cubicBezTo>
                    <a:cubicBezTo>
                      <a:pt x="11421" y="57794"/>
                      <a:pt x="17677" y="45316"/>
                      <a:pt x="21487" y="89132"/>
                    </a:cubicBezTo>
                    <a:cubicBezTo>
                      <a:pt x="22938" y="105812"/>
                      <a:pt x="22678" y="96279"/>
                      <a:pt x="28630" y="108182"/>
                    </a:cubicBezTo>
                    <a:cubicBezTo>
                      <a:pt x="38489" y="127899"/>
                      <a:pt x="22126" y="101995"/>
                      <a:pt x="35774" y="122469"/>
                    </a:cubicBezTo>
                    <a:cubicBezTo>
                      <a:pt x="34980" y="129613"/>
                      <a:pt x="38711" y="139065"/>
                      <a:pt x="33393" y="143900"/>
                    </a:cubicBezTo>
                    <a:cubicBezTo>
                      <a:pt x="27490" y="149266"/>
                      <a:pt x="17148" y="143759"/>
                      <a:pt x="9580" y="146282"/>
                    </a:cubicBezTo>
                    <a:cubicBezTo>
                      <a:pt x="6865" y="147187"/>
                      <a:pt x="6405" y="151044"/>
                      <a:pt x="4818" y="153425"/>
                    </a:cubicBezTo>
                    <a:cubicBezTo>
                      <a:pt x="3230" y="158188"/>
                      <a:pt x="-500" y="162723"/>
                      <a:pt x="55" y="167713"/>
                    </a:cubicBezTo>
                    <a:cubicBezTo>
                      <a:pt x="849" y="174857"/>
                      <a:pt x="-19" y="182389"/>
                      <a:pt x="2437" y="189144"/>
                    </a:cubicBezTo>
                    <a:cubicBezTo>
                      <a:pt x="3415" y="191833"/>
                      <a:pt x="6739" y="193566"/>
                      <a:pt x="9580" y="193907"/>
                    </a:cubicBezTo>
                    <a:cubicBezTo>
                      <a:pt x="26936" y="195990"/>
                      <a:pt x="44505" y="195494"/>
                      <a:pt x="61968" y="196288"/>
                    </a:cubicBezTo>
                    <a:cubicBezTo>
                      <a:pt x="64349" y="197082"/>
                      <a:pt x="66918" y="197450"/>
                      <a:pt x="69112" y="198669"/>
                    </a:cubicBezTo>
                    <a:cubicBezTo>
                      <a:pt x="74115" y="201449"/>
                      <a:pt x="77969" y="206384"/>
                      <a:pt x="83399" y="208194"/>
                    </a:cubicBezTo>
                    <a:lnTo>
                      <a:pt x="90543" y="210575"/>
                    </a:lnTo>
                    <a:cubicBezTo>
                      <a:pt x="94512" y="209781"/>
                      <a:pt x="101066" y="211998"/>
                      <a:pt x="102449" y="208194"/>
                    </a:cubicBezTo>
                    <a:cubicBezTo>
                      <a:pt x="105175" y="200697"/>
                      <a:pt x="101281" y="192266"/>
                      <a:pt x="100068" y="184382"/>
                    </a:cubicBezTo>
                    <a:cubicBezTo>
                      <a:pt x="99109" y="178150"/>
                      <a:pt x="95211" y="173430"/>
                      <a:pt x="92924" y="167713"/>
                    </a:cubicBezTo>
                    <a:cubicBezTo>
                      <a:pt x="90560" y="161804"/>
                      <a:pt x="84678" y="142298"/>
                      <a:pt x="83399" y="136757"/>
                    </a:cubicBezTo>
                    <a:cubicBezTo>
                      <a:pt x="82313" y="132052"/>
                      <a:pt x="81812" y="127232"/>
                      <a:pt x="81018" y="122469"/>
                    </a:cubicBezTo>
                    <a:cubicBezTo>
                      <a:pt x="84927" y="110741"/>
                      <a:pt x="80600" y="118848"/>
                      <a:pt x="90543" y="110563"/>
                    </a:cubicBezTo>
                    <a:cubicBezTo>
                      <a:pt x="93130" y="108407"/>
                      <a:pt x="94743" y="105054"/>
                      <a:pt x="97687" y="103419"/>
                    </a:cubicBezTo>
                    <a:cubicBezTo>
                      <a:pt x="102075" y="100981"/>
                      <a:pt x="111974" y="98657"/>
                      <a:pt x="111974" y="98657"/>
                    </a:cubicBezTo>
                    <a:cubicBezTo>
                      <a:pt x="136589" y="82246"/>
                      <a:pt x="116937" y="98135"/>
                      <a:pt x="121499" y="31982"/>
                    </a:cubicBezTo>
                    <a:cubicBezTo>
                      <a:pt x="124131" y="-6185"/>
                      <a:pt x="105624" y="4994"/>
                      <a:pt x="100068" y="10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2" name="Freeform 241"/>
              <p:cNvSpPr/>
              <p:nvPr/>
            </p:nvSpPr>
            <p:spPr>
              <a:xfrm>
                <a:off x="7186826" y="4236923"/>
                <a:ext cx="162391" cy="323850"/>
              </a:xfrm>
              <a:custGeom>
                <a:avLst/>
                <a:gdLst>
                  <a:gd name="connsiteX0" fmla="*/ 100479 w 162391"/>
                  <a:gd name="connsiteY0" fmla="*/ 0 h 323850"/>
                  <a:gd name="connsiteX1" fmla="*/ 83810 w 162391"/>
                  <a:gd name="connsiteY1" fmla="*/ 16669 h 323850"/>
                  <a:gd name="connsiteX2" fmla="*/ 76666 w 162391"/>
                  <a:gd name="connsiteY2" fmla="*/ 23813 h 323850"/>
                  <a:gd name="connsiteX3" fmla="*/ 69522 w 162391"/>
                  <a:gd name="connsiteY3" fmla="*/ 38100 h 323850"/>
                  <a:gd name="connsiteX4" fmla="*/ 67141 w 162391"/>
                  <a:gd name="connsiteY4" fmla="*/ 54769 h 323850"/>
                  <a:gd name="connsiteX5" fmla="*/ 64760 w 162391"/>
                  <a:gd name="connsiteY5" fmla="*/ 64294 h 323850"/>
                  <a:gd name="connsiteX6" fmla="*/ 62379 w 162391"/>
                  <a:gd name="connsiteY6" fmla="*/ 80963 h 323850"/>
                  <a:gd name="connsiteX7" fmla="*/ 59997 w 162391"/>
                  <a:gd name="connsiteY7" fmla="*/ 88107 h 323850"/>
                  <a:gd name="connsiteX8" fmla="*/ 57616 w 162391"/>
                  <a:gd name="connsiteY8" fmla="*/ 97632 h 323850"/>
                  <a:gd name="connsiteX9" fmla="*/ 55235 w 162391"/>
                  <a:gd name="connsiteY9" fmla="*/ 140494 h 323850"/>
                  <a:gd name="connsiteX10" fmla="*/ 50472 w 162391"/>
                  <a:gd name="connsiteY10" fmla="*/ 157163 h 323850"/>
                  <a:gd name="connsiteX11" fmla="*/ 48091 w 162391"/>
                  <a:gd name="connsiteY11" fmla="*/ 171450 h 323850"/>
                  <a:gd name="connsiteX12" fmla="*/ 45710 w 162391"/>
                  <a:gd name="connsiteY12" fmla="*/ 223838 h 323850"/>
                  <a:gd name="connsiteX13" fmla="*/ 43329 w 162391"/>
                  <a:gd name="connsiteY13" fmla="*/ 230982 h 323850"/>
                  <a:gd name="connsiteX14" fmla="*/ 38566 w 162391"/>
                  <a:gd name="connsiteY14" fmla="*/ 238125 h 323850"/>
                  <a:gd name="connsiteX15" fmla="*/ 29041 w 162391"/>
                  <a:gd name="connsiteY15" fmla="*/ 259557 h 323850"/>
                  <a:gd name="connsiteX16" fmla="*/ 21897 w 162391"/>
                  <a:gd name="connsiteY16" fmla="*/ 264319 h 323850"/>
                  <a:gd name="connsiteX17" fmla="*/ 9991 w 162391"/>
                  <a:gd name="connsiteY17" fmla="*/ 278607 h 323850"/>
                  <a:gd name="connsiteX18" fmla="*/ 7610 w 162391"/>
                  <a:gd name="connsiteY18" fmla="*/ 285750 h 323850"/>
                  <a:gd name="connsiteX19" fmla="*/ 466 w 162391"/>
                  <a:gd name="connsiteY19" fmla="*/ 297657 h 323850"/>
                  <a:gd name="connsiteX20" fmla="*/ 2847 w 162391"/>
                  <a:gd name="connsiteY20" fmla="*/ 321469 h 323850"/>
                  <a:gd name="connsiteX21" fmla="*/ 9991 w 162391"/>
                  <a:gd name="connsiteY21" fmla="*/ 323850 h 323850"/>
                  <a:gd name="connsiteX22" fmla="*/ 43329 w 162391"/>
                  <a:gd name="connsiteY22" fmla="*/ 321469 h 323850"/>
                  <a:gd name="connsiteX23" fmla="*/ 50472 w 162391"/>
                  <a:gd name="connsiteY23" fmla="*/ 319088 h 323850"/>
                  <a:gd name="connsiteX24" fmla="*/ 59997 w 162391"/>
                  <a:gd name="connsiteY24" fmla="*/ 316707 h 323850"/>
                  <a:gd name="connsiteX25" fmla="*/ 67141 w 162391"/>
                  <a:gd name="connsiteY25" fmla="*/ 278607 h 323850"/>
                  <a:gd name="connsiteX26" fmla="*/ 74285 w 162391"/>
                  <a:gd name="connsiteY26" fmla="*/ 264319 h 323850"/>
                  <a:gd name="connsiteX27" fmla="*/ 81429 w 162391"/>
                  <a:gd name="connsiteY27" fmla="*/ 261938 h 323850"/>
                  <a:gd name="connsiteX28" fmla="*/ 83810 w 162391"/>
                  <a:gd name="connsiteY28" fmla="*/ 254794 h 323850"/>
                  <a:gd name="connsiteX29" fmla="*/ 90954 w 162391"/>
                  <a:gd name="connsiteY29" fmla="*/ 250032 h 323850"/>
                  <a:gd name="connsiteX30" fmla="*/ 98097 w 162391"/>
                  <a:gd name="connsiteY30" fmla="*/ 247650 h 323850"/>
                  <a:gd name="connsiteX31" fmla="*/ 143341 w 162391"/>
                  <a:gd name="connsiteY31" fmla="*/ 245269 h 323850"/>
                  <a:gd name="connsiteX32" fmla="*/ 145722 w 162391"/>
                  <a:gd name="connsiteY32" fmla="*/ 235744 h 323850"/>
                  <a:gd name="connsiteX33" fmla="*/ 143341 w 162391"/>
                  <a:gd name="connsiteY33" fmla="*/ 197644 h 323850"/>
                  <a:gd name="connsiteX34" fmla="*/ 136197 w 162391"/>
                  <a:gd name="connsiteY34" fmla="*/ 188119 h 323850"/>
                  <a:gd name="connsiteX35" fmla="*/ 121910 w 162391"/>
                  <a:gd name="connsiteY35" fmla="*/ 178594 h 323850"/>
                  <a:gd name="connsiteX36" fmla="*/ 114766 w 162391"/>
                  <a:gd name="connsiteY36" fmla="*/ 173832 h 323850"/>
                  <a:gd name="connsiteX37" fmla="*/ 100479 w 162391"/>
                  <a:gd name="connsiteY37" fmla="*/ 166688 h 323850"/>
                  <a:gd name="connsiteX38" fmla="*/ 102860 w 162391"/>
                  <a:gd name="connsiteY38" fmla="*/ 95250 h 323850"/>
                  <a:gd name="connsiteX39" fmla="*/ 117147 w 162391"/>
                  <a:gd name="connsiteY39" fmla="*/ 90488 h 323850"/>
                  <a:gd name="connsiteX40" fmla="*/ 124291 w 162391"/>
                  <a:gd name="connsiteY40" fmla="*/ 88107 h 323850"/>
                  <a:gd name="connsiteX41" fmla="*/ 133816 w 162391"/>
                  <a:gd name="connsiteY41" fmla="*/ 83344 h 323850"/>
                  <a:gd name="connsiteX42" fmla="*/ 148104 w 162391"/>
                  <a:gd name="connsiteY42" fmla="*/ 80963 h 323850"/>
                  <a:gd name="connsiteX43" fmla="*/ 155247 w 162391"/>
                  <a:gd name="connsiteY43" fmla="*/ 76200 h 323850"/>
                  <a:gd name="connsiteX44" fmla="*/ 157629 w 162391"/>
                  <a:gd name="connsiteY44" fmla="*/ 69057 h 323850"/>
                  <a:gd name="connsiteX45" fmla="*/ 162391 w 162391"/>
                  <a:gd name="connsiteY45" fmla="*/ 52388 h 323850"/>
                  <a:gd name="connsiteX46" fmla="*/ 157629 w 162391"/>
                  <a:gd name="connsiteY46" fmla="*/ 35719 h 323850"/>
                  <a:gd name="connsiteX47" fmla="*/ 143341 w 162391"/>
                  <a:gd name="connsiteY47" fmla="*/ 21432 h 323850"/>
                  <a:gd name="connsiteX48" fmla="*/ 129054 w 162391"/>
                  <a:gd name="connsiteY48" fmla="*/ 11907 h 323850"/>
                  <a:gd name="connsiteX49" fmla="*/ 121910 w 162391"/>
                  <a:gd name="connsiteY49" fmla="*/ 7144 h 323850"/>
                  <a:gd name="connsiteX50" fmla="*/ 100479 w 162391"/>
                  <a:gd name="connsiteY50"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2391" h="323850">
                    <a:moveTo>
                      <a:pt x="100479" y="0"/>
                    </a:moveTo>
                    <a:cubicBezTo>
                      <a:pt x="76237" y="19392"/>
                      <a:pt x="97078" y="747"/>
                      <a:pt x="83810" y="16669"/>
                    </a:cubicBezTo>
                    <a:cubicBezTo>
                      <a:pt x="81654" y="19256"/>
                      <a:pt x="78822" y="21226"/>
                      <a:pt x="76666" y="23813"/>
                    </a:cubicBezTo>
                    <a:cubicBezTo>
                      <a:pt x="71539" y="29966"/>
                      <a:pt x="71909" y="30943"/>
                      <a:pt x="69522" y="38100"/>
                    </a:cubicBezTo>
                    <a:cubicBezTo>
                      <a:pt x="68728" y="43656"/>
                      <a:pt x="68145" y="49247"/>
                      <a:pt x="67141" y="54769"/>
                    </a:cubicBezTo>
                    <a:cubicBezTo>
                      <a:pt x="66556" y="57989"/>
                      <a:pt x="65345" y="61074"/>
                      <a:pt x="64760" y="64294"/>
                    </a:cubicBezTo>
                    <a:cubicBezTo>
                      <a:pt x="63756" y="69816"/>
                      <a:pt x="63480" y="75459"/>
                      <a:pt x="62379" y="80963"/>
                    </a:cubicBezTo>
                    <a:cubicBezTo>
                      <a:pt x="61887" y="83424"/>
                      <a:pt x="60687" y="85693"/>
                      <a:pt x="59997" y="88107"/>
                    </a:cubicBezTo>
                    <a:cubicBezTo>
                      <a:pt x="59098" y="91254"/>
                      <a:pt x="58410" y="94457"/>
                      <a:pt x="57616" y="97632"/>
                    </a:cubicBezTo>
                    <a:cubicBezTo>
                      <a:pt x="56822" y="111919"/>
                      <a:pt x="56530" y="126243"/>
                      <a:pt x="55235" y="140494"/>
                    </a:cubicBezTo>
                    <a:cubicBezTo>
                      <a:pt x="54861" y="144610"/>
                      <a:pt x="51883" y="152931"/>
                      <a:pt x="50472" y="157163"/>
                    </a:cubicBezTo>
                    <a:cubicBezTo>
                      <a:pt x="49678" y="161925"/>
                      <a:pt x="48435" y="166634"/>
                      <a:pt x="48091" y="171450"/>
                    </a:cubicBezTo>
                    <a:cubicBezTo>
                      <a:pt x="46846" y="188886"/>
                      <a:pt x="47104" y="206413"/>
                      <a:pt x="45710" y="223838"/>
                    </a:cubicBezTo>
                    <a:cubicBezTo>
                      <a:pt x="45510" y="226340"/>
                      <a:pt x="44452" y="228737"/>
                      <a:pt x="43329" y="230982"/>
                    </a:cubicBezTo>
                    <a:cubicBezTo>
                      <a:pt x="42049" y="233542"/>
                      <a:pt x="40154" y="235744"/>
                      <a:pt x="38566" y="238125"/>
                    </a:cubicBezTo>
                    <a:cubicBezTo>
                      <a:pt x="36208" y="245200"/>
                      <a:pt x="34702" y="253896"/>
                      <a:pt x="29041" y="259557"/>
                    </a:cubicBezTo>
                    <a:cubicBezTo>
                      <a:pt x="27017" y="261581"/>
                      <a:pt x="24096" y="262487"/>
                      <a:pt x="21897" y="264319"/>
                    </a:cubicBezTo>
                    <a:cubicBezTo>
                      <a:pt x="15024" y="270046"/>
                      <a:pt x="14672" y="271585"/>
                      <a:pt x="9991" y="278607"/>
                    </a:cubicBezTo>
                    <a:cubicBezTo>
                      <a:pt x="9197" y="280988"/>
                      <a:pt x="8732" y="283505"/>
                      <a:pt x="7610" y="285750"/>
                    </a:cubicBezTo>
                    <a:cubicBezTo>
                      <a:pt x="5540" y="289890"/>
                      <a:pt x="1078" y="293069"/>
                      <a:pt x="466" y="297657"/>
                    </a:cubicBezTo>
                    <a:cubicBezTo>
                      <a:pt x="-588" y="305564"/>
                      <a:pt x="121" y="313972"/>
                      <a:pt x="2847" y="321469"/>
                    </a:cubicBezTo>
                    <a:cubicBezTo>
                      <a:pt x="3705" y="323828"/>
                      <a:pt x="7610" y="323056"/>
                      <a:pt x="9991" y="323850"/>
                    </a:cubicBezTo>
                    <a:cubicBezTo>
                      <a:pt x="21104" y="323056"/>
                      <a:pt x="32264" y="322771"/>
                      <a:pt x="43329" y="321469"/>
                    </a:cubicBezTo>
                    <a:cubicBezTo>
                      <a:pt x="45822" y="321176"/>
                      <a:pt x="48059" y="319777"/>
                      <a:pt x="50472" y="319088"/>
                    </a:cubicBezTo>
                    <a:cubicBezTo>
                      <a:pt x="53619" y="318189"/>
                      <a:pt x="56822" y="317501"/>
                      <a:pt x="59997" y="316707"/>
                    </a:cubicBezTo>
                    <a:cubicBezTo>
                      <a:pt x="62716" y="294962"/>
                      <a:pt x="61313" y="299979"/>
                      <a:pt x="67141" y="278607"/>
                    </a:cubicBezTo>
                    <a:cubicBezTo>
                      <a:pt x="68345" y="274192"/>
                      <a:pt x="70503" y="267344"/>
                      <a:pt x="74285" y="264319"/>
                    </a:cubicBezTo>
                    <a:cubicBezTo>
                      <a:pt x="76245" y="262751"/>
                      <a:pt x="79048" y="262732"/>
                      <a:pt x="81429" y="261938"/>
                    </a:cubicBezTo>
                    <a:cubicBezTo>
                      <a:pt x="82223" y="259557"/>
                      <a:pt x="82242" y="256754"/>
                      <a:pt x="83810" y="254794"/>
                    </a:cubicBezTo>
                    <a:cubicBezTo>
                      <a:pt x="85598" y="252559"/>
                      <a:pt x="88394" y="251312"/>
                      <a:pt x="90954" y="250032"/>
                    </a:cubicBezTo>
                    <a:cubicBezTo>
                      <a:pt x="93199" y="248909"/>
                      <a:pt x="95597" y="247877"/>
                      <a:pt x="98097" y="247650"/>
                    </a:cubicBezTo>
                    <a:cubicBezTo>
                      <a:pt x="113137" y="246283"/>
                      <a:pt x="128260" y="246063"/>
                      <a:pt x="143341" y="245269"/>
                    </a:cubicBezTo>
                    <a:cubicBezTo>
                      <a:pt x="144135" y="242094"/>
                      <a:pt x="145722" y="239017"/>
                      <a:pt x="145722" y="235744"/>
                    </a:cubicBezTo>
                    <a:cubicBezTo>
                      <a:pt x="145722" y="223019"/>
                      <a:pt x="145837" y="210122"/>
                      <a:pt x="143341" y="197644"/>
                    </a:cubicBezTo>
                    <a:cubicBezTo>
                      <a:pt x="142563" y="193752"/>
                      <a:pt x="139163" y="190756"/>
                      <a:pt x="136197" y="188119"/>
                    </a:cubicBezTo>
                    <a:cubicBezTo>
                      <a:pt x="131919" y="184316"/>
                      <a:pt x="126672" y="181769"/>
                      <a:pt x="121910" y="178594"/>
                    </a:cubicBezTo>
                    <a:cubicBezTo>
                      <a:pt x="119529" y="177007"/>
                      <a:pt x="117481" y="174737"/>
                      <a:pt x="114766" y="173832"/>
                    </a:cubicBezTo>
                    <a:cubicBezTo>
                      <a:pt x="104907" y="170545"/>
                      <a:pt x="109711" y="172842"/>
                      <a:pt x="100479" y="166688"/>
                    </a:cubicBezTo>
                    <a:cubicBezTo>
                      <a:pt x="101273" y="142875"/>
                      <a:pt x="97769" y="118526"/>
                      <a:pt x="102860" y="95250"/>
                    </a:cubicBezTo>
                    <a:cubicBezTo>
                      <a:pt x="103933" y="90346"/>
                      <a:pt x="112385" y="92075"/>
                      <a:pt x="117147" y="90488"/>
                    </a:cubicBezTo>
                    <a:cubicBezTo>
                      <a:pt x="119528" y="89694"/>
                      <a:pt x="122046" y="89230"/>
                      <a:pt x="124291" y="88107"/>
                    </a:cubicBezTo>
                    <a:cubicBezTo>
                      <a:pt x="127466" y="86519"/>
                      <a:pt x="130416" y="84364"/>
                      <a:pt x="133816" y="83344"/>
                    </a:cubicBezTo>
                    <a:cubicBezTo>
                      <a:pt x="138441" y="81957"/>
                      <a:pt x="143341" y="81757"/>
                      <a:pt x="148104" y="80963"/>
                    </a:cubicBezTo>
                    <a:cubicBezTo>
                      <a:pt x="150485" y="79375"/>
                      <a:pt x="153459" y="78435"/>
                      <a:pt x="155247" y="76200"/>
                    </a:cubicBezTo>
                    <a:cubicBezTo>
                      <a:pt x="156815" y="74240"/>
                      <a:pt x="156939" y="71470"/>
                      <a:pt x="157629" y="69057"/>
                    </a:cubicBezTo>
                    <a:cubicBezTo>
                      <a:pt x="163620" y="48092"/>
                      <a:pt x="156673" y="69543"/>
                      <a:pt x="162391" y="52388"/>
                    </a:cubicBezTo>
                    <a:cubicBezTo>
                      <a:pt x="162214" y="51681"/>
                      <a:pt x="158887" y="37337"/>
                      <a:pt x="157629" y="35719"/>
                    </a:cubicBezTo>
                    <a:cubicBezTo>
                      <a:pt x="153494" y="30403"/>
                      <a:pt x="148945" y="25168"/>
                      <a:pt x="143341" y="21432"/>
                    </a:cubicBezTo>
                    <a:lnTo>
                      <a:pt x="129054" y="11907"/>
                    </a:lnTo>
                    <a:cubicBezTo>
                      <a:pt x="126673" y="10319"/>
                      <a:pt x="123934" y="9168"/>
                      <a:pt x="121910" y="7144"/>
                    </a:cubicBezTo>
                    <a:lnTo>
                      <a:pt x="100479"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3" name="Freeform 242"/>
              <p:cNvSpPr/>
              <p:nvPr/>
            </p:nvSpPr>
            <p:spPr>
              <a:xfrm>
                <a:off x="7263443" y="4117861"/>
                <a:ext cx="83393" cy="85725"/>
              </a:xfrm>
              <a:custGeom>
                <a:avLst/>
                <a:gdLst>
                  <a:gd name="connsiteX0" fmla="*/ 66724 w 83393"/>
                  <a:gd name="connsiteY0" fmla="*/ 7144 h 85725"/>
                  <a:gd name="connsiteX1" fmla="*/ 42912 w 83393"/>
                  <a:gd name="connsiteY1" fmla="*/ 4762 h 85725"/>
                  <a:gd name="connsiteX2" fmla="*/ 35768 w 83393"/>
                  <a:gd name="connsiteY2" fmla="*/ 2381 h 85725"/>
                  <a:gd name="connsiteX3" fmla="*/ 26243 w 83393"/>
                  <a:gd name="connsiteY3" fmla="*/ 0 h 85725"/>
                  <a:gd name="connsiteX4" fmla="*/ 2430 w 83393"/>
                  <a:gd name="connsiteY4" fmla="*/ 2381 h 85725"/>
                  <a:gd name="connsiteX5" fmla="*/ 49 w 83393"/>
                  <a:gd name="connsiteY5" fmla="*/ 11906 h 85725"/>
                  <a:gd name="connsiteX6" fmla="*/ 7193 w 83393"/>
                  <a:gd name="connsiteY6" fmla="*/ 26194 h 85725"/>
                  <a:gd name="connsiteX7" fmla="*/ 14337 w 83393"/>
                  <a:gd name="connsiteY7" fmla="*/ 30956 h 85725"/>
                  <a:gd name="connsiteX8" fmla="*/ 23862 w 83393"/>
                  <a:gd name="connsiteY8" fmla="*/ 52387 h 85725"/>
                  <a:gd name="connsiteX9" fmla="*/ 26243 w 83393"/>
                  <a:gd name="connsiteY9" fmla="*/ 59531 h 85725"/>
                  <a:gd name="connsiteX10" fmla="*/ 54818 w 83393"/>
                  <a:gd name="connsiteY10" fmla="*/ 83344 h 85725"/>
                  <a:gd name="connsiteX11" fmla="*/ 61962 w 83393"/>
                  <a:gd name="connsiteY11" fmla="*/ 85725 h 85725"/>
                  <a:gd name="connsiteX12" fmla="*/ 71487 w 83393"/>
                  <a:gd name="connsiteY12" fmla="*/ 83344 h 85725"/>
                  <a:gd name="connsiteX13" fmla="*/ 78630 w 83393"/>
                  <a:gd name="connsiteY13" fmla="*/ 69056 h 85725"/>
                  <a:gd name="connsiteX14" fmla="*/ 83393 w 83393"/>
                  <a:gd name="connsiteY14" fmla="*/ 59531 h 85725"/>
                  <a:gd name="connsiteX15" fmla="*/ 81012 w 83393"/>
                  <a:gd name="connsiteY15" fmla="*/ 23812 h 85725"/>
                  <a:gd name="connsiteX16" fmla="*/ 66724 w 83393"/>
                  <a:gd name="connsiteY16"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393" h="85725">
                    <a:moveTo>
                      <a:pt x="66724" y="7144"/>
                    </a:moveTo>
                    <a:cubicBezTo>
                      <a:pt x="60374" y="3969"/>
                      <a:pt x="50796" y="5975"/>
                      <a:pt x="42912" y="4762"/>
                    </a:cubicBezTo>
                    <a:cubicBezTo>
                      <a:pt x="40431" y="4380"/>
                      <a:pt x="38182" y="3071"/>
                      <a:pt x="35768" y="2381"/>
                    </a:cubicBezTo>
                    <a:cubicBezTo>
                      <a:pt x="32621" y="1482"/>
                      <a:pt x="29418" y="794"/>
                      <a:pt x="26243" y="0"/>
                    </a:cubicBezTo>
                    <a:cubicBezTo>
                      <a:pt x="18305" y="794"/>
                      <a:pt x="9692" y="-920"/>
                      <a:pt x="2430" y="2381"/>
                    </a:cubicBezTo>
                    <a:cubicBezTo>
                      <a:pt x="-549" y="3735"/>
                      <a:pt x="49" y="8633"/>
                      <a:pt x="49" y="11906"/>
                    </a:cubicBezTo>
                    <a:cubicBezTo>
                      <a:pt x="49" y="15780"/>
                      <a:pt x="4784" y="23785"/>
                      <a:pt x="7193" y="26194"/>
                    </a:cubicBezTo>
                    <a:cubicBezTo>
                      <a:pt x="9217" y="28218"/>
                      <a:pt x="11956" y="29369"/>
                      <a:pt x="14337" y="30956"/>
                    </a:cubicBezTo>
                    <a:cubicBezTo>
                      <a:pt x="20004" y="47959"/>
                      <a:pt x="16314" y="41067"/>
                      <a:pt x="23862" y="52387"/>
                    </a:cubicBezTo>
                    <a:cubicBezTo>
                      <a:pt x="24656" y="54768"/>
                      <a:pt x="24702" y="57550"/>
                      <a:pt x="26243" y="59531"/>
                    </a:cubicBezTo>
                    <a:cubicBezTo>
                      <a:pt x="30886" y="65501"/>
                      <a:pt x="46562" y="80592"/>
                      <a:pt x="54818" y="83344"/>
                    </a:cubicBezTo>
                    <a:lnTo>
                      <a:pt x="61962" y="85725"/>
                    </a:lnTo>
                    <a:cubicBezTo>
                      <a:pt x="65137" y="84931"/>
                      <a:pt x="68764" y="85159"/>
                      <a:pt x="71487" y="83344"/>
                    </a:cubicBezTo>
                    <a:cubicBezTo>
                      <a:pt x="76063" y="80293"/>
                      <a:pt x="76728" y="73493"/>
                      <a:pt x="78630" y="69056"/>
                    </a:cubicBezTo>
                    <a:cubicBezTo>
                      <a:pt x="80028" y="65793"/>
                      <a:pt x="81805" y="62706"/>
                      <a:pt x="83393" y="59531"/>
                    </a:cubicBezTo>
                    <a:cubicBezTo>
                      <a:pt x="82599" y="47625"/>
                      <a:pt x="82974" y="35582"/>
                      <a:pt x="81012" y="23812"/>
                    </a:cubicBezTo>
                    <a:cubicBezTo>
                      <a:pt x="80542" y="20989"/>
                      <a:pt x="73074" y="10319"/>
                      <a:pt x="66724" y="714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4" name="Freeform 243"/>
              <p:cNvSpPr/>
              <p:nvPr/>
            </p:nvSpPr>
            <p:spPr>
              <a:xfrm>
                <a:off x="6222886" y="3348709"/>
                <a:ext cx="291273" cy="676283"/>
              </a:xfrm>
              <a:custGeom>
                <a:avLst/>
                <a:gdLst>
                  <a:gd name="connsiteX0" fmla="*/ 202406 w 291273"/>
                  <a:gd name="connsiteY0" fmla="*/ 8 h 676283"/>
                  <a:gd name="connsiteX1" fmla="*/ 192881 w 291273"/>
                  <a:gd name="connsiteY1" fmla="*/ 19058 h 676283"/>
                  <a:gd name="connsiteX2" fmla="*/ 185737 w 291273"/>
                  <a:gd name="connsiteY2" fmla="*/ 23821 h 676283"/>
                  <a:gd name="connsiteX3" fmla="*/ 178594 w 291273"/>
                  <a:gd name="connsiteY3" fmla="*/ 26202 h 676283"/>
                  <a:gd name="connsiteX4" fmla="*/ 171450 w 291273"/>
                  <a:gd name="connsiteY4" fmla="*/ 40489 h 676283"/>
                  <a:gd name="connsiteX5" fmla="*/ 166687 w 291273"/>
                  <a:gd name="connsiteY5" fmla="*/ 54777 h 676283"/>
                  <a:gd name="connsiteX6" fmla="*/ 164306 w 291273"/>
                  <a:gd name="connsiteY6" fmla="*/ 61921 h 676283"/>
                  <a:gd name="connsiteX7" fmla="*/ 152400 w 291273"/>
                  <a:gd name="connsiteY7" fmla="*/ 76208 h 676283"/>
                  <a:gd name="connsiteX8" fmla="*/ 142875 w 291273"/>
                  <a:gd name="connsiteY8" fmla="*/ 90496 h 676283"/>
                  <a:gd name="connsiteX9" fmla="*/ 138112 w 291273"/>
                  <a:gd name="connsiteY9" fmla="*/ 104783 h 676283"/>
                  <a:gd name="connsiteX10" fmla="*/ 150019 w 291273"/>
                  <a:gd name="connsiteY10" fmla="*/ 133358 h 676283"/>
                  <a:gd name="connsiteX11" fmla="*/ 154781 w 291273"/>
                  <a:gd name="connsiteY11" fmla="*/ 173839 h 676283"/>
                  <a:gd name="connsiteX12" fmla="*/ 152400 w 291273"/>
                  <a:gd name="connsiteY12" fmla="*/ 214321 h 676283"/>
                  <a:gd name="connsiteX13" fmla="*/ 147637 w 291273"/>
                  <a:gd name="connsiteY13" fmla="*/ 228608 h 676283"/>
                  <a:gd name="connsiteX14" fmla="*/ 145256 w 291273"/>
                  <a:gd name="connsiteY14" fmla="*/ 235752 h 676283"/>
                  <a:gd name="connsiteX15" fmla="*/ 140494 w 291273"/>
                  <a:gd name="connsiteY15" fmla="*/ 242896 h 676283"/>
                  <a:gd name="connsiteX16" fmla="*/ 135731 w 291273"/>
                  <a:gd name="connsiteY16" fmla="*/ 257183 h 676283"/>
                  <a:gd name="connsiteX17" fmla="*/ 128587 w 291273"/>
                  <a:gd name="connsiteY17" fmla="*/ 271471 h 676283"/>
                  <a:gd name="connsiteX18" fmla="*/ 121444 w 291273"/>
                  <a:gd name="connsiteY18" fmla="*/ 276233 h 676283"/>
                  <a:gd name="connsiteX19" fmla="*/ 119062 w 291273"/>
                  <a:gd name="connsiteY19" fmla="*/ 283377 h 676283"/>
                  <a:gd name="connsiteX20" fmla="*/ 109537 w 291273"/>
                  <a:gd name="connsiteY20" fmla="*/ 300046 h 676283"/>
                  <a:gd name="connsiteX21" fmla="*/ 97631 w 291273"/>
                  <a:gd name="connsiteY21" fmla="*/ 335764 h 676283"/>
                  <a:gd name="connsiteX22" fmla="*/ 95250 w 291273"/>
                  <a:gd name="connsiteY22" fmla="*/ 342908 h 676283"/>
                  <a:gd name="connsiteX23" fmla="*/ 92869 w 291273"/>
                  <a:gd name="connsiteY23" fmla="*/ 350052 h 676283"/>
                  <a:gd name="connsiteX24" fmla="*/ 88106 w 291273"/>
                  <a:gd name="connsiteY24" fmla="*/ 376246 h 676283"/>
                  <a:gd name="connsiteX25" fmla="*/ 90487 w 291273"/>
                  <a:gd name="connsiteY25" fmla="*/ 404821 h 676283"/>
                  <a:gd name="connsiteX26" fmla="*/ 90487 w 291273"/>
                  <a:gd name="connsiteY26" fmla="*/ 419108 h 676283"/>
                  <a:gd name="connsiteX27" fmla="*/ 69056 w 291273"/>
                  <a:gd name="connsiteY27" fmla="*/ 426252 h 676283"/>
                  <a:gd name="connsiteX28" fmla="*/ 61912 w 291273"/>
                  <a:gd name="connsiteY28" fmla="*/ 428633 h 676283"/>
                  <a:gd name="connsiteX29" fmla="*/ 50006 w 291273"/>
                  <a:gd name="connsiteY29" fmla="*/ 450064 h 676283"/>
                  <a:gd name="connsiteX30" fmla="*/ 42862 w 291273"/>
                  <a:gd name="connsiteY30" fmla="*/ 454827 h 676283"/>
                  <a:gd name="connsiteX31" fmla="*/ 7144 w 291273"/>
                  <a:gd name="connsiteY31" fmla="*/ 457208 h 676283"/>
                  <a:gd name="connsiteX32" fmla="*/ 0 w 291273"/>
                  <a:gd name="connsiteY32" fmla="*/ 471496 h 676283"/>
                  <a:gd name="connsiteX33" fmla="*/ 2381 w 291273"/>
                  <a:gd name="connsiteY33" fmla="*/ 485783 h 676283"/>
                  <a:gd name="connsiteX34" fmla="*/ 19050 w 291273"/>
                  <a:gd name="connsiteY34" fmla="*/ 507214 h 676283"/>
                  <a:gd name="connsiteX35" fmla="*/ 21431 w 291273"/>
                  <a:gd name="connsiteY35" fmla="*/ 514358 h 676283"/>
                  <a:gd name="connsiteX36" fmla="*/ 26194 w 291273"/>
                  <a:gd name="connsiteY36" fmla="*/ 521502 h 676283"/>
                  <a:gd name="connsiteX37" fmla="*/ 23812 w 291273"/>
                  <a:gd name="connsiteY37" fmla="*/ 554839 h 676283"/>
                  <a:gd name="connsiteX38" fmla="*/ 16669 w 291273"/>
                  <a:gd name="connsiteY38" fmla="*/ 578652 h 676283"/>
                  <a:gd name="connsiteX39" fmla="*/ 11906 w 291273"/>
                  <a:gd name="connsiteY39" fmla="*/ 597702 h 676283"/>
                  <a:gd name="connsiteX40" fmla="*/ 7144 w 291273"/>
                  <a:gd name="connsiteY40" fmla="*/ 623896 h 676283"/>
                  <a:gd name="connsiteX41" fmla="*/ 2381 w 291273"/>
                  <a:gd name="connsiteY41" fmla="*/ 638183 h 676283"/>
                  <a:gd name="connsiteX42" fmla="*/ 0 w 291273"/>
                  <a:gd name="connsiteY42" fmla="*/ 645327 h 676283"/>
                  <a:gd name="connsiteX43" fmla="*/ 2381 w 291273"/>
                  <a:gd name="connsiteY43" fmla="*/ 659614 h 676283"/>
                  <a:gd name="connsiteX44" fmla="*/ 9525 w 291273"/>
                  <a:gd name="connsiteY44" fmla="*/ 666758 h 676283"/>
                  <a:gd name="connsiteX45" fmla="*/ 16669 w 291273"/>
                  <a:gd name="connsiteY45" fmla="*/ 671521 h 676283"/>
                  <a:gd name="connsiteX46" fmla="*/ 33337 w 291273"/>
                  <a:gd name="connsiteY46" fmla="*/ 676283 h 676283"/>
                  <a:gd name="connsiteX47" fmla="*/ 64294 w 291273"/>
                  <a:gd name="connsiteY47" fmla="*/ 673902 h 676283"/>
                  <a:gd name="connsiteX48" fmla="*/ 71437 w 291273"/>
                  <a:gd name="connsiteY48" fmla="*/ 671521 h 676283"/>
                  <a:gd name="connsiteX49" fmla="*/ 95250 w 291273"/>
                  <a:gd name="connsiteY49" fmla="*/ 664377 h 676283"/>
                  <a:gd name="connsiteX50" fmla="*/ 102394 w 291273"/>
                  <a:gd name="connsiteY50" fmla="*/ 661996 h 676283"/>
                  <a:gd name="connsiteX51" fmla="*/ 123825 w 291273"/>
                  <a:gd name="connsiteY51" fmla="*/ 659614 h 676283"/>
                  <a:gd name="connsiteX52" fmla="*/ 140494 w 291273"/>
                  <a:gd name="connsiteY52" fmla="*/ 654852 h 676283"/>
                  <a:gd name="connsiteX53" fmla="*/ 147637 w 291273"/>
                  <a:gd name="connsiteY53" fmla="*/ 650089 h 676283"/>
                  <a:gd name="connsiteX54" fmla="*/ 154781 w 291273"/>
                  <a:gd name="connsiteY54" fmla="*/ 647708 h 676283"/>
                  <a:gd name="connsiteX55" fmla="*/ 164306 w 291273"/>
                  <a:gd name="connsiteY55" fmla="*/ 642946 h 676283"/>
                  <a:gd name="connsiteX56" fmla="*/ 171450 w 291273"/>
                  <a:gd name="connsiteY56" fmla="*/ 628658 h 676283"/>
                  <a:gd name="connsiteX57" fmla="*/ 173831 w 291273"/>
                  <a:gd name="connsiteY57" fmla="*/ 621514 h 676283"/>
                  <a:gd name="connsiteX58" fmla="*/ 180975 w 291273"/>
                  <a:gd name="connsiteY58" fmla="*/ 616752 h 676283"/>
                  <a:gd name="connsiteX59" fmla="*/ 185737 w 291273"/>
                  <a:gd name="connsiteY59" fmla="*/ 602464 h 676283"/>
                  <a:gd name="connsiteX60" fmla="*/ 188119 w 291273"/>
                  <a:gd name="connsiteY60" fmla="*/ 595321 h 676283"/>
                  <a:gd name="connsiteX61" fmla="*/ 192881 w 291273"/>
                  <a:gd name="connsiteY61" fmla="*/ 557221 h 676283"/>
                  <a:gd name="connsiteX62" fmla="*/ 195262 w 291273"/>
                  <a:gd name="connsiteY62" fmla="*/ 550077 h 676283"/>
                  <a:gd name="connsiteX63" fmla="*/ 200025 w 291273"/>
                  <a:gd name="connsiteY63" fmla="*/ 502452 h 676283"/>
                  <a:gd name="connsiteX64" fmla="*/ 204787 w 291273"/>
                  <a:gd name="connsiteY64" fmla="*/ 495308 h 676283"/>
                  <a:gd name="connsiteX65" fmla="*/ 219075 w 291273"/>
                  <a:gd name="connsiteY65" fmla="*/ 485783 h 676283"/>
                  <a:gd name="connsiteX66" fmla="*/ 250031 w 291273"/>
                  <a:gd name="connsiteY66" fmla="*/ 481021 h 676283"/>
                  <a:gd name="connsiteX67" fmla="*/ 264319 w 291273"/>
                  <a:gd name="connsiteY67" fmla="*/ 476258 h 676283"/>
                  <a:gd name="connsiteX68" fmla="*/ 271462 w 291273"/>
                  <a:gd name="connsiteY68" fmla="*/ 473877 h 676283"/>
                  <a:gd name="connsiteX69" fmla="*/ 278606 w 291273"/>
                  <a:gd name="connsiteY69" fmla="*/ 466733 h 676283"/>
                  <a:gd name="connsiteX70" fmla="*/ 288131 w 291273"/>
                  <a:gd name="connsiteY70" fmla="*/ 452446 h 676283"/>
                  <a:gd name="connsiteX71" fmla="*/ 288131 w 291273"/>
                  <a:gd name="connsiteY71" fmla="*/ 416727 h 676283"/>
                  <a:gd name="connsiteX72" fmla="*/ 283369 w 291273"/>
                  <a:gd name="connsiteY72" fmla="*/ 378627 h 676283"/>
                  <a:gd name="connsiteX73" fmla="*/ 276225 w 291273"/>
                  <a:gd name="connsiteY73" fmla="*/ 364339 h 676283"/>
                  <a:gd name="connsiteX74" fmla="*/ 269081 w 291273"/>
                  <a:gd name="connsiteY74" fmla="*/ 350052 h 676283"/>
                  <a:gd name="connsiteX75" fmla="*/ 269081 w 291273"/>
                  <a:gd name="connsiteY75" fmla="*/ 285758 h 676283"/>
                  <a:gd name="connsiteX76" fmla="*/ 271462 w 291273"/>
                  <a:gd name="connsiteY76" fmla="*/ 269089 h 676283"/>
                  <a:gd name="connsiteX77" fmla="*/ 278606 w 291273"/>
                  <a:gd name="connsiteY77" fmla="*/ 247658 h 676283"/>
                  <a:gd name="connsiteX78" fmla="*/ 280987 w 291273"/>
                  <a:gd name="connsiteY78" fmla="*/ 240514 h 676283"/>
                  <a:gd name="connsiteX79" fmla="*/ 283369 w 291273"/>
                  <a:gd name="connsiteY79" fmla="*/ 233371 h 676283"/>
                  <a:gd name="connsiteX80" fmla="*/ 280987 w 291273"/>
                  <a:gd name="connsiteY80" fmla="*/ 211939 h 676283"/>
                  <a:gd name="connsiteX81" fmla="*/ 269081 w 291273"/>
                  <a:gd name="connsiteY81" fmla="*/ 202414 h 676283"/>
                  <a:gd name="connsiteX82" fmla="*/ 259556 w 291273"/>
                  <a:gd name="connsiteY82" fmla="*/ 200033 h 676283"/>
                  <a:gd name="connsiteX83" fmla="*/ 247650 w 291273"/>
                  <a:gd name="connsiteY83" fmla="*/ 185746 h 676283"/>
                  <a:gd name="connsiteX84" fmla="*/ 245269 w 291273"/>
                  <a:gd name="connsiteY84" fmla="*/ 178602 h 676283"/>
                  <a:gd name="connsiteX85" fmla="*/ 235744 w 291273"/>
                  <a:gd name="connsiteY85" fmla="*/ 164314 h 676283"/>
                  <a:gd name="connsiteX86" fmla="*/ 226219 w 291273"/>
                  <a:gd name="connsiteY86" fmla="*/ 147646 h 676283"/>
                  <a:gd name="connsiteX87" fmla="*/ 221456 w 291273"/>
                  <a:gd name="connsiteY87" fmla="*/ 114308 h 676283"/>
                  <a:gd name="connsiteX88" fmla="*/ 219075 w 291273"/>
                  <a:gd name="connsiteY88" fmla="*/ 107164 h 676283"/>
                  <a:gd name="connsiteX89" fmla="*/ 211931 w 291273"/>
                  <a:gd name="connsiteY89" fmla="*/ 100021 h 676283"/>
                  <a:gd name="connsiteX90" fmla="*/ 207169 w 291273"/>
                  <a:gd name="connsiteY90" fmla="*/ 52396 h 676283"/>
                  <a:gd name="connsiteX91" fmla="*/ 202406 w 291273"/>
                  <a:gd name="connsiteY91" fmla="*/ 16677 h 676283"/>
                  <a:gd name="connsiteX92" fmla="*/ 202406 w 291273"/>
                  <a:gd name="connsiteY92" fmla="*/ 8 h 676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91273" h="676283">
                    <a:moveTo>
                      <a:pt x="202406" y="8"/>
                    </a:moveTo>
                    <a:cubicBezTo>
                      <a:pt x="200819" y="405"/>
                      <a:pt x="197638" y="14301"/>
                      <a:pt x="192881" y="19058"/>
                    </a:cubicBezTo>
                    <a:cubicBezTo>
                      <a:pt x="190857" y="21082"/>
                      <a:pt x="188297" y="22541"/>
                      <a:pt x="185737" y="23821"/>
                    </a:cubicBezTo>
                    <a:cubicBezTo>
                      <a:pt x="183492" y="24943"/>
                      <a:pt x="180975" y="25408"/>
                      <a:pt x="178594" y="26202"/>
                    </a:cubicBezTo>
                    <a:cubicBezTo>
                      <a:pt x="169902" y="52269"/>
                      <a:pt x="183765" y="12780"/>
                      <a:pt x="171450" y="40489"/>
                    </a:cubicBezTo>
                    <a:cubicBezTo>
                      <a:pt x="169411" y="45077"/>
                      <a:pt x="168275" y="50014"/>
                      <a:pt x="166687" y="54777"/>
                    </a:cubicBezTo>
                    <a:cubicBezTo>
                      <a:pt x="165893" y="57158"/>
                      <a:pt x="165698" y="59832"/>
                      <a:pt x="164306" y="61921"/>
                    </a:cubicBezTo>
                    <a:cubicBezTo>
                      <a:pt x="147287" y="87449"/>
                      <a:pt x="173793" y="48702"/>
                      <a:pt x="152400" y="76208"/>
                    </a:cubicBezTo>
                    <a:cubicBezTo>
                      <a:pt x="148886" y="80726"/>
                      <a:pt x="144685" y="85066"/>
                      <a:pt x="142875" y="90496"/>
                    </a:cubicBezTo>
                    <a:lnTo>
                      <a:pt x="138112" y="104783"/>
                    </a:lnTo>
                    <a:cubicBezTo>
                      <a:pt x="146161" y="128929"/>
                      <a:pt x="141079" y="119949"/>
                      <a:pt x="150019" y="133358"/>
                    </a:cubicBezTo>
                    <a:cubicBezTo>
                      <a:pt x="155346" y="149341"/>
                      <a:pt x="154781" y="145679"/>
                      <a:pt x="154781" y="173839"/>
                    </a:cubicBezTo>
                    <a:cubicBezTo>
                      <a:pt x="154781" y="187356"/>
                      <a:pt x="154148" y="200917"/>
                      <a:pt x="152400" y="214321"/>
                    </a:cubicBezTo>
                    <a:cubicBezTo>
                      <a:pt x="151751" y="219299"/>
                      <a:pt x="149225" y="223846"/>
                      <a:pt x="147637" y="228608"/>
                    </a:cubicBezTo>
                    <a:cubicBezTo>
                      <a:pt x="146843" y="230989"/>
                      <a:pt x="146648" y="233663"/>
                      <a:pt x="145256" y="235752"/>
                    </a:cubicBezTo>
                    <a:cubicBezTo>
                      <a:pt x="143669" y="238133"/>
                      <a:pt x="141656" y="240281"/>
                      <a:pt x="140494" y="242896"/>
                    </a:cubicBezTo>
                    <a:cubicBezTo>
                      <a:pt x="138455" y="247483"/>
                      <a:pt x="137319" y="252421"/>
                      <a:pt x="135731" y="257183"/>
                    </a:cubicBezTo>
                    <a:cubicBezTo>
                      <a:pt x="133794" y="262995"/>
                      <a:pt x="133205" y="266853"/>
                      <a:pt x="128587" y="271471"/>
                    </a:cubicBezTo>
                    <a:cubicBezTo>
                      <a:pt x="126564" y="273494"/>
                      <a:pt x="123825" y="274646"/>
                      <a:pt x="121444" y="276233"/>
                    </a:cubicBezTo>
                    <a:cubicBezTo>
                      <a:pt x="120650" y="278614"/>
                      <a:pt x="120051" y="281070"/>
                      <a:pt x="119062" y="283377"/>
                    </a:cubicBezTo>
                    <a:cubicBezTo>
                      <a:pt x="115435" y="291840"/>
                      <a:pt x="114322" y="292869"/>
                      <a:pt x="109537" y="300046"/>
                    </a:cubicBezTo>
                    <a:lnTo>
                      <a:pt x="97631" y="335764"/>
                    </a:lnTo>
                    <a:lnTo>
                      <a:pt x="95250" y="342908"/>
                    </a:lnTo>
                    <a:cubicBezTo>
                      <a:pt x="94456" y="345289"/>
                      <a:pt x="93361" y="347591"/>
                      <a:pt x="92869" y="350052"/>
                    </a:cubicBezTo>
                    <a:cubicBezTo>
                      <a:pt x="89540" y="366693"/>
                      <a:pt x="91152" y="357966"/>
                      <a:pt x="88106" y="376246"/>
                    </a:cubicBezTo>
                    <a:cubicBezTo>
                      <a:pt x="88900" y="385771"/>
                      <a:pt x="89224" y="395347"/>
                      <a:pt x="90487" y="404821"/>
                    </a:cubicBezTo>
                    <a:cubicBezTo>
                      <a:pt x="91039" y="408964"/>
                      <a:pt x="96287" y="414965"/>
                      <a:pt x="90487" y="419108"/>
                    </a:cubicBezTo>
                    <a:cubicBezTo>
                      <a:pt x="90483" y="419111"/>
                      <a:pt x="72630" y="425061"/>
                      <a:pt x="69056" y="426252"/>
                    </a:cubicBezTo>
                    <a:lnTo>
                      <a:pt x="61912" y="428633"/>
                    </a:lnTo>
                    <a:cubicBezTo>
                      <a:pt x="57311" y="442439"/>
                      <a:pt x="59878" y="441838"/>
                      <a:pt x="50006" y="450064"/>
                    </a:cubicBezTo>
                    <a:cubicBezTo>
                      <a:pt x="47807" y="451896"/>
                      <a:pt x="45685" y="454356"/>
                      <a:pt x="42862" y="454827"/>
                    </a:cubicBezTo>
                    <a:cubicBezTo>
                      <a:pt x="31092" y="456789"/>
                      <a:pt x="19050" y="456414"/>
                      <a:pt x="7144" y="457208"/>
                    </a:cubicBezTo>
                    <a:cubicBezTo>
                      <a:pt x="4735" y="460821"/>
                      <a:pt x="0" y="466565"/>
                      <a:pt x="0" y="471496"/>
                    </a:cubicBezTo>
                    <a:cubicBezTo>
                      <a:pt x="0" y="476324"/>
                      <a:pt x="524" y="481326"/>
                      <a:pt x="2381" y="485783"/>
                    </a:cubicBezTo>
                    <a:cubicBezTo>
                      <a:pt x="6451" y="495551"/>
                      <a:pt x="12166" y="500331"/>
                      <a:pt x="19050" y="507214"/>
                    </a:cubicBezTo>
                    <a:cubicBezTo>
                      <a:pt x="19844" y="509595"/>
                      <a:pt x="20308" y="512113"/>
                      <a:pt x="21431" y="514358"/>
                    </a:cubicBezTo>
                    <a:cubicBezTo>
                      <a:pt x="22711" y="516918"/>
                      <a:pt x="26026" y="518645"/>
                      <a:pt x="26194" y="521502"/>
                    </a:cubicBezTo>
                    <a:cubicBezTo>
                      <a:pt x="26848" y="532623"/>
                      <a:pt x="25042" y="543766"/>
                      <a:pt x="23812" y="554839"/>
                    </a:cubicBezTo>
                    <a:cubicBezTo>
                      <a:pt x="23212" y="560237"/>
                      <a:pt x="17866" y="575061"/>
                      <a:pt x="16669" y="578652"/>
                    </a:cubicBezTo>
                    <a:cubicBezTo>
                      <a:pt x="13600" y="587860"/>
                      <a:pt x="13823" y="586198"/>
                      <a:pt x="11906" y="597702"/>
                    </a:cubicBezTo>
                    <a:cubicBezTo>
                      <a:pt x="9601" y="611531"/>
                      <a:pt x="10572" y="612471"/>
                      <a:pt x="7144" y="623896"/>
                    </a:cubicBezTo>
                    <a:cubicBezTo>
                      <a:pt x="5701" y="628704"/>
                      <a:pt x="3969" y="633421"/>
                      <a:pt x="2381" y="638183"/>
                    </a:cubicBezTo>
                    <a:lnTo>
                      <a:pt x="0" y="645327"/>
                    </a:lnTo>
                    <a:cubicBezTo>
                      <a:pt x="794" y="650089"/>
                      <a:pt x="420" y="655202"/>
                      <a:pt x="2381" y="659614"/>
                    </a:cubicBezTo>
                    <a:cubicBezTo>
                      <a:pt x="3749" y="662691"/>
                      <a:pt x="6938" y="664602"/>
                      <a:pt x="9525" y="666758"/>
                    </a:cubicBezTo>
                    <a:cubicBezTo>
                      <a:pt x="11724" y="668590"/>
                      <a:pt x="14109" y="670241"/>
                      <a:pt x="16669" y="671521"/>
                    </a:cubicBezTo>
                    <a:cubicBezTo>
                      <a:pt x="20085" y="673229"/>
                      <a:pt x="30285" y="675520"/>
                      <a:pt x="33337" y="676283"/>
                    </a:cubicBezTo>
                    <a:cubicBezTo>
                      <a:pt x="43656" y="675489"/>
                      <a:pt x="54024" y="675186"/>
                      <a:pt x="64294" y="673902"/>
                    </a:cubicBezTo>
                    <a:cubicBezTo>
                      <a:pt x="66784" y="673591"/>
                      <a:pt x="69024" y="672211"/>
                      <a:pt x="71437" y="671521"/>
                    </a:cubicBezTo>
                    <a:cubicBezTo>
                      <a:pt x="96638" y="664320"/>
                      <a:pt x="61282" y="675698"/>
                      <a:pt x="95250" y="664377"/>
                    </a:cubicBezTo>
                    <a:cubicBezTo>
                      <a:pt x="97631" y="663583"/>
                      <a:pt x="99899" y="662273"/>
                      <a:pt x="102394" y="661996"/>
                    </a:cubicBezTo>
                    <a:lnTo>
                      <a:pt x="123825" y="659614"/>
                    </a:lnTo>
                    <a:cubicBezTo>
                      <a:pt x="126875" y="658852"/>
                      <a:pt x="137079" y="656559"/>
                      <a:pt x="140494" y="654852"/>
                    </a:cubicBezTo>
                    <a:cubicBezTo>
                      <a:pt x="143054" y="653572"/>
                      <a:pt x="145077" y="651369"/>
                      <a:pt x="147637" y="650089"/>
                    </a:cubicBezTo>
                    <a:cubicBezTo>
                      <a:pt x="149882" y="648966"/>
                      <a:pt x="152474" y="648697"/>
                      <a:pt x="154781" y="647708"/>
                    </a:cubicBezTo>
                    <a:cubicBezTo>
                      <a:pt x="158044" y="646310"/>
                      <a:pt x="161131" y="644533"/>
                      <a:pt x="164306" y="642946"/>
                    </a:cubicBezTo>
                    <a:cubicBezTo>
                      <a:pt x="170291" y="624990"/>
                      <a:pt x="162218" y="647123"/>
                      <a:pt x="171450" y="628658"/>
                    </a:cubicBezTo>
                    <a:cubicBezTo>
                      <a:pt x="172573" y="626413"/>
                      <a:pt x="172263" y="623474"/>
                      <a:pt x="173831" y="621514"/>
                    </a:cubicBezTo>
                    <a:cubicBezTo>
                      <a:pt x="175619" y="619279"/>
                      <a:pt x="178594" y="618339"/>
                      <a:pt x="180975" y="616752"/>
                    </a:cubicBezTo>
                    <a:lnTo>
                      <a:pt x="185737" y="602464"/>
                    </a:lnTo>
                    <a:lnTo>
                      <a:pt x="188119" y="595321"/>
                    </a:lnTo>
                    <a:cubicBezTo>
                      <a:pt x="189317" y="583342"/>
                      <a:pt x="190195" y="569307"/>
                      <a:pt x="192881" y="557221"/>
                    </a:cubicBezTo>
                    <a:cubicBezTo>
                      <a:pt x="193425" y="554771"/>
                      <a:pt x="194468" y="552458"/>
                      <a:pt x="195262" y="550077"/>
                    </a:cubicBezTo>
                    <a:cubicBezTo>
                      <a:pt x="195401" y="547714"/>
                      <a:pt x="193814" y="514876"/>
                      <a:pt x="200025" y="502452"/>
                    </a:cubicBezTo>
                    <a:cubicBezTo>
                      <a:pt x="201305" y="499892"/>
                      <a:pt x="202633" y="497193"/>
                      <a:pt x="204787" y="495308"/>
                    </a:cubicBezTo>
                    <a:cubicBezTo>
                      <a:pt x="209095" y="491539"/>
                      <a:pt x="213395" y="486493"/>
                      <a:pt x="219075" y="485783"/>
                    </a:cubicBezTo>
                    <a:cubicBezTo>
                      <a:pt x="227986" y="484669"/>
                      <a:pt x="240802" y="483538"/>
                      <a:pt x="250031" y="481021"/>
                    </a:cubicBezTo>
                    <a:cubicBezTo>
                      <a:pt x="254874" y="479700"/>
                      <a:pt x="259556" y="477846"/>
                      <a:pt x="264319" y="476258"/>
                    </a:cubicBezTo>
                    <a:lnTo>
                      <a:pt x="271462" y="473877"/>
                    </a:lnTo>
                    <a:cubicBezTo>
                      <a:pt x="273843" y="471496"/>
                      <a:pt x="276538" y="469391"/>
                      <a:pt x="278606" y="466733"/>
                    </a:cubicBezTo>
                    <a:cubicBezTo>
                      <a:pt x="282120" y="462215"/>
                      <a:pt x="288131" y="452446"/>
                      <a:pt x="288131" y="452446"/>
                    </a:cubicBezTo>
                    <a:cubicBezTo>
                      <a:pt x="293459" y="436461"/>
                      <a:pt x="291008" y="446940"/>
                      <a:pt x="288131" y="416727"/>
                    </a:cubicBezTo>
                    <a:cubicBezTo>
                      <a:pt x="287531" y="410428"/>
                      <a:pt x="284892" y="386239"/>
                      <a:pt x="283369" y="378627"/>
                    </a:cubicBezTo>
                    <a:cubicBezTo>
                      <a:pt x="281374" y="368655"/>
                      <a:pt x="280906" y="373701"/>
                      <a:pt x="276225" y="364339"/>
                    </a:cubicBezTo>
                    <a:cubicBezTo>
                      <a:pt x="266371" y="344630"/>
                      <a:pt x="282726" y="370518"/>
                      <a:pt x="269081" y="350052"/>
                    </a:cubicBezTo>
                    <a:cubicBezTo>
                      <a:pt x="262459" y="323560"/>
                      <a:pt x="265495" y="339547"/>
                      <a:pt x="269081" y="285758"/>
                    </a:cubicBezTo>
                    <a:cubicBezTo>
                      <a:pt x="269454" y="280158"/>
                      <a:pt x="270101" y="274534"/>
                      <a:pt x="271462" y="269089"/>
                    </a:cubicBezTo>
                    <a:cubicBezTo>
                      <a:pt x="273288" y="261784"/>
                      <a:pt x="276225" y="254802"/>
                      <a:pt x="278606" y="247658"/>
                    </a:cubicBezTo>
                    <a:lnTo>
                      <a:pt x="280987" y="240514"/>
                    </a:lnTo>
                    <a:lnTo>
                      <a:pt x="283369" y="233371"/>
                    </a:lnTo>
                    <a:cubicBezTo>
                      <a:pt x="282575" y="226227"/>
                      <a:pt x="282730" y="218912"/>
                      <a:pt x="280987" y="211939"/>
                    </a:cubicBezTo>
                    <a:cubicBezTo>
                      <a:pt x="279119" y="204468"/>
                      <a:pt x="275179" y="204157"/>
                      <a:pt x="269081" y="202414"/>
                    </a:cubicBezTo>
                    <a:cubicBezTo>
                      <a:pt x="265934" y="201515"/>
                      <a:pt x="262731" y="200827"/>
                      <a:pt x="259556" y="200033"/>
                    </a:cubicBezTo>
                    <a:cubicBezTo>
                      <a:pt x="254290" y="194767"/>
                      <a:pt x="250965" y="192376"/>
                      <a:pt x="247650" y="185746"/>
                    </a:cubicBezTo>
                    <a:cubicBezTo>
                      <a:pt x="246528" y="183501"/>
                      <a:pt x="246488" y="180796"/>
                      <a:pt x="245269" y="178602"/>
                    </a:cubicBezTo>
                    <a:cubicBezTo>
                      <a:pt x="242489" y="173598"/>
                      <a:pt x="237555" y="169744"/>
                      <a:pt x="235744" y="164314"/>
                    </a:cubicBezTo>
                    <a:cubicBezTo>
                      <a:pt x="232107" y="153406"/>
                      <a:pt x="234868" y="159179"/>
                      <a:pt x="226219" y="147646"/>
                    </a:cubicBezTo>
                    <a:cubicBezTo>
                      <a:pt x="224737" y="134313"/>
                      <a:pt x="224488" y="126437"/>
                      <a:pt x="221456" y="114308"/>
                    </a:cubicBezTo>
                    <a:cubicBezTo>
                      <a:pt x="220847" y="111873"/>
                      <a:pt x="220467" y="109253"/>
                      <a:pt x="219075" y="107164"/>
                    </a:cubicBezTo>
                    <a:cubicBezTo>
                      <a:pt x="217207" y="104362"/>
                      <a:pt x="214312" y="102402"/>
                      <a:pt x="211931" y="100021"/>
                    </a:cubicBezTo>
                    <a:cubicBezTo>
                      <a:pt x="205053" y="79386"/>
                      <a:pt x="210896" y="98979"/>
                      <a:pt x="207169" y="52396"/>
                    </a:cubicBezTo>
                    <a:cubicBezTo>
                      <a:pt x="203335" y="4478"/>
                      <a:pt x="206355" y="60116"/>
                      <a:pt x="202406" y="16677"/>
                    </a:cubicBezTo>
                    <a:cubicBezTo>
                      <a:pt x="202119" y="13515"/>
                      <a:pt x="203993" y="-389"/>
                      <a:pt x="202406" y="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5" name="Freeform 244"/>
              <p:cNvSpPr/>
              <p:nvPr/>
            </p:nvSpPr>
            <p:spPr>
              <a:xfrm>
                <a:off x="6423531" y="2801030"/>
                <a:ext cx="959169" cy="1137690"/>
              </a:xfrm>
              <a:custGeom>
                <a:avLst/>
                <a:gdLst>
                  <a:gd name="connsiteX0" fmla="*/ 6524 w 959169"/>
                  <a:gd name="connsiteY0" fmla="*/ 538162 h 1137690"/>
                  <a:gd name="connsiteX1" fmla="*/ 18430 w 959169"/>
                  <a:gd name="connsiteY1" fmla="*/ 531018 h 1137690"/>
                  <a:gd name="connsiteX2" fmla="*/ 20811 w 959169"/>
                  <a:gd name="connsiteY2" fmla="*/ 523875 h 1137690"/>
                  <a:gd name="connsiteX3" fmla="*/ 30336 w 959169"/>
                  <a:gd name="connsiteY3" fmla="*/ 509587 h 1137690"/>
                  <a:gd name="connsiteX4" fmla="*/ 42242 w 959169"/>
                  <a:gd name="connsiteY4" fmla="*/ 488156 h 1137690"/>
                  <a:gd name="connsiteX5" fmla="*/ 49386 w 959169"/>
                  <a:gd name="connsiteY5" fmla="*/ 483393 h 1137690"/>
                  <a:gd name="connsiteX6" fmla="*/ 56530 w 959169"/>
                  <a:gd name="connsiteY6" fmla="*/ 469106 h 1137690"/>
                  <a:gd name="connsiteX7" fmla="*/ 63674 w 959169"/>
                  <a:gd name="connsiteY7" fmla="*/ 454818 h 1137690"/>
                  <a:gd name="connsiteX8" fmla="*/ 68436 w 959169"/>
                  <a:gd name="connsiteY8" fmla="*/ 438150 h 1137690"/>
                  <a:gd name="connsiteX9" fmla="*/ 61292 w 959169"/>
                  <a:gd name="connsiteY9" fmla="*/ 361950 h 1137690"/>
                  <a:gd name="connsiteX10" fmla="*/ 54149 w 959169"/>
                  <a:gd name="connsiteY10" fmla="*/ 345281 h 1137690"/>
                  <a:gd name="connsiteX11" fmla="*/ 51767 w 959169"/>
                  <a:gd name="connsiteY11" fmla="*/ 338137 h 1137690"/>
                  <a:gd name="connsiteX12" fmla="*/ 54149 w 959169"/>
                  <a:gd name="connsiteY12" fmla="*/ 311943 h 1137690"/>
                  <a:gd name="connsiteX13" fmla="*/ 56530 w 959169"/>
                  <a:gd name="connsiteY13" fmla="*/ 304800 h 1137690"/>
                  <a:gd name="connsiteX14" fmla="*/ 58911 w 959169"/>
                  <a:gd name="connsiteY14" fmla="*/ 292893 h 1137690"/>
                  <a:gd name="connsiteX15" fmla="*/ 61292 w 959169"/>
                  <a:gd name="connsiteY15" fmla="*/ 261937 h 1137690"/>
                  <a:gd name="connsiteX16" fmla="*/ 63674 w 959169"/>
                  <a:gd name="connsiteY16" fmla="*/ 254793 h 1137690"/>
                  <a:gd name="connsiteX17" fmla="*/ 70817 w 959169"/>
                  <a:gd name="connsiteY17" fmla="*/ 230981 h 1137690"/>
                  <a:gd name="connsiteX18" fmla="*/ 75580 w 959169"/>
                  <a:gd name="connsiteY18" fmla="*/ 223837 h 1137690"/>
                  <a:gd name="connsiteX19" fmla="*/ 77961 w 959169"/>
                  <a:gd name="connsiteY19" fmla="*/ 216693 h 1137690"/>
                  <a:gd name="connsiteX20" fmla="*/ 85105 w 959169"/>
                  <a:gd name="connsiteY20" fmla="*/ 214312 h 1137690"/>
                  <a:gd name="connsiteX21" fmla="*/ 111299 w 959169"/>
                  <a:gd name="connsiteY21" fmla="*/ 211931 h 1137690"/>
                  <a:gd name="connsiteX22" fmla="*/ 118442 w 959169"/>
                  <a:gd name="connsiteY22" fmla="*/ 207168 h 1137690"/>
                  <a:gd name="connsiteX23" fmla="*/ 123205 w 959169"/>
                  <a:gd name="connsiteY23" fmla="*/ 192881 h 1137690"/>
                  <a:gd name="connsiteX24" fmla="*/ 125586 w 959169"/>
                  <a:gd name="connsiteY24" fmla="*/ 169068 h 1137690"/>
                  <a:gd name="connsiteX25" fmla="*/ 154161 w 959169"/>
                  <a:gd name="connsiteY25" fmla="*/ 159543 h 1137690"/>
                  <a:gd name="connsiteX26" fmla="*/ 168449 w 959169"/>
                  <a:gd name="connsiteY26" fmla="*/ 152400 h 1137690"/>
                  <a:gd name="connsiteX27" fmla="*/ 173211 w 959169"/>
                  <a:gd name="connsiteY27" fmla="*/ 138112 h 1137690"/>
                  <a:gd name="connsiteX28" fmla="*/ 177974 w 959169"/>
                  <a:gd name="connsiteY28" fmla="*/ 119062 h 1137690"/>
                  <a:gd name="connsiteX29" fmla="*/ 182736 w 959169"/>
                  <a:gd name="connsiteY29" fmla="*/ 102393 h 1137690"/>
                  <a:gd name="connsiteX30" fmla="*/ 187499 w 959169"/>
                  <a:gd name="connsiteY30" fmla="*/ 95250 h 1137690"/>
                  <a:gd name="connsiteX31" fmla="*/ 197024 w 959169"/>
                  <a:gd name="connsiteY31" fmla="*/ 90487 h 1137690"/>
                  <a:gd name="connsiteX32" fmla="*/ 204167 w 959169"/>
                  <a:gd name="connsiteY32" fmla="*/ 116681 h 1137690"/>
                  <a:gd name="connsiteX33" fmla="*/ 206549 w 959169"/>
                  <a:gd name="connsiteY33" fmla="*/ 123825 h 1137690"/>
                  <a:gd name="connsiteX34" fmla="*/ 218455 w 959169"/>
                  <a:gd name="connsiteY34" fmla="*/ 138112 h 1137690"/>
                  <a:gd name="connsiteX35" fmla="*/ 220836 w 959169"/>
                  <a:gd name="connsiteY35" fmla="*/ 145256 h 1137690"/>
                  <a:gd name="connsiteX36" fmla="*/ 235124 w 959169"/>
                  <a:gd name="connsiteY36" fmla="*/ 150018 h 1137690"/>
                  <a:gd name="connsiteX37" fmla="*/ 249411 w 959169"/>
                  <a:gd name="connsiteY37" fmla="*/ 147637 h 1137690"/>
                  <a:gd name="connsiteX38" fmla="*/ 263699 w 959169"/>
                  <a:gd name="connsiteY38" fmla="*/ 135731 h 1137690"/>
                  <a:gd name="connsiteX39" fmla="*/ 268461 w 959169"/>
                  <a:gd name="connsiteY39" fmla="*/ 121443 h 1137690"/>
                  <a:gd name="connsiteX40" fmla="*/ 270842 w 959169"/>
                  <a:gd name="connsiteY40" fmla="*/ 114300 h 1137690"/>
                  <a:gd name="connsiteX41" fmla="*/ 277986 w 959169"/>
                  <a:gd name="connsiteY41" fmla="*/ 107156 h 1137690"/>
                  <a:gd name="connsiteX42" fmla="*/ 282749 w 959169"/>
                  <a:gd name="connsiteY42" fmla="*/ 100012 h 1137690"/>
                  <a:gd name="connsiteX43" fmla="*/ 289892 w 959169"/>
                  <a:gd name="connsiteY43" fmla="*/ 95250 h 1137690"/>
                  <a:gd name="connsiteX44" fmla="*/ 294655 w 959169"/>
                  <a:gd name="connsiteY44" fmla="*/ 88106 h 1137690"/>
                  <a:gd name="connsiteX45" fmla="*/ 306561 w 959169"/>
                  <a:gd name="connsiteY45" fmla="*/ 76200 h 1137690"/>
                  <a:gd name="connsiteX46" fmla="*/ 311324 w 959169"/>
                  <a:gd name="connsiteY46" fmla="*/ 61912 h 1137690"/>
                  <a:gd name="connsiteX47" fmla="*/ 320849 w 959169"/>
                  <a:gd name="connsiteY47" fmla="*/ 30956 h 1137690"/>
                  <a:gd name="connsiteX48" fmla="*/ 325611 w 959169"/>
                  <a:gd name="connsiteY48" fmla="*/ 16668 h 1137690"/>
                  <a:gd name="connsiteX49" fmla="*/ 332755 w 959169"/>
                  <a:gd name="connsiteY49" fmla="*/ 9525 h 1137690"/>
                  <a:gd name="connsiteX50" fmla="*/ 347042 w 959169"/>
                  <a:gd name="connsiteY50" fmla="*/ 4762 h 1137690"/>
                  <a:gd name="connsiteX51" fmla="*/ 363711 w 959169"/>
                  <a:gd name="connsiteY51" fmla="*/ 0 h 1137690"/>
                  <a:gd name="connsiteX52" fmla="*/ 389905 w 959169"/>
                  <a:gd name="connsiteY52" fmla="*/ 2381 h 1137690"/>
                  <a:gd name="connsiteX53" fmla="*/ 404192 w 959169"/>
                  <a:gd name="connsiteY53" fmla="*/ 11906 h 1137690"/>
                  <a:gd name="connsiteX54" fmla="*/ 420861 w 959169"/>
                  <a:gd name="connsiteY54" fmla="*/ 23812 h 1137690"/>
                  <a:gd name="connsiteX55" fmla="*/ 468486 w 959169"/>
                  <a:gd name="connsiteY55" fmla="*/ 28575 h 1137690"/>
                  <a:gd name="connsiteX56" fmla="*/ 480392 w 959169"/>
                  <a:gd name="connsiteY56" fmla="*/ 42862 h 1137690"/>
                  <a:gd name="connsiteX57" fmla="*/ 489917 w 959169"/>
                  <a:gd name="connsiteY57" fmla="*/ 69056 h 1137690"/>
                  <a:gd name="connsiteX58" fmla="*/ 532780 w 959169"/>
                  <a:gd name="connsiteY58" fmla="*/ 69056 h 1137690"/>
                  <a:gd name="connsiteX59" fmla="*/ 566117 w 959169"/>
                  <a:gd name="connsiteY59" fmla="*/ 73818 h 1137690"/>
                  <a:gd name="connsiteX60" fmla="*/ 589930 w 959169"/>
                  <a:gd name="connsiteY60" fmla="*/ 80962 h 1137690"/>
                  <a:gd name="connsiteX61" fmla="*/ 625649 w 959169"/>
                  <a:gd name="connsiteY61" fmla="*/ 83343 h 1137690"/>
                  <a:gd name="connsiteX62" fmla="*/ 632792 w 959169"/>
                  <a:gd name="connsiteY62" fmla="*/ 85725 h 1137690"/>
                  <a:gd name="connsiteX63" fmla="*/ 639936 w 959169"/>
                  <a:gd name="connsiteY63" fmla="*/ 90487 h 1137690"/>
                  <a:gd name="connsiteX64" fmla="*/ 649461 w 959169"/>
                  <a:gd name="connsiteY64" fmla="*/ 92868 h 1137690"/>
                  <a:gd name="connsiteX65" fmla="*/ 656605 w 959169"/>
                  <a:gd name="connsiteY65" fmla="*/ 95250 h 1137690"/>
                  <a:gd name="connsiteX66" fmla="*/ 654224 w 959169"/>
                  <a:gd name="connsiteY66" fmla="*/ 109537 h 1137690"/>
                  <a:gd name="connsiteX67" fmla="*/ 647080 w 959169"/>
                  <a:gd name="connsiteY67" fmla="*/ 114300 h 1137690"/>
                  <a:gd name="connsiteX68" fmla="*/ 639936 w 959169"/>
                  <a:gd name="connsiteY68" fmla="*/ 116681 h 1137690"/>
                  <a:gd name="connsiteX69" fmla="*/ 623267 w 959169"/>
                  <a:gd name="connsiteY69" fmla="*/ 123825 h 1137690"/>
                  <a:gd name="connsiteX70" fmla="*/ 539924 w 959169"/>
                  <a:gd name="connsiteY70" fmla="*/ 119062 h 1137690"/>
                  <a:gd name="connsiteX71" fmla="*/ 501824 w 959169"/>
                  <a:gd name="connsiteY71" fmla="*/ 116681 h 1137690"/>
                  <a:gd name="connsiteX72" fmla="*/ 432767 w 959169"/>
                  <a:gd name="connsiteY72" fmla="*/ 116681 h 1137690"/>
                  <a:gd name="connsiteX73" fmla="*/ 425624 w 959169"/>
                  <a:gd name="connsiteY73" fmla="*/ 119062 h 1137690"/>
                  <a:gd name="connsiteX74" fmla="*/ 411336 w 959169"/>
                  <a:gd name="connsiteY74" fmla="*/ 121443 h 1137690"/>
                  <a:gd name="connsiteX75" fmla="*/ 394667 w 959169"/>
                  <a:gd name="connsiteY75" fmla="*/ 126206 h 1137690"/>
                  <a:gd name="connsiteX76" fmla="*/ 389905 w 959169"/>
                  <a:gd name="connsiteY76" fmla="*/ 133350 h 1137690"/>
                  <a:gd name="connsiteX77" fmla="*/ 382761 w 959169"/>
                  <a:gd name="connsiteY77" fmla="*/ 138112 h 1137690"/>
                  <a:gd name="connsiteX78" fmla="*/ 377999 w 959169"/>
                  <a:gd name="connsiteY78" fmla="*/ 152400 h 1137690"/>
                  <a:gd name="connsiteX79" fmla="*/ 382761 w 959169"/>
                  <a:gd name="connsiteY79" fmla="*/ 164306 h 1137690"/>
                  <a:gd name="connsiteX80" fmla="*/ 385142 w 959169"/>
                  <a:gd name="connsiteY80" fmla="*/ 171450 h 1137690"/>
                  <a:gd name="connsiteX81" fmla="*/ 394667 w 959169"/>
                  <a:gd name="connsiteY81" fmla="*/ 173831 h 1137690"/>
                  <a:gd name="connsiteX82" fmla="*/ 401811 w 959169"/>
                  <a:gd name="connsiteY82" fmla="*/ 176212 h 1137690"/>
                  <a:gd name="connsiteX83" fmla="*/ 418480 w 959169"/>
                  <a:gd name="connsiteY83" fmla="*/ 192881 h 1137690"/>
                  <a:gd name="connsiteX84" fmla="*/ 416099 w 959169"/>
                  <a:gd name="connsiteY84" fmla="*/ 216693 h 1137690"/>
                  <a:gd name="connsiteX85" fmla="*/ 413717 w 959169"/>
                  <a:gd name="connsiteY85" fmla="*/ 223837 h 1137690"/>
                  <a:gd name="connsiteX86" fmla="*/ 406574 w 959169"/>
                  <a:gd name="connsiteY86" fmla="*/ 228600 h 1137690"/>
                  <a:gd name="connsiteX87" fmla="*/ 397049 w 959169"/>
                  <a:gd name="connsiteY87" fmla="*/ 230981 h 1137690"/>
                  <a:gd name="connsiteX88" fmla="*/ 366092 w 959169"/>
                  <a:gd name="connsiteY88" fmla="*/ 226218 h 1137690"/>
                  <a:gd name="connsiteX89" fmla="*/ 344661 w 959169"/>
                  <a:gd name="connsiteY89" fmla="*/ 216693 h 1137690"/>
                  <a:gd name="connsiteX90" fmla="*/ 337517 w 959169"/>
                  <a:gd name="connsiteY90" fmla="*/ 214312 h 1137690"/>
                  <a:gd name="connsiteX91" fmla="*/ 285130 w 959169"/>
                  <a:gd name="connsiteY91" fmla="*/ 209550 h 1137690"/>
                  <a:gd name="connsiteX92" fmla="*/ 213692 w 959169"/>
                  <a:gd name="connsiteY92" fmla="*/ 211931 h 1137690"/>
                  <a:gd name="connsiteX93" fmla="*/ 199405 w 959169"/>
                  <a:gd name="connsiteY93" fmla="*/ 219075 h 1137690"/>
                  <a:gd name="connsiteX94" fmla="*/ 189880 w 959169"/>
                  <a:gd name="connsiteY94" fmla="*/ 221456 h 1137690"/>
                  <a:gd name="connsiteX95" fmla="*/ 175592 w 959169"/>
                  <a:gd name="connsiteY95" fmla="*/ 230981 h 1137690"/>
                  <a:gd name="connsiteX96" fmla="*/ 170830 w 959169"/>
                  <a:gd name="connsiteY96" fmla="*/ 238125 h 1137690"/>
                  <a:gd name="connsiteX97" fmla="*/ 166067 w 959169"/>
                  <a:gd name="connsiteY97" fmla="*/ 247650 h 1137690"/>
                  <a:gd name="connsiteX98" fmla="*/ 158924 w 959169"/>
                  <a:gd name="connsiteY98" fmla="*/ 254793 h 1137690"/>
                  <a:gd name="connsiteX99" fmla="*/ 149399 w 959169"/>
                  <a:gd name="connsiteY99" fmla="*/ 269081 h 1137690"/>
                  <a:gd name="connsiteX100" fmla="*/ 144636 w 959169"/>
                  <a:gd name="connsiteY100" fmla="*/ 283368 h 1137690"/>
                  <a:gd name="connsiteX101" fmla="*/ 139874 w 959169"/>
                  <a:gd name="connsiteY101" fmla="*/ 314325 h 1137690"/>
                  <a:gd name="connsiteX102" fmla="*/ 137492 w 959169"/>
                  <a:gd name="connsiteY102" fmla="*/ 323850 h 1137690"/>
                  <a:gd name="connsiteX103" fmla="*/ 132730 w 959169"/>
                  <a:gd name="connsiteY103" fmla="*/ 330993 h 1137690"/>
                  <a:gd name="connsiteX104" fmla="*/ 130349 w 959169"/>
                  <a:gd name="connsiteY104" fmla="*/ 340518 h 1137690"/>
                  <a:gd name="connsiteX105" fmla="*/ 127967 w 959169"/>
                  <a:gd name="connsiteY105" fmla="*/ 347662 h 1137690"/>
                  <a:gd name="connsiteX106" fmla="*/ 125586 w 959169"/>
                  <a:gd name="connsiteY106" fmla="*/ 364331 h 1137690"/>
                  <a:gd name="connsiteX107" fmla="*/ 123205 w 959169"/>
                  <a:gd name="connsiteY107" fmla="*/ 376237 h 1137690"/>
                  <a:gd name="connsiteX108" fmla="*/ 120824 w 959169"/>
                  <a:gd name="connsiteY108" fmla="*/ 385762 h 1137690"/>
                  <a:gd name="connsiteX109" fmla="*/ 118442 w 959169"/>
                  <a:gd name="connsiteY109" fmla="*/ 392906 h 1137690"/>
                  <a:gd name="connsiteX110" fmla="*/ 116061 w 959169"/>
                  <a:gd name="connsiteY110" fmla="*/ 404812 h 1137690"/>
                  <a:gd name="connsiteX111" fmla="*/ 118442 w 959169"/>
                  <a:gd name="connsiteY111" fmla="*/ 445293 h 1137690"/>
                  <a:gd name="connsiteX112" fmla="*/ 123205 w 959169"/>
                  <a:gd name="connsiteY112" fmla="*/ 459581 h 1137690"/>
                  <a:gd name="connsiteX113" fmla="*/ 125586 w 959169"/>
                  <a:gd name="connsiteY113" fmla="*/ 469106 h 1137690"/>
                  <a:gd name="connsiteX114" fmla="*/ 127967 w 959169"/>
                  <a:gd name="connsiteY114" fmla="*/ 495300 h 1137690"/>
                  <a:gd name="connsiteX115" fmla="*/ 135111 w 959169"/>
                  <a:gd name="connsiteY115" fmla="*/ 509587 h 1137690"/>
                  <a:gd name="connsiteX116" fmla="*/ 139874 w 959169"/>
                  <a:gd name="connsiteY116" fmla="*/ 521493 h 1137690"/>
                  <a:gd name="connsiteX117" fmla="*/ 151780 w 959169"/>
                  <a:gd name="connsiteY117" fmla="*/ 535781 h 1137690"/>
                  <a:gd name="connsiteX118" fmla="*/ 156542 w 959169"/>
                  <a:gd name="connsiteY118" fmla="*/ 542925 h 1137690"/>
                  <a:gd name="connsiteX119" fmla="*/ 177974 w 959169"/>
                  <a:gd name="connsiteY119" fmla="*/ 554831 h 1137690"/>
                  <a:gd name="connsiteX120" fmla="*/ 192261 w 959169"/>
                  <a:gd name="connsiteY120" fmla="*/ 564356 h 1137690"/>
                  <a:gd name="connsiteX121" fmla="*/ 199405 w 959169"/>
                  <a:gd name="connsiteY121" fmla="*/ 569118 h 1137690"/>
                  <a:gd name="connsiteX122" fmla="*/ 213692 w 959169"/>
                  <a:gd name="connsiteY122" fmla="*/ 576262 h 1137690"/>
                  <a:gd name="connsiteX123" fmla="*/ 227980 w 959169"/>
                  <a:gd name="connsiteY123" fmla="*/ 581025 h 1137690"/>
                  <a:gd name="connsiteX124" fmla="*/ 244649 w 959169"/>
                  <a:gd name="connsiteY124" fmla="*/ 592931 h 1137690"/>
                  <a:gd name="connsiteX125" fmla="*/ 258936 w 959169"/>
                  <a:gd name="connsiteY125" fmla="*/ 607218 h 1137690"/>
                  <a:gd name="connsiteX126" fmla="*/ 263699 w 959169"/>
                  <a:gd name="connsiteY126" fmla="*/ 614362 h 1137690"/>
                  <a:gd name="connsiteX127" fmla="*/ 273224 w 959169"/>
                  <a:gd name="connsiteY127" fmla="*/ 628650 h 1137690"/>
                  <a:gd name="connsiteX128" fmla="*/ 282749 w 959169"/>
                  <a:gd name="connsiteY128" fmla="*/ 642937 h 1137690"/>
                  <a:gd name="connsiteX129" fmla="*/ 287511 w 959169"/>
                  <a:gd name="connsiteY129" fmla="*/ 650081 h 1137690"/>
                  <a:gd name="connsiteX130" fmla="*/ 289892 w 959169"/>
                  <a:gd name="connsiteY130" fmla="*/ 657225 h 1137690"/>
                  <a:gd name="connsiteX131" fmla="*/ 297036 w 959169"/>
                  <a:gd name="connsiteY131" fmla="*/ 661987 h 1137690"/>
                  <a:gd name="connsiteX132" fmla="*/ 299417 w 959169"/>
                  <a:gd name="connsiteY132" fmla="*/ 669131 h 1137690"/>
                  <a:gd name="connsiteX133" fmla="*/ 332755 w 959169"/>
                  <a:gd name="connsiteY133" fmla="*/ 681037 h 1137690"/>
                  <a:gd name="connsiteX134" fmla="*/ 366092 w 959169"/>
                  <a:gd name="connsiteY134" fmla="*/ 688181 h 1137690"/>
                  <a:gd name="connsiteX135" fmla="*/ 389905 w 959169"/>
                  <a:gd name="connsiteY135" fmla="*/ 685800 h 1137690"/>
                  <a:gd name="connsiteX136" fmla="*/ 404192 w 959169"/>
                  <a:gd name="connsiteY136" fmla="*/ 678656 h 1137690"/>
                  <a:gd name="connsiteX137" fmla="*/ 411336 w 959169"/>
                  <a:gd name="connsiteY137" fmla="*/ 676275 h 1137690"/>
                  <a:gd name="connsiteX138" fmla="*/ 416099 w 959169"/>
                  <a:gd name="connsiteY138" fmla="*/ 661987 h 1137690"/>
                  <a:gd name="connsiteX139" fmla="*/ 418480 w 959169"/>
                  <a:gd name="connsiteY139" fmla="*/ 626268 h 1137690"/>
                  <a:gd name="connsiteX140" fmla="*/ 420861 w 959169"/>
                  <a:gd name="connsiteY140" fmla="*/ 616743 h 1137690"/>
                  <a:gd name="connsiteX141" fmla="*/ 430386 w 959169"/>
                  <a:gd name="connsiteY141" fmla="*/ 602456 h 1137690"/>
                  <a:gd name="connsiteX142" fmla="*/ 435149 w 959169"/>
                  <a:gd name="connsiteY142" fmla="*/ 595312 h 1137690"/>
                  <a:gd name="connsiteX143" fmla="*/ 439911 w 959169"/>
                  <a:gd name="connsiteY143" fmla="*/ 588168 h 1137690"/>
                  <a:gd name="connsiteX144" fmla="*/ 447055 w 959169"/>
                  <a:gd name="connsiteY144" fmla="*/ 578643 h 1137690"/>
                  <a:gd name="connsiteX145" fmla="*/ 458961 w 959169"/>
                  <a:gd name="connsiteY145" fmla="*/ 564356 h 1137690"/>
                  <a:gd name="connsiteX146" fmla="*/ 463724 w 959169"/>
                  <a:gd name="connsiteY146" fmla="*/ 557212 h 1137690"/>
                  <a:gd name="connsiteX147" fmla="*/ 473249 w 959169"/>
                  <a:gd name="connsiteY147" fmla="*/ 554831 h 1137690"/>
                  <a:gd name="connsiteX148" fmla="*/ 487536 w 959169"/>
                  <a:gd name="connsiteY148" fmla="*/ 550068 h 1137690"/>
                  <a:gd name="connsiteX149" fmla="*/ 494680 w 959169"/>
                  <a:gd name="connsiteY149" fmla="*/ 547687 h 1137690"/>
                  <a:gd name="connsiteX150" fmla="*/ 520874 w 959169"/>
                  <a:gd name="connsiteY150" fmla="*/ 550068 h 1137690"/>
                  <a:gd name="connsiteX151" fmla="*/ 535161 w 959169"/>
                  <a:gd name="connsiteY151" fmla="*/ 552450 h 1137690"/>
                  <a:gd name="connsiteX152" fmla="*/ 549449 w 959169"/>
                  <a:gd name="connsiteY152" fmla="*/ 561975 h 1137690"/>
                  <a:gd name="connsiteX153" fmla="*/ 554211 w 959169"/>
                  <a:gd name="connsiteY153" fmla="*/ 569118 h 1137690"/>
                  <a:gd name="connsiteX154" fmla="*/ 561355 w 959169"/>
                  <a:gd name="connsiteY154" fmla="*/ 571500 h 1137690"/>
                  <a:gd name="connsiteX155" fmla="*/ 582786 w 959169"/>
                  <a:gd name="connsiteY155" fmla="*/ 573881 h 1137690"/>
                  <a:gd name="connsiteX156" fmla="*/ 597074 w 959169"/>
                  <a:gd name="connsiteY156" fmla="*/ 576262 h 1137690"/>
                  <a:gd name="connsiteX157" fmla="*/ 616124 w 959169"/>
                  <a:gd name="connsiteY157" fmla="*/ 578643 h 1137690"/>
                  <a:gd name="connsiteX158" fmla="*/ 647080 w 959169"/>
                  <a:gd name="connsiteY158" fmla="*/ 576262 h 1137690"/>
                  <a:gd name="connsiteX159" fmla="*/ 654224 w 959169"/>
                  <a:gd name="connsiteY159" fmla="*/ 573881 h 1137690"/>
                  <a:gd name="connsiteX160" fmla="*/ 661367 w 959169"/>
                  <a:gd name="connsiteY160" fmla="*/ 547687 h 1137690"/>
                  <a:gd name="connsiteX161" fmla="*/ 668511 w 959169"/>
                  <a:gd name="connsiteY161" fmla="*/ 545306 h 1137690"/>
                  <a:gd name="connsiteX162" fmla="*/ 732805 w 959169"/>
                  <a:gd name="connsiteY162" fmla="*/ 540543 h 1137690"/>
                  <a:gd name="connsiteX163" fmla="*/ 756617 w 959169"/>
                  <a:gd name="connsiteY163" fmla="*/ 533400 h 1137690"/>
                  <a:gd name="connsiteX164" fmla="*/ 763761 w 959169"/>
                  <a:gd name="connsiteY164" fmla="*/ 531018 h 1137690"/>
                  <a:gd name="connsiteX165" fmla="*/ 782811 w 959169"/>
                  <a:gd name="connsiteY165" fmla="*/ 526256 h 1137690"/>
                  <a:gd name="connsiteX166" fmla="*/ 820911 w 959169"/>
                  <a:gd name="connsiteY166" fmla="*/ 528637 h 1137690"/>
                  <a:gd name="connsiteX167" fmla="*/ 832817 w 959169"/>
                  <a:gd name="connsiteY167" fmla="*/ 526256 h 1137690"/>
                  <a:gd name="connsiteX168" fmla="*/ 828055 w 959169"/>
                  <a:gd name="connsiteY168" fmla="*/ 519112 h 1137690"/>
                  <a:gd name="connsiteX169" fmla="*/ 804242 w 959169"/>
                  <a:gd name="connsiteY169" fmla="*/ 504825 h 1137690"/>
                  <a:gd name="connsiteX170" fmla="*/ 806624 w 959169"/>
                  <a:gd name="connsiteY170" fmla="*/ 490537 h 1137690"/>
                  <a:gd name="connsiteX171" fmla="*/ 820911 w 959169"/>
                  <a:gd name="connsiteY171" fmla="*/ 485775 h 1137690"/>
                  <a:gd name="connsiteX172" fmla="*/ 916161 w 959169"/>
                  <a:gd name="connsiteY172" fmla="*/ 490537 h 1137690"/>
                  <a:gd name="connsiteX173" fmla="*/ 925686 w 959169"/>
                  <a:gd name="connsiteY173" fmla="*/ 492918 h 1137690"/>
                  <a:gd name="connsiteX174" fmla="*/ 937592 w 959169"/>
                  <a:gd name="connsiteY174" fmla="*/ 495300 h 1137690"/>
                  <a:gd name="connsiteX175" fmla="*/ 956642 w 959169"/>
                  <a:gd name="connsiteY175" fmla="*/ 500062 h 1137690"/>
                  <a:gd name="connsiteX176" fmla="*/ 956642 w 959169"/>
                  <a:gd name="connsiteY176" fmla="*/ 545306 h 1137690"/>
                  <a:gd name="connsiteX177" fmla="*/ 951880 w 959169"/>
                  <a:gd name="connsiteY177" fmla="*/ 564356 h 1137690"/>
                  <a:gd name="connsiteX178" fmla="*/ 947117 w 959169"/>
                  <a:gd name="connsiteY178" fmla="*/ 588168 h 1137690"/>
                  <a:gd name="connsiteX179" fmla="*/ 918542 w 959169"/>
                  <a:gd name="connsiteY179" fmla="*/ 581025 h 1137690"/>
                  <a:gd name="connsiteX180" fmla="*/ 916161 w 959169"/>
                  <a:gd name="connsiteY180" fmla="*/ 573881 h 1137690"/>
                  <a:gd name="connsiteX181" fmla="*/ 904255 w 959169"/>
                  <a:gd name="connsiteY181" fmla="*/ 559593 h 1137690"/>
                  <a:gd name="connsiteX182" fmla="*/ 901874 w 959169"/>
                  <a:gd name="connsiteY182" fmla="*/ 552450 h 1137690"/>
                  <a:gd name="connsiteX183" fmla="*/ 870917 w 959169"/>
                  <a:gd name="connsiteY183" fmla="*/ 547687 h 1137690"/>
                  <a:gd name="connsiteX184" fmla="*/ 866155 w 959169"/>
                  <a:gd name="connsiteY184" fmla="*/ 557212 h 1137690"/>
                  <a:gd name="connsiteX185" fmla="*/ 837580 w 959169"/>
                  <a:gd name="connsiteY185" fmla="*/ 571500 h 1137690"/>
                  <a:gd name="connsiteX186" fmla="*/ 823292 w 959169"/>
                  <a:gd name="connsiteY186" fmla="*/ 576262 h 1137690"/>
                  <a:gd name="connsiteX187" fmla="*/ 801861 w 959169"/>
                  <a:gd name="connsiteY187" fmla="*/ 581025 h 1137690"/>
                  <a:gd name="connsiteX188" fmla="*/ 782811 w 959169"/>
                  <a:gd name="connsiteY188" fmla="*/ 597693 h 1137690"/>
                  <a:gd name="connsiteX189" fmla="*/ 780430 w 959169"/>
                  <a:gd name="connsiteY189" fmla="*/ 604837 h 1137690"/>
                  <a:gd name="connsiteX190" fmla="*/ 773286 w 959169"/>
                  <a:gd name="connsiteY190" fmla="*/ 619125 h 1137690"/>
                  <a:gd name="connsiteX191" fmla="*/ 770905 w 959169"/>
                  <a:gd name="connsiteY191" fmla="*/ 628650 h 1137690"/>
                  <a:gd name="connsiteX192" fmla="*/ 763761 w 959169"/>
                  <a:gd name="connsiteY192" fmla="*/ 647700 h 1137690"/>
                  <a:gd name="connsiteX193" fmla="*/ 761380 w 959169"/>
                  <a:gd name="connsiteY193" fmla="*/ 654843 h 1137690"/>
                  <a:gd name="connsiteX194" fmla="*/ 754236 w 959169"/>
                  <a:gd name="connsiteY194" fmla="*/ 661987 h 1137690"/>
                  <a:gd name="connsiteX195" fmla="*/ 749474 w 959169"/>
                  <a:gd name="connsiteY195" fmla="*/ 669131 h 1137690"/>
                  <a:gd name="connsiteX196" fmla="*/ 725661 w 959169"/>
                  <a:gd name="connsiteY196" fmla="*/ 685800 h 1137690"/>
                  <a:gd name="connsiteX197" fmla="*/ 718517 w 959169"/>
                  <a:gd name="connsiteY197" fmla="*/ 690562 h 1137690"/>
                  <a:gd name="connsiteX198" fmla="*/ 694705 w 959169"/>
                  <a:gd name="connsiteY198" fmla="*/ 700087 h 1137690"/>
                  <a:gd name="connsiteX199" fmla="*/ 687561 w 959169"/>
                  <a:gd name="connsiteY199" fmla="*/ 704850 h 1137690"/>
                  <a:gd name="connsiteX200" fmla="*/ 668511 w 959169"/>
                  <a:gd name="connsiteY200" fmla="*/ 714375 h 1137690"/>
                  <a:gd name="connsiteX201" fmla="*/ 654224 w 959169"/>
                  <a:gd name="connsiteY201" fmla="*/ 721518 h 1137690"/>
                  <a:gd name="connsiteX202" fmla="*/ 647080 w 959169"/>
                  <a:gd name="connsiteY202" fmla="*/ 726281 h 1137690"/>
                  <a:gd name="connsiteX203" fmla="*/ 644699 w 959169"/>
                  <a:gd name="connsiteY203" fmla="*/ 733425 h 1137690"/>
                  <a:gd name="connsiteX204" fmla="*/ 639936 w 959169"/>
                  <a:gd name="connsiteY204" fmla="*/ 740568 h 1137690"/>
                  <a:gd name="connsiteX205" fmla="*/ 637555 w 959169"/>
                  <a:gd name="connsiteY205" fmla="*/ 747712 h 1137690"/>
                  <a:gd name="connsiteX206" fmla="*/ 620886 w 959169"/>
                  <a:gd name="connsiteY206" fmla="*/ 754856 h 1137690"/>
                  <a:gd name="connsiteX207" fmla="*/ 558974 w 959169"/>
                  <a:gd name="connsiteY207" fmla="*/ 757237 h 1137690"/>
                  <a:gd name="connsiteX208" fmla="*/ 558974 w 959169"/>
                  <a:gd name="connsiteY208" fmla="*/ 790575 h 1137690"/>
                  <a:gd name="connsiteX209" fmla="*/ 547067 w 959169"/>
                  <a:gd name="connsiteY209" fmla="*/ 795337 h 1137690"/>
                  <a:gd name="connsiteX210" fmla="*/ 535161 w 959169"/>
                  <a:gd name="connsiteY210" fmla="*/ 797718 h 1137690"/>
                  <a:gd name="connsiteX211" fmla="*/ 525636 w 959169"/>
                  <a:gd name="connsiteY211" fmla="*/ 800100 h 1137690"/>
                  <a:gd name="connsiteX212" fmla="*/ 478011 w 959169"/>
                  <a:gd name="connsiteY212" fmla="*/ 792956 h 1137690"/>
                  <a:gd name="connsiteX213" fmla="*/ 475630 w 959169"/>
                  <a:gd name="connsiteY213" fmla="*/ 785812 h 1137690"/>
                  <a:gd name="connsiteX214" fmla="*/ 470867 w 959169"/>
                  <a:gd name="connsiteY214" fmla="*/ 776287 h 1137690"/>
                  <a:gd name="connsiteX215" fmla="*/ 456580 w 959169"/>
                  <a:gd name="connsiteY215" fmla="*/ 766762 h 1137690"/>
                  <a:gd name="connsiteX216" fmla="*/ 430386 w 959169"/>
                  <a:gd name="connsiteY216" fmla="*/ 769143 h 1137690"/>
                  <a:gd name="connsiteX217" fmla="*/ 439911 w 959169"/>
                  <a:gd name="connsiteY217" fmla="*/ 795337 h 1137690"/>
                  <a:gd name="connsiteX218" fmla="*/ 444674 w 959169"/>
                  <a:gd name="connsiteY218" fmla="*/ 804862 h 1137690"/>
                  <a:gd name="connsiteX219" fmla="*/ 451817 w 959169"/>
                  <a:gd name="connsiteY219" fmla="*/ 807243 h 1137690"/>
                  <a:gd name="connsiteX220" fmla="*/ 458961 w 959169"/>
                  <a:gd name="connsiteY220" fmla="*/ 812006 h 1137690"/>
                  <a:gd name="connsiteX221" fmla="*/ 473249 w 959169"/>
                  <a:gd name="connsiteY221" fmla="*/ 819150 h 1137690"/>
                  <a:gd name="connsiteX222" fmla="*/ 482774 w 959169"/>
                  <a:gd name="connsiteY222" fmla="*/ 826293 h 1137690"/>
                  <a:gd name="connsiteX223" fmla="*/ 489917 w 959169"/>
                  <a:gd name="connsiteY223" fmla="*/ 831056 h 1137690"/>
                  <a:gd name="connsiteX224" fmla="*/ 508967 w 959169"/>
                  <a:gd name="connsiteY224" fmla="*/ 842962 h 1137690"/>
                  <a:gd name="connsiteX225" fmla="*/ 516111 w 959169"/>
                  <a:gd name="connsiteY225" fmla="*/ 847725 h 1137690"/>
                  <a:gd name="connsiteX226" fmla="*/ 523255 w 959169"/>
                  <a:gd name="connsiteY226" fmla="*/ 854868 h 1137690"/>
                  <a:gd name="connsiteX227" fmla="*/ 532780 w 959169"/>
                  <a:gd name="connsiteY227" fmla="*/ 859631 h 1137690"/>
                  <a:gd name="connsiteX228" fmla="*/ 542305 w 959169"/>
                  <a:gd name="connsiteY228" fmla="*/ 866775 h 1137690"/>
                  <a:gd name="connsiteX229" fmla="*/ 556592 w 959169"/>
                  <a:gd name="connsiteY229" fmla="*/ 876300 h 1137690"/>
                  <a:gd name="connsiteX230" fmla="*/ 578024 w 959169"/>
                  <a:gd name="connsiteY230" fmla="*/ 900112 h 1137690"/>
                  <a:gd name="connsiteX231" fmla="*/ 582786 w 959169"/>
                  <a:gd name="connsiteY231" fmla="*/ 914400 h 1137690"/>
                  <a:gd name="connsiteX232" fmla="*/ 585167 w 959169"/>
                  <a:gd name="connsiteY232" fmla="*/ 926306 h 1137690"/>
                  <a:gd name="connsiteX233" fmla="*/ 594692 w 959169"/>
                  <a:gd name="connsiteY233" fmla="*/ 942975 h 1137690"/>
                  <a:gd name="connsiteX234" fmla="*/ 597074 w 959169"/>
                  <a:gd name="connsiteY234" fmla="*/ 950118 h 1137690"/>
                  <a:gd name="connsiteX235" fmla="*/ 599455 w 959169"/>
                  <a:gd name="connsiteY235" fmla="*/ 973931 h 1137690"/>
                  <a:gd name="connsiteX236" fmla="*/ 601836 w 959169"/>
                  <a:gd name="connsiteY236" fmla="*/ 981075 h 1137690"/>
                  <a:gd name="connsiteX237" fmla="*/ 608980 w 959169"/>
                  <a:gd name="connsiteY237" fmla="*/ 988218 h 1137690"/>
                  <a:gd name="connsiteX238" fmla="*/ 618505 w 959169"/>
                  <a:gd name="connsiteY238" fmla="*/ 1002506 h 1137690"/>
                  <a:gd name="connsiteX239" fmla="*/ 623267 w 959169"/>
                  <a:gd name="connsiteY239" fmla="*/ 1009650 h 1137690"/>
                  <a:gd name="connsiteX240" fmla="*/ 637555 w 959169"/>
                  <a:gd name="connsiteY240" fmla="*/ 1021556 h 1137690"/>
                  <a:gd name="connsiteX241" fmla="*/ 642317 w 959169"/>
                  <a:gd name="connsiteY241" fmla="*/ 1028700 h 1137690"/>
                  <a:gd name="connsiteX242" fmla="*/ 658986 w 959169"/>
                  <a:gd name="connsiteY242" fmla="*/ 1042987 h 1137690"/>
                  <a:gd name="connsiteX243" fmla="*/ 678036 w 959169"/>
                  <a:gd name="connsiteY243" fmla="*/ 1050131 h 1137690"/>
                  <a:gd name="connsiteX244" fmla="*/ 694705 w 959169"/>
                  <a:gd name="connsiteY244" fmla="*/ 1071562 h 1137690"/>
                  <a:gd name="connsiteX245" fmla="*/ 699467 w 959169"/>
                  <a:gd name="connsiteY245" fmla="*/ 1078706 h 1137690"/>
                  <a:gd name="connsiteX246" fmla="*/ 706611 w 959169"/>
                  <a:gd name="connsiteY246" fmla="*/ 1085850 h 1137690"/>
                  <a:gd name="connsiteX247" fmla="*/ 711374 w 959169"/>
                  <a:gd name="connsiteY247" fmla="*/ 1092993 h 1137690"/>
                  <a:gd name="connsiteX248" fmla="*/ 716136 w 959169"/>
                  <a:gd name="connsiteY248" fmla="*/ 1102518 h 1137690"/>
                  <a:gd name="connsiteX249" fmla="*/ 725661 w 959169"/>
                  <a:gd name="connsiteY249" fmla="*/ 1109662 h 1137690"/>
                  <a:gd name="connsiteX250" fmla="*/ 732805 w 959169"/>
                  <a:gd name="connsiteY250" fmla="*/ 1116806 h 1137690"/>
                  <a:gd name="connsiteX251" fmla="*/ 730424 w 959169"/>
                  <a:gd name="connsiteY251" fmla="*/ 1135856 h 1137690"/>
                  <a:gd name="connsiteX252" fmla="*/ 699467 w 959169"/>
                  <a:gd name="connsiteY252" fmla="*/ 1133475 h 1137690"/>
                  <a:gd name="connsiteX253" fmla="*/ 678036 w 959169"/>
                  <a:gd name="connsiteY253" fmla="*/ 1123950 h 1137690"/>
                  <a:gd name="connsiteX254" fmla="*/ 675655 w 959169"/>
                  <a:gd name="connsiteY254" fmla="*/ 1116806 h 1137690"/>
                  <a:gd name="connsiteX255" fmla="*/ 661367 w 959169"/>
                  <a:gd name="connsiteY255" fmla="*/ 1109662 h 1137690"/>
                  <a:gd name="connsiteX256" fmla="*/ 651842 w 959169"/>
                  <a:gd name="connsiteY256" fmla="*/ 1104900 h 1137690"/>
                  <a:gd name="connsiteX257" fmla="*/ 630411 w 959169"/>
                  <a:gd name="connsiteY257" fmla="*/ 1100137 h 1137690"/>
                  <a:gd name="connsiteX258" fmla="*/ 620886 w 959169"/>
                  <a:gd name="connsiteY258" fmla="*/ 1095375 h 1137690"/>
                  <a:gd name="connsiteX259" fmla="*/ 613742 w 959169"/>
                  <a:gd name="connsiteY259" fmla="*/ 1092993 h 1137690"/>
                  <a:gd name="connsiteX260" fmla="*/ 599455 w 959169"/>
                  <a:gd name="connsiteY260" fmla="*/ 1076325 h 1137690"/>
                  <a:gd name="connsiteX261" fmla="*/ 592311 w 959169"/>
                  <a:gd name="connsiteY261" fmla="*/ 1071562 h 1137690"/>
                  <a:gd name="connsiteX262" fmla="*/ 566117 w 959169"/>
                  <a:gd name="connsiteY262" fmla="*/ 1066800 h 1137690"/>
                  <a:gd name="connsiteX263" fmla="*/ 547067 w 959169"/>
                  <a:gd name="connsiteY263" fmla="*/ 1059656 h 1137690"/>
                  <a:gd name="connsiteX264" fmla="*/ 535161 w 959169"/>
                  <a:gd name="connsiteY264" fmla="*/ 1057275 h 1137690"/>
                  <a:gd name="connsiteX265" fmla="*/ 537542 w 959169"/>
                  <a:gd name="connsiteY265" fmla="*/ 1042987 h 1137690"/>
                  <a:gd name="connsiteX266" fmla="*/ 551830 w 959169"/>
                  <a:gd name="connsiteY266" fmla="*/ 1038225 h 1137690"/>
                  <a:gd name="connsiteX267" fmla="*/ 561355 w 959169"/>
                  <a:gd name="connsiteY267" fmla="*/ 1033462 h 1137690"/>
                  <a:gd name="connsiteX268" fmla="*/ 561355 w 959169"/>
                  <a:gd name="connsiteY268" fmla="*/ 1004887 h 1137690"/>
                  <a:gd name="connsiteX269" fmla="*/ 554211 w 959169"/>
                  <a:gd name="connsiteY269" fmla="*/ 981075 h 1137690"/>
                  <a:gd name="connsiteX270" fmla="*/ 547067 w 959169"/>
                  <a:gd name="connsiteY270" fmla="*/ 976312 h 1137690"/>
                  <a:gd name="connsiteX271" fmla="*/ 537542 w 959169"/>
                  <a:gd name="connsiteY271" fmla="*/ 969168 h 1137690"/>
                  <a:gd name="connsiteX272" fmla="*/ 516111 w 959169"/>
                  <a:gd name="connsiteY272" fmla="*/ 950118 h 1137690"/>
                  <a:gd name="connsiteX273" fmla="*/ 497061 w 959169"/>
                  <a:gd name="connsiteY273" fmla="*/ 940593 h 1137690"/>
                  <a:gd name="connsiteX274" fmla="*/ 487536 w 959169"/>
                  <a:gd name="connsiteY274" fmla="*/ 935831 h 1137690"/>
                  <a:gd name="connsiteX275" fmla="*/ 475630 w 959169"/>
                  <a:gd name="connsiteY275" fmla="*/ 928687 h 1137690"/>
                  <a:gd name="connsiteX276" fmla="*/ 463724 w 959169"/>
                  <a:gd name="connsiteY276" fmla="*/ 926306 h 1137690"/>
                  <a:gd name="connsiteX277" fmla="*/ 411336 w 959169"/>
                  <a:gd name="connsiteY277" fmla="*/ 923925 h 1137690"/>
                  <a:gd name="connsiteX278" fmla="*/ 397049 w 959169"/>
                  <a:gd name="connsiteY278" fmla="*/ 916781 h 1137690"/>
                  <a:gd name="connsiteX279" fmla="*/ 389905 w 959169"/>
                  <a:gd name="connsiteY279" fmla="*/ 914400 h 1137690"/>
                  <a:gd name="connsiteX280" fmla="*/ 368474 w 959169"/>
                  <a:gd name="connsiteY280" fmla="*/ 909637 h 1137690"/>
                  <a:gd name="connsiteX281" fmla="*/ 361330 w 959169"/>
                  <a:gd name="connsiteY281" fmla="*/ 907256 h 1137690"/>
                  <a:gd name="connsiteX282" fmla="*/ 347042 w 959169"/>
                  <a:gd name="connsiteY282" fmla="*/ 904875 h 1137690"/>
                  <a:gd name="connsiteX283" fmla="*/ 327992 w 959169"/>
                  <a:gd name="connsiteY283" fmla="*/ 900112 h 1137690"/>
                  <a:gd name="connsiteX284" fmla="*/ 320849 w 959169"/>
                  <a:gd name="connsiteY284" fmla="*/ 897731 h 1137690"/>
                  <a:gd name="connsiteX285" fmla="*/ 311324 w 959169"/>
                  <a:gd name="connsiteY285" fmla="*/ 895350 h 1137690"/>
                  <a:gd name="connsiteX286" fmla="*/ 299417 w 959169"/>
                  <a:gd name="connsiteY286" fmla="*/ 885825 h 1137690"/>
                  <a:gd name="connsiteX287" fmla="*/ 294655 w 959169"/>
                  <a:gd name="connsiteY287" fmla="*/ 878681 h 1137690"/>
                  <a:gd name="connsiteX288" fmla="*/ 287511 w 959169"/>
                  <a:gd name="connsiteY288" fmla="*/ 873918 h 1137690"/>
                  <a:gd name="connsiteX289" fmla="*/ 275605 w 959169"/>
                  <a:gd name="connsiteY289" fmla="*/ 857250 h 1137690"/>
                  <a:gd name="connsiteX290" fmla="*/ 261317 w 959169"/>
                  <a:gd name="connsiteY290" fmla="*/ 838200 h 1137690"/>
                  <a:gd name="connsiteX291" fmla="*/ 247030 w 959169"/>
                  <a:gd name="connsiteY291" fmla="*/ 823912 h 1137690"/>
                  <a:gd name="connsiteX292" fmla="*/ 230361 w 959169"/>
                  <a:gd name="connsiteY292" fmla="*/ 804862 h 1137690"/>
                  <a:gd name="connsiteX293" fmla="*/ 197024 w 959169"/>
                  <a:gd name="connsiteY293" fmla="*/ 800100 h 1137690"/>
                  <a:gd name="connsiteX294" fmla="*/ 185117 w 959169"/>
                  <a:gd name="connsiteY294" fmla="*/ 797718 h 1137690"/>
                  <a:gd name="connsiteX295" fmla="*/ 170830 w 959169"/>
                  <a:gd name="connsiteY295" fmla="*/ 795337 h 1137690"/>
                  <a:gd name="connsiteX296" fmla="*/ 158924 w 959169"/>
                  <a:gd name="connsiteY296" fmla="*/ 790575 h 1137690"/>
                  <a:gd name="connsiteX297" fmla="*/ 111299 w 959169"/>
                  <a:gd name="connsiteY297" fmla="*/ 795337 h 1137690"/>
                  <a:gd name="connsiteX298" fmla="*/ 77961 w 959169"/>
                  <a:gd name="connsiteY298" fmla="*/ 790575 h 1137690"/>
                  <a:gd name="connsiteX299" fmla="*/ 70817 w 959169"/>
                  <a:gd name="connsiteY299" fmla="*/ 788193 h 1137690"/>
                  <a:gd name="connsiteX300" fmla="*/ 73199 w 959169"/>
                  <a:gd name="connsiteY300" fmla="*/ 781050 h 1137690"/>
                  <a:gd name="connsiteX301" fmla="*/ 75580 w 959169"/>
                  <a:gd name="connsiteY301" fmla="*/ 771525 h 1137690"/>
                  <a:gd name="connsiteX302" fmla="*/ 73199 w 959169"/>
                  <a:gd name="connsiteY302" fmla="*/ 757237 h 1137690"/>
                  <a:gd name="connsiteX303" fmla="*/ 51767 w 959169"/>
                  <a:gd name="connsiteY303" fmla="*/ 738187 h 1137690"/>
                  <a:gd name="connsiteX304" fmla="*/ 39861 w 959169"/>
                  <a:gd name="connsiteY304" fmla="*/ 721518 h 1137690"/>
                  <a:gd name="connsiteX305" fmla="*/ 35099 w 959169"/>
                  <a:gd name="connsiteY305" fmla="*/ 707231 h 1137690"/>
                  <a:gd name="connsiteX306" fmla="*/ 32717 w 959169"/>
                  <a:gd name="connsiteY306" fmla="*/ 697706 h 1137690"/>
                  <a:gd name="connsiteX307" fmla="*/ 27955 w 959169"/>
                  <a:gd name="connsiteY307" fmla="*/ 690562 h 1137690"/>
                  <a:gd name="connsiteX308" fmla="*/ 18430 w 959169"/>
                  <a:gd name="connsiteY308" fmla="*/ 666750 h 1137690"/>
                  <a:gd name="connsiteX309" fmla="*/ 16049 w 959169"/>
                  <a:gd name="connsiteY309" fmla="*/ 652462 h 1137690"/>
                  <a:gd name="connsiteX310" fmla="*/ 11286 w 959169"/>
                  <a:gd name="connsiteY310" fmla="*/ 616743 h 1137690"/>
                  <a:gd name="connsiteX311" fmla="*/ 8905 w 959169"/>
                  <a:gd name="connsiteY311" fmla="*/ 607218 h 1137690"/>
                  <a:gd name="connsiteX312" fmla="*/ 6524 w 959169"/>
                  <a:gd name="connsiteY312" fmla="*/ 592931 h 1137690"/>
                  <a:gd name="connsiteX313" fmla="*/ 4142 w 959169"/>
                  <a:gd name="connsiteY313" fmla="*/ 585787 h 1137690"/>
                  <a:gd name="connsiteX314" fmla="*/ 1761 w 959169"/>
                  <a:gd name="connsiteY314" fmla="*/ 573881 h 1137690"/>
                  <a:gd name="connsiteX315" fmla="*/ 6524 w 959169"/>
                  <a:gd name="connsiteY315" fmla="*/ 538162 h 113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Lst>
                <a:rect l="l" t="t" r="r" b="b"/>
                <a:pathLst>
                  <a:path w="959169" h="1137690">
                    <a:moveTo>
                      <a:pt x="6524" y="538162"/>
                    </a:moveTo>
                    <a:cubicBezTo>
                      <a:pt x="9302" y="531018"/>
                      <a:pt x="15157" y="534291"/>
                      <a:pt x="18430" y="531018"/>
                    </a:cubicBezTo>
                    <a:cubicBezTo>
                      <a:pt x="20205" y="529243"/>
                      <a:pt x="19592" y="526069"/>
                      <a:pt x="20811" y="523875"/>
                    </a:cubicBezTo>
                    <a:cubicBezTo>
                      <a:pt x="23591" y="518871"/>
                      <a:pt x="28526" y="515017"/>
                      <a:pt x="30336" y="509587"/>
                    </a:cubicBezTo>
                    <a:cubicBezTo>
                      <a:pt x="32817" y="502142"/>
                      <a:pt x="35223" y="492836"/>
                      <a:pt x="42242" y="488156"/>
                    </a:cubicBezTo>
                    <a:lnTo>
                      <a:pt x="49386" y="483393"/>
                    </a:lnTo>
                    <a:cubicBezTo>
                      <a:pt x="55371" y="465437"/>
                      <a:pt x="47296" y="487573"/>
                      <a:pt x="56530" y="469106"/>
                    </a:cubicBezTo>
                    <a:cubicBezTo>
                      <a:pt x="66389" y="449388"/>
                      <a:pt x="50024" y="475292"/>
                      <a:pt x="63674" y="454818"/>
                    </a:cubicBezTo>
                    <a:cubicBezTo>
                      <a:pt x="64730" y="451651"/>
                      <a:pt x="68524" y="440877"/>
                      <a:pt x="68436" y="438150"/>
                    </a:cubicBezTo>
                    <a:cubicBezTo>
                      <a:pt x="67951" y="423110"/>
                      <a:pt x="67028" y="384892"/>
                      <a:pt x="61292" y="361950"/>
                    </a:cubicBezTo>
                    <a:cubicBezTo>
                      <a:pt x="59058" y="353013"/>
                      <a:pt x="58239" y="354824"/>
                      <a:pt x="54149" y="345281"/>
                    </a:cubicBezTo>
                    <a:cubicBezTo>
                      <a:pt x="53160" y="342974"/>
                      <a:pt x="52561" y="340518"/>
                      <a:pt x="51767" y="338137"/>
                    </a:cubicBezTo>
                    <a:cubicBezTo>
                      <a:pt x="52561" y="329406"/>
                      <a:pt x="52909" y="320622"/>
                      <a:pt x="54149" y="311943"/>
                    </a:cubicBezTo>
                    <a:cubicBezTo>
                      <a:pt x="54504" y="309458"/>
                      <a:pt x="55921" y="307235"/>
                      <a:pt x="56530" y="304800"/>
                    </a:cubicBezTo>
                    <a:cubicBezTo>
                      <a:pt x="57512" y="300873"/>
                      <a:pt x="58117" y="296862"/>
                      <a:pt x="58911" y="292893"/>
                    </a:cubicBezTo>
                    <a:cubicBezTo>
                      <a:pt x="59705" y="282574"/>
                      <a:pt x="60008" y="272206"/>
                      <a:pt x="61292" y="261937"/>
                    </a:cubicBezTo>
                    <a:cubicBezTo>
                      <a:pt x="61603" y="259446"/>
                      <a:pt x="62984" y="257207"/>
                      <a:pt x="63674" y="254793"/>
                    </a:cubicBezTo>
                    <a:cubicBezTo>
                      <a:pt x="65338" y="248969"/>
                      <a:pt x="67987" y="235226"/>
                      <a:pt x="70817" y="230981"/>
                    </a:cubicBezTo>
                    <a:lnTo>
                      <a:pt x="75580" y="223837"/>
                    </a:lnTo>
                    <a:cubicBezTo>
                      <a:pt x="76374" y="221456"/>
                      <a:pt x="76186" y="218468"/>
                      <a:pt x="77961" y="216693"/>
                    </a:cubicBezTo>
                    <a:cubicBezTo>
                      <a:pt x="79736" y="214918"/>
                      <a:pt x="82620" y="214667"/>
                      <a:pt x="85105" y="214312"/>
                    </a:cubicBezTo>
                    <a:cubicBezTo>
                      <a:pt x="93784" y="213072"/>
                      <a:pt x="102568" y="212725"/>
                      <a:pt x="111299" y="211931"/>
                    </a:cubicBezTo>
                    <a:cubicBezTo>
                      <a:pt x="113680" y="210343"/>
                      <a:pt x="116925" y="209595"/>
                      <a:pt x="118442" y="207168"/>
                    </a:cubicBezTo>
                    <a:cubicBezTo>
                      <a:pt x="121103" y="202911"/>
                      <a:pt x="123205" y="192881"/>
                      <a:pt x="123205" y="192881"/>
                    </a:cubicBezTo>
                    <a:cubicBezTo>
                      <a:pt x="123999" y="184943"/>
                      <a:pt x="122722" y="176514"/>
                      <a:pt x="125586" y="169068"/>
                    </a:cubicBezTo>
                    <a:cubicBezTo>
                      <a:pt x="129283" y="159454"/>
                      <a:pt x="148826" y="160210"/>
                      <a:pt x="154161" y="159543"/>
                    </a:cubicBezTo>
                    <a:cubicBezTo>
                      <a:pt x="158053" y="158246"/>
                      <a:pt x="166020" y="156287"/>
                      <a:pt x="168449" y="152400"/>
                    </a:cubicBezTo>
                    <a:cubicBezTo>
                      <a:pt x="171110" y="148143"/>
                      <a:pt x="171993" y="142982"/>
                      <a:pt x="173211" y="138112"/>
                    </a:cubicBezTo>
                    <a:lnTo>
                      <a:pt x="177974" y="119062"/>
                    </a:lnTo>
                    <a:cubicBezTo>
                      <a:pt x="178737" y="116012"/>
                      <a:pt x="181028" y="105808"/>
                      <a:pt x="182736" y="102393"/>
                    </a:cubicBezTo>
                    <a:cubicBezTo>
                      <a:pt x="184016" y="99833"/>
                      <a:pt x="185911" y="97631"/>
                      <a:pt x="187499" y="95250"/>
                    </a:cubicBezTo>
                    <a:cubicBezTo>
                      <a:pt x="188365" y="92653"/>
                      <a:pt x="189808" y="80384"/>
                      <a:pt x="197024" y="90487"/>
                    </a:cubicBezTo>
                    <a:cubicBezTo>
                      <a:pt x="200953" y="95988"/>
                      <a:pt x="202504" y="110031"/>
                      <a:pt x="204167" y="116681"/>
                    </a:cubicBezTo>
                    <a:cubicBezTo>
                      <a:pt x="204776" y="119116"/>
                      <a:pt x="205426" y="121580"/>
                      <a:pt x="206549" y="123825"/>
                    </a:cubicBezTo>
                    <a:cubicBezTo>
                      <a:pt x="209864" y="130456"/>
                      <a:pt x="213188" y="132845"/>
                      <a:pt x="218455" y="138112"/>
                    </a:cubicBezTo>
                    <a:cubicBezTo>
                      <a:pt x="219249" y="140493"/>
                      <a:pt x="218793" y="143797"/>
                      <a:pt x="220836" y="145256"/>
                    </a:cubicBezTo>
                    <a:cubicBezTo>
                      <a:pt x="224921" y="148174"/>
                      <a:pt x="235124" y="150018"/>
                      <a:pt x="235124" y="150018"/>
                    </a:cubicBezTo>
                    <a:cubicBezTo>
                      <a:pt x="239886" y="149224"/>
                      <a:pt x="244831" y="149164"/>
                      <a:pt x="249411" y="147637"/>
                    </a:cubicBezTo>
                    <a:cubicBezTo>
                      <a:pt x="254385" y="145979"/>
                      <a:pt x="260382" y="139048"/>
                      <a:pt x="263699" y="135731"/>
                    </a:cubicBezTo>
                    <a:lnTo>
                      <a:pt x="268461" y="121443"/>
                    </a:lnTo>
                    <a:cubicBezTo>
                      <a:pt x="269255" y="119062"/>
                      <a:pt x="269067" y="116075"/>
                      <a:pt x="270842" y="114300"/>
                    </a:cubicBezTo>
                    <a:cubicBezTo>
                      <a:pt x="273223" y="111919"/>
                      <a:pt x="275830" y="109743"/>
                      <a:pt x="277986" y="107156"/>
                    </a:cubicBezTo>
                    <a:cubicBezTo>
                      <a:pt x="279818" y="104957"/>
                      <a:pt x="280725" y="102036"/>
                      <a:pt x="282749" y="100012"/>
                    </a:cubicBezTo>
                    <a:cubicBezTo>
                      <a:pt x="284772" y="97989"/>
                      <a:pt x="287511" y="96837"/>
                      <a:pt x="289892" y="95250"/>
                    </a:cubicBezTo>
                    <a:cubicBezTo>
                      <a:pt x="291480" y="92869"/>
                      <a:pt x="292631" y="90130"/>
                      <a:pt x="294655" y="88106"/>
                    </a:cubicBezTo>
                    <a:cubicBezTo>
                      <a:pt x="310529" y="72232"/>
                      <a:pt x="293863" y="95246"/>
                      <a:pt x="306561" y="76200"/>
                    </a:cubicBezTo>
                    <a:cubicBezTo>
                      <a:pt x="308149" y="71437"/>
                      <a:pt x="310340" y="66835"/>
                      <a:pt x="311324" y="61912"/>
                    </a:cubicBezTo>
                    <a:cubicBezTo>
                      <a:pt x="316647" y="35294"/>
                      <a:pt x="311596" y="44835"/>
                      <a:pt x="320849" y="30956"/>
                    </a:cubicBezTo>
                    <a:cubicBezTo>
                      <a:pt x="322436" y="26193"/>
                      <a:pt x="322061" y="20218"/>
                      <a:pt x="325611" y="16668"/>
                    </a:cubicBezTo>
                    <a:cubicBezTo>
                      <a:pt x="327992" y="14287"/>
                      <a:pt x="329811" y="11160"/>
                      <a:pt x="332755" y="9525"/>
                    </a:cubicBezTo>
                    <a:cubicBezTo>
                      <a:pt x="337143" y="7087"/>
                      <a:pt x="342280" y="6350"/>
                      <a:pt x="347042" y="4762"/>
                    </a:cubicBezTo>
                    <a:cubicBezTo>
                      <a:pt x="357283" y="1348"/>
                      <a:pt x="351761" y="2987"/>
                      <a:pt x="363711" y="0"/>
                    </a:cubicBezTo>
                    <a:cubicBezTo>
                      <a:pt x="372442" y="794"/>
                      <a:pt x="381494" y="-93"/>
                      <a:pt x="389905" y="2381"/>
                    </a:cubicBezTo>
                    <a:cubicBezTo>
                      <a:pt x="395396" y="3996"/>
                      <a:pt x="399613" y="8472"/>
                      <a:pt x="404192" y="11906"/>
                    </a:cubicBezTo>
                    <a:cubicBezTo>
                      <a:pt x="406354" y="13527"/>
                      <a:pt x="417375" y="22069"/>
                      <a:pt x="420861" y="23812"/>
                    </a:cubicBezTo>
                    <a:cubicBezTo>
                      <a:pt x="433285" y="30023"/>
                      <a:pt x="466123" y="28436"/>
                      <a:pt x="468486" y="28575"/>
                    </a:cubicBezTo>
                    <a:cubicBezTo>
                      <a:pt x="471154" y="31242"/>
                      <a:pt x="479286" y="38439"/>
                      <a:pt x="480392" y="42862"/>
                    </a:cubicBezTo>
                    <a:cubicBezTo>
                      <a:pt x="487135" y="69835"/>
                      <a:pt x="475183" y="59231"/>
                      <a:pt x="489917" y="69056"/>
                    </a:cubicBezTo>
                    <a:cubicBezTo>
                      <a:pt x="510468" y="64946"/>
                      <a:pt x="501634" y="65596"/>
                      <a:pt x="532780" y="69056"/>
                    </a:cubicBezTo>
                    <a:cubicBezTo>
                      <a:pt x="543936" y="70295"/>
                      <a:pt x="566117" y="73818"/>
                      <a:pt x="566117" y="73818"/>
                    </a:cubicBezTo>
                    <a:cubicBezTo>
                      <a:pt x="569499" y="74946"/>
                      <a:pt x="584668" y="80408"/>
                      <a:pt x="589930" y="80962"/>
                    </a:cubicBezTo>
                    <a:cubicBezTo>
                      <a:pt x="601797" y="82211"/>
                      <a:pt x="613743" y="82549"/>
                      <a:pt x="625649" y="83343"/>
                    </a:cubicBezTo>
                    <a:cubicBezTo>
                      <a:pt x="628030" y="84137"/>
                      <a:pt x="630547" y="84602"/>
                      <a:pt x="632792" y="85725"/>
                    </a:cubicBezTo>
                    <a:cubicBezTo>
                      <a:pt x="635352" y="87005"/>
                      <a:pt x="637305" y="89360"/>
                      <a:pt x="639936" y="90487"/>
                    </a:cubicBezTo>
                    <a:cubicBezTo>
                      <a:pt x="642944" y="91776"/>
                      <a:pt x="646314" y="91969"/>
                      <a:pt x="649461" y="92868"/>
                    </a:cubicBezTo>
                    <a:cubicBezTo>
                      <a:pt x="651875" y="93558"/>
                      <a:pt x="654224" y="94456"/>
                      <a:pt x="656605" y="95250"/>
                    </a:cubicBezTo>
                    <a:cubicBezTo>
                      <a:pt x="655811" y="100012"/>
                      <a:pt x="656383" y="105219"/>
                      <a:pt x="654224" y="109537"/>
                    </a:cubicBezTo>
                    <a:cubicBezTo>
                      <a:pt x="652944" y="112097"/>
                      <a:pt x="649640" y="113020"/>
                      <a:pt x="647080" y="114300"/>
                    </a:cubicBezTo>
                    <a:cubicBezTo>
                      <a:pt x="644835" y="115423"/>
                      <a:pt x="642243" y="115692"/>
                      <a:pt x="639936" y="116681"/>
                    </a:cubicBezTo>
                    <a:cubicBezTo>
                      <a:pt x="619325" y="125513"/>
                      <a:pt x="640030" y="118236"/>
                      <a:pt x="623267" y="123825"/>
                    </a:cubicBezTo>
                    <a:lnTo>
                      <a:pt x="539924" y="119062"/>
                    </a:lnTo>
                    <a:lnTo>
                      <a:pt x="501824" y="116681"/>
                    </a:lnTo>
                    <a:cubicBezTo>
                      <a:pt x="470737" y="112240"/>
                      <a:pt x="481772" y="112761"/>
                      <a:pt x="432767" y="116681"/>
                    </a:cubicBezTo>
                    <a:cubicBezTo>
                      <a:pt x="430265" y="116881"/>
                      <a:pt x="428074" y="118518"/>
                      <a:pt x="425624" y="119062"/>
                    </a:cubicBezTo>
                    <a:cubicBezTo>
                      <a:pt x="420911" y="120109"/>
                      <a:pt x="416071" y="120496"/>
                      <a:pt x="411336" y="121443"/>
                    </a:cubicBezTo>
                    <a:cubicBezTo>
                      <a:pt x="403869" y="122937"/>
                      <a:pt x="401470" y="123939"/>
                      <a:pt x="394667" y="126206"/>
                    </a:cubicBezTo>
                    <a:cubicBezTo>
                      <a:pt x="393080" y="128587"/>
                      <a:pt x="391929" y="131326"/>
                      <a:pt x="389905" y="133350"/>
                    </a:cubicBezTo>
                    <a:cubicBezTo>
                      <a:pt x="387881" y="135374"/>
                      <a:pt x="384278" y="135685"/>
                      <a:pt x="382761" y="138112"/>
                    </a:cubicBezTo>
                    <a:cubicBezTo>
                      <a:pt x="380100" y="142369"/>
                      <a:pt x="377999" y="152400"/>
                      <a:pt x="377999" y="152400"/>
                    </a:cubicBezTo>
                    <a:cubicBezTo>
                      <a:pt x="379586" y="156369"/>
                      <a:pt x="381260" y="160304"/>
                      <a:pt x="382761" y="164306"/>
                    </a:cubicBezTo>
                    <a:cubicBezTo>
                      <a:pt x="383642" y="166656"/>
                      <a:pt x="383182" y="169882"/>
                      <a:pt x="385142" y="171450"/>
                    </a:cubicBezTo>
                    <a:cubicBezTo>
                      <a:pt x="387698" y="173494"/>
                      <a:pt x="391520" y="172932"/>
                      <a:pt x="394667" y="173831"/>
                    </a:cubicBezTo>
                    <a:cubicBezTo>
                      <a:pt x="397081" y="174521"/>
                      <a:pt x="399430" y="175418"/>
                      <a:pt x="401811" y="176212"/>
                    </a:cubicBezTo>
                    <a:cubicBezTo>
                      <a:pt x="418188" y="187129"/>
                      <a:pt x="414289" y="180307"/>
                      <a:pt x="418480" y="192881"/>
                    </a:cubicBezTo>
                    <a:cubicBezTo>
                      <a:pt x="417686" y="200818"/>
                      <a:pt x="417312" y="208809"/>
                      <a:pt x="416099" y="216693"/>
                    </a:cubicBezTo>
                    <a:cubicBezTo>
                      <a:pt x="415717" y="219174"/>
                      <a:pt x="415285" y="221877"/>
                      <a:pt x="413717" y="223837"/>
                    </a:cubicBezTo>
                    <a:cubicBezTo>
                      <a:pt x="411929" y="226072"/>
                      <a:pt x="409204" y="227473"/>
                      <a:pt x="406574" y="228600"/>
                    </a:cubicBezTo>
                    <a:cubicBezTo>
                      <a:pt x="403566" y="229889"/>
                      <a:pt x="400224" y="230187"/>
                      <a:pt x="397049" y="230981"/>
                    </a:cubicBezTo>
                    <a:cubicBezTo>
                      <a:pt x="390209" y="230297"/>
                      <a:pt x="374677" y="230511"/>
                      <a:pt x="366092" y="226218"/>
                    </a:cubicBezTo>
                    <a:cubicBezTo>
                      <a:pt x="343458" y="214900"/>
                      <a:pt x="381513" y="228977"/>
                      <a:pt x="344661" y="216693"/>
                    </a:cubicBezTo>
                    <a:cubicBezTo>
                      <a:pt x="342280" y="215899"/>
                      <a:pt x="340017" y="214539"/>
                      <a:pt x="337517" y="214312"/>
                    </a:cubicBezTo>
                    <a:lnTo>
                      <a:pt x="285130" y="209550"/>
                    </a:lnTo>
                    <a:cubicBezTo>
                      <a:pt x="261317" y="210344"/>
                      <a:pt x="237474" y="210490"/>
                      <a:pt x="213692" y="211931"/>
                    </a:cubicBezTo>
                    <a:cubicBezTo>
                      <a:pt x="205901" y="212403"/>
                      <a:pt x="206280" y="216129"/>
                      <a:pt x="199405" y="219075"/>
                    </a:cubicBezTo>
                    <a:cubicBezTo>
                      <a:pt x="196397" y="220364"/>
                      <a:pt x="193055" y="220662"/>
                      <a:pt x="189880" y="221456"/>
                    </a:cubicBezTo>
                    <a:cubicBezTo>
                      <a:pt x="185117" y="224631"/>
                      <a:pt x="178767" y="226218"/>
                      <a:pt x="175592" y="230981"/>
                    </a:cubicBezTo>
                    <a:cubicBezTo>
                      <a:pt x="174005" y="233362"/>
                      <a:pt x="172250" y="235640"/>
                      <a:pt x="170830" y="238125"/>
                    </a:cubicBezTo>
                    <a:cubicBezTo>
                      <a:pt x="169069" y="241207"/>
                      <a:pt x="168130" y="244761"/>
                      <a:pt x="166067" y="247650"/>
                    </a:cubicBezTo>
                    <a:cubicBezTo>
                      <a:pt x="164110" y="250390"/>
                      <a:pt x="160991" y="252135"/>
                      <a:pt x="158924" y="254793"/>
                    </a:cubicBezTo>
                    <a:cubicBezTo>
                      <a:pt x="155410" y="259311"/>
                      <a:pt x="151209" y="263651"/>
                      <a:pt x="149399" y="269081"/>
                    </a:cubicBezTo>
                    <a:lnTo>
                      <a:pt x="144636" y="283368"/>
                    </a:lnTo>
                    <a:cubicBezTo>
                      <a:pt x="140809" y="321647"/>
                      <a:pt x="145154" y="295847"/>
                      <a:pt x="139874" y="314325"/>
                    </a:cubicBezTo>
                    <a:cubicBezTo>
                      <a:pt x="138975" y="317472"/>
                      <a:pt x="138781" y="320842"/>
                      <a:pt x="137492" y="323850"/>
                    </a:cubicBezTo>
                    <a:cubicBezTo>
                      <a:pt x="136365" y="326480"/>
                      <a:pt x="134317" y="328612"/>
                      <a:pt x="132730" y="330993"/>
                    </a:cubicBezTo>
                    <a:cubicBezTo>
                      <a:pt x="131936" y="334168"/>
                      <a:pt x="131248" y="337371"/>
                      <a:pt x="130349" y="340518"/>
                    </a:cubicBezTo>
                    <a:cubicBezTo>
                      <a:pt x="129659" y="342932"/>
                      <a:pt x="128459" y="345201"/>
                      <a:pt x="127967" y="347662"/>
                    </a:cubicBezTo>
                    <a:cubicBezTo>
                      <a:pt x="126866" y="353166"/>
                      <a:pt x="126509" y="358795"/>
                      <a:pt x="125586" y="364331"/>
                    </a:cubicBezTo>
                    <a:cubicBezTo>
                      <a:pt x="124921" y="368323"/>
                      <a:pt x="124083" y="372286"/>
                      <a:pt x="123205" y="376237"/>
                    </a:cubicBezTo>
                    <a:cubicBezTo>
                      <a:pt x="122495" y="379432"/>
                      <a:pt x="121723" y="382615"/>
                      <a:pt x="120824" y="385762"/>
                    </a:cubicBezTo>
                    <a:cubicBezTo>
                      <a:pt x="120134" y="388176"/>
                      <a:pt x="119051" y="390471"/>
                      <a:pt x="118442" y="392906"/>
                    </a:cubicBezTo>
                    <a:cubicBezTo>
                      <a:pt x="117460" y="396832"/>
                      <a:pt x="116855" y="400843"/>
                      <a:pt x="116061" y="404812"/>
                    </a:cubicBezTo>
                    <a:cubicBezTo>
                      <a:pt x="116855" y="418306"/>
                      <a:pt x="116694" y="431890"/>
                      <a:pt x="118442" y="445293"/>
                    </a:cubicBezTo>
                    <a:cubicBezTo>
                      <a:pt x="119091" y="450271"/>
                      <a:pt x="121988" y="454711"/>
                      <a:pt x="123205" y="459581"/>
                    </a:cubicBezTo>
                    <a:lnTo>
                      <a:pt x="125586" y="469106"/>
                    </a:lnTo>
                    <a:cubicBezTo>
                      <a:pt x="126380" y="477837"/>
                      <a:pt x="126727" y="486621"/>
                      <a:pt x="127967" y="495300"/>
                    </a:cubicBezTo>
                    <a:cubicBezTo>
                      <a:pt x="129163" y="503673"/>
                      <a:pt x="131341" y="502047"/>
                      <a:pt x="135111" y="509587"/>
                    </a:cubicBezTo>
                    <a:cubicBezTo>
                      <a:pt x="137023" y="513410"/>
                      <a:pt x="137962" y="517670"/>
                      <a:pt x="139874" y="521493"/>
                    </a:cubicBezTo>
                    <a:cubicBezTo>
                      <a:pt x="144310" y="530365"/>
                      <a:pt x="145194" y="527877"/>
                      <a:pt x="151780" y="535781"/>
                    </a:cubicBezTo>
                    <a:cubicBezTo>
                      <a:pt x="153612" y="537980"/>
                      <a:pt x="154388" y="541040"/>
                      <a:pt x="156542" y="542925"/>
                    </a:cubicBezTo>
                    <a:cubicBezTo>
                      <a:pt x="166619" y="551743"/>
                      <a:pt x="168162" y="551561"/>
                      <a:pt x="177974" y="554831"/>
                    </a:cubicBezTo>
                    <a:lnTo>
                      <a:pt x="192261" y="564356"/>
                    </a:lnTo>
                    <a:cubicBezTo>
                      <a:pt x="194642" y="565943"/>
                      <a:pt x="196690" y="568213"/>
                      <a:pt x="199405" y="569118"/>
                    </a:cubicBezTo>
                    <a:cubicBezTo>
                      <a:pt x="225472" y="577810"/>
                      <a:pt x="185983" y="563947"/>
                      <a:pt x="213692" y="576262"/>
                    </a:cubicBezTo>
                    <a:cubicBezTo>
                      <a:pt x="218280" y="578301"/>
                      <a:pt x="223803" y="578240"/>
                      <a:pt x="227980" y="581025"/>
                    </a:cubicBezTo>
                    <a:cubicBezTo>
                      <a:pt x="232953" y="584340"/>
                      <a:pt x="240425" y="589130"/>
                      <a:pt x="244649" y="592931"/>
                    </a:cubicBezTo>
                    <a:cubicBezTo>
                      <a:pt x="249655" y="597436"/>
                      <a:pt x="255200" y="601614"/>
                      <a:pt x="258936" y="607218"/>
                    </a:cubicBezTo>
                    <a:lnTo>
                      <a:pt x="263699" y="614362"/>
                    </a:lnTo>
                    <a:cubicBezTo>
                      <a:pt x="268252" y="628024"/>
                      <a:pt x="262819" y="615273"/>
                      <a:pt x="273224" y="628650"/>
                    </a:cubicBezTo>
                    <a:cubicBezTo>
                      <a:pt x="276738" y="633168"/>
                      <a:pt x="279574" y="638175"/>
                      <a:pt x="282749" y="642937"/>
                    </a:cubicBezTo>
                    <a:cubicBezTo>
                      <a:pt x="284336" y="645318"/>
                      <a:pt x="286606" y="647366"/>
                      <a:pt x="287511" y="650081"/>
                    </a:cubicBezTo>
                    <a:cubicBezTo>
                      <a:pt x="288305" y="652462"/>
                      <a:pt x="288324" y="655265"/>
                      <a:pt x="289892" y="657225"/>
                    </a:cubicBezTo>
                    <a:cubicBezTo>
                      <a:pt x="291680" y="659460"/>
                      <a:pt x="294655" y="660400"/>
                      <a:pt x="297036" y="661987"/>
                    </a:cubicBezTo>
                    <a:cubicBezTo>
                      <a:pt x="297830" y="664368"/>
                      <a:pt x="297642" y="667356"/>
                      <a:pt x="299417" y="669131"/>
                    </a:cubicBezTo>
                    <a:cubicBezTo>
                      <a:pt x="311558" y="681272"/>
                      <a:pt x="316379" y="678990"/>
                      <a:pt x="332755" y="681037"/>
                    </a:cubicBezTo>
                    <a:cubicBezTo>
                      <a:pt x="353113" y="687824"/>
                      <a:pt x="342061" y="685177"/>
                      <a:pt x="366092" y="688181"/>
                    </a:cubicBezTo>
                    <a:cubicBezTo>
                      <a:pt x="374030" y="687387"/>
                      <a:pt x="382021" y="687013"/>
                      <a:pt x="389905" y="685800"/>
                    </a:cubicBezTo>
                    <a:cubicBezTo>
                      <a:pt x="398549" y="684470"/>
                      <a:pt x="396345" y="682579"/>
                      <a:pt x="404192" y="678656"/>
                    </a:cubicBezTo>
                    <a:cubicBezTo>
                      <a:pt x="406437" y="677534"/>
                      <a:pt x="408955" y="677069"/>
                      <a:pt x="411336" y="676275"/>
                    </a:cubicBezTo>
                    <a:cubicBezTo>
                      <a:pt x="412924" y="671512"/>
                      <a:pt x="415765" y="666996"/>
                      <a:pt x="416099" y="661987"/>
                    </a:cubicBezTo>
                    <a:cubicBezTo>
                      <a:pt x="416893" y="650081"/>
                      <a:pt x="417231" y="638135"/>
                      <a:pt x="418480" y="626268"/>
                    </a:cubicBezTo>
                    <a:cubicBezTo>
                      <a:pt x="418823" y="623013"/>
                      <a:pt x="419397" y="619670"/>
                      <a:pt x="420861" y="616743"/>
                    </a:cubicBezTo>
                    <a:cubicBezTo>
                      <a:pt x="423421" y="611624"/>
                      <a:pt x="427211" y="607218"/>
                      <a:pt x="430386" y="602456"/>
                    </a:cubicBezTo>
                    <a:lnTo>
                      <a:pt x="435149" y="595312"/>
                    </a:lnTo>
                    <a:cubicBezTo>
                      <a:pt x="436736" y="592931"/>
                      <a:pt x="438194" y="590457"/>
                      <a:pt x="439911" y="588168"/>
                    </a:cubicBezTo>
                    <a:cubicBezTo>
                      <a:pt x="442292" y="584993"/>
                      <a:pt x="444748" y="581873"/>
                      <a:pt x="447055" y="578643"/>
                    </a:cubicBezTo>
                    <a:cubicBezTo>
                      <a:pt x="464790" y="553815"/>
                      <a:pt x="436725" y="591038"/>
                      <a:pt x="458961" y="564356"/>
                    </a:cubicBezTo>
                    <a:cubicBezTo>
                      <a:pt x="460793" y="562157"/>
                      <a:pt x="461343" y="558800"/>
                      <a:pt x="463724" y="557212"/>
                    </a:cubicBezTo>
                    <a:cubicBezTo>
                      <a:pt x="466447" y="555397"/>
                      <a:pt x="470114" y="555771"/>
                      <a:pt x="473249" y="554831"/>
                    </a:cubicBezTo>
                    <a:cubicBezTo>
                      <a:pt x="478057" y="553388"/>
                      <a:pt x="482774" y="551656"/>
                      <a:pt x="487536" y="550068"/>
                    </a:cubicBezTo>
                    <a:lnTo>
                      <a:pt x="494680" y="547687"/>
                    </a:lnTo>
                    <a:cubicBezTo>
                      <a:pt x="503411" y="548481"/>
                      <a:pt x="512167" y="549044"/>
                      <a:pt x="520874" y="550068"/>
                    </a:cubicBezTo>
                    <a:cubicBezTo>
                      <a:pt x="525669" y="550632"/>
                      <a:pt x="530704" y="550593"/>
                      <a:pt x="535161" y="552450"/>
                    </a:cubicBezTo>
                    <a:cubicBezTo>
                      <a:pt x="540445" y="554652"/>
                      <a:pt x="549449" y="561975"/>
                      <a:pt x="549449" y="561975"/>
                    </a:cubicBezTo>
                    <a:cubicBezTo>
                      <a:pt x="551036" y="564356"/>
                      <a:pt x="551976" y="567330"/>
                      <a:pt x="554211" y="569118"/>
                    </a:cubicBezTo>
                    <a:cubicBezTo>
                      <a:pt x="556171" y="570686"/>
                      <a:pt x="558879" y="571087"/>
                      <a:pt x="561355" y="571500"/>
                    </a:cubicBezTo>
                    <a:cubicBezTo>
                      <a:pt x="568445" y="572682"/>
                      <a:pt x="575661" y="572931"/>
                      <a:pt x="582786" y="573881"/>
                    </a:cubicBezTo>
                    <a:cubicBezTo>
                      <a:pt x="587572" y="574519"/>
                      <a:pt x="592294" y="575579"/>
                      <a:pt x="597074" y="576262"/>
                    </a:cubicBezTo>
                    <a:cubicBezTo>
                      <a:pt x="603409" y="577167"/>
                      <a:pt x="609774" y="577849"/>
                      <a:pt x="616124" y="578643"/>
                    </a:cubicBezTo>
                    <a:cubicBezTo>
                      <a:pt x="626443" y="577849"/>
                      <a:pt x="636811" y="577546"/>
                      <a:pt x="647080" y="576262"/>
                    </a:cubicBezTo>
                    <a:cubicBezTo>
                      <a:pt x="649571" y="575951"/>
                      <a:pt x="653205" y="576175"/>
                      <a:pt x="654224" y="573881"/>
                    </a:cubicBezTo>
                    <a:cubicBezTo>
                      <a:pt x="658836" y="563503"/>
                      <a:pt x="652216" y="555008"/>
                      <a:pt x="661367" y="547687"/>
                    </a:cubicBezTo>
                    <a:cubicBezTo>
                      <a:pt x="663327" y="546119"/>
                      <a:pt x="666013" y="545556"/>
                      <a:pt x="668511" y="545306"/>
                    </a:cubicBezTo>
                    <a:cubicBezTo>
                      <a:pt x="689894" y="543168"/>
                      <a:pt x="732805" y="540543"/>
                      <a:pt x="732805" y="540543"/>
                    </a:cubicBezTo>
                    <a:cubicBezTo>
                      <a:pt x="747195" y="536946"/>
                      <a:pt x="739233" y="539195"/>
                      <a:pt x="756617" y="533400"/>
                    </a:cubicBezTo>
                    <a:cubicBezTo>
                      <a:pt x="758998" y="532606"/>
                      <a:pt x="761300" y="531510"/>
                      <a:pt x="763761" y="531018"/>
                    </a:cubicBezTo>
                    <a:cubicBezTo>
                      <a:pt x="778128" y="528145"/>
                      <a:pt x="771827" y="529917"/>
                      <a:pt x="782811" y="526256"/>
                    </a:cubicBezTo>
                    <a:cubicBezTo>
                      <a:pt x="795511" y="527050"/>
                      <a:pt x="808186" y="528637"/>
                      <a:pt x="820911" y="528637"/>
                    </a:cubicBezTo>
                    <a:cubicBezTo>
                      <a:pt x="824958" y="528637"/>
                      <a:pt x="830389" y="529494"/>
                      <a:pt x="832817" y="526256"/>
                    </a:cubicBezTo>
                    <a:cubicBezTo>
                      <a:pt x="834534" y="523967"/>
                      <a:pt x="830209" y="520997"/>
                      <a:pt x="828055" y="519112"/>
                    </a:cubicBezTo>
                    <a:cubicBezTo>
                      <a:pt x="820392" y="512407"/>
                      <a:pt x="812947" y="509177"/>
                      <a:pt x="804242" y="504825"/>
                    </a:cubicBezTo>
                    <a:cubicBezTo>
                      <a:pt x="802259" y="498875"/>
                      <a:pt x="798983" y="495312"/>
                      <a:pt x="806624" y="490537"/>
                    </a:cubicBezTo>
                    <a:cubicBezTo>
                      <a:pt x="810881" y="487876"/>
                      <a:pt x="820911" y="485775"/>
                      <a:pt x="820911" y="485775"/>
                    </a:cubicBezTo>
                    <a:cubicBezTo>
                      <a:pt x="833333" y="486315"/>
                      <a:pt x="898751" y="488879"/>
                      <a:pt x="916161" y="490537"/>
                    </a:cubicBezTo>
                    <a:cubicBezTo>
                      <a:pt x="919419" y="490847"/>
                      <a:pt x="922491" y="492208"/>
                      <a:pt x="925686" y="492918"/>
                    </a:cubicBezTo>
                    <a:cubicBezTo>
                      <a:pt x="929637" y="493796"/>
                      <a:pt x="933666" y="494318"/>
                      <a:pt x="937592" y="495300"/>
                    </a:cubicBezTo>
                    <a:cubicBezTo>
                      <a:pt x="966850" y="502615"/>
                      <a:pt x="912810" y="491296"/>
                      <a:pt x="956642" y="500062"/>
                    </a:cubicBezTo>
                    <a:cubicBezTo>
                      <a:pt x="959408" y="522186"/>
                      <a:pt x="960567" y="520446"/>
                      <a:pt x="956642" y="545306"/>
                    </a:cubicBezTo>
                    <a:cubicBezTo>
                      <a:pt x="955621" y="551771"/>
                      <a:pt x="952806" y="557876"/>
                      <a:pt x="951880" y="564356"/>
                    </a:cubicBezTo>
                    <a:cubicBezTo>
                      <a:pt x="949144" y="583510"/>
                      <a:pt x="951275" y="575701"/>
                      <a:pt x="947117" y="588168"/>
                    </a:cubicBezTo>
                    <a:cubicBezTo>
                      <a:pt x="940255" y="587310"/>
                      <a:pt x="925076" y="587559"/>
                      <a:pt x="918542" y="581025"/>
                    </a:cubicBezTo>
                    <a:cubicBezTo>
                      <a:pt x="916767" y="579250"/>
                      <a:pt x="917283" y="576126"/>
                      <a:pt x="916161" y="573881"/>
                    </a:cubicBezTo>
                    <a:cubicBezTo>
                      <a:pt x="912846" y="567249"/>
                      <a:pt x="909522" y="564860"/>
                      <a:pt x="904255" y="559593"/>
                    </a:cubicBezTo>
                    <a:cubicBezTo>
                      <a:pt x="903461" y="557212"/>
                      <a:pt x="902996" y="554695"/>
                      <a:pt x="901874" y="552450"/>
                    </a:cubicBezTo>
                    <a:cubicBezTo>
                      <a:pt x="894550" y="537802"/>
                      <a:pt x="892910" y="545688"/>
                      <a:pt x="870917" y="547687"/>
                    </a:cubicBezTo>
                    <a:cubicBezTo>
                      <a:pt x="869330" y="550862"/>
                      <a:pt x="868665" y="554702"/>
                      <a:pt x="866155" y="557212"/>
                    </a:cubicBezTo>
                    <a:cubicBezTo>
                      <a:pt x="856925" y="566442"/>
                      <a:pt x="849198" y="567627"/>
                      <a:pt x="837580" y="571500"/>
                    </a:cubicBezTo>
                    <a:cubicBezTo>
                      <a:pt x="832817" y="573088"/>
                      <a:pt x="828215" y="575278"/>
                      <a:pt x="823292" y="576262"/>
                    </a:cubicBezTo>
                    <a:cubicBezTo>
                      <a:pt x="808177" y="579285"/>
                      <a:pt x="815312" y="577661"/>
                      <a:pt x="801861" y="581025"/>
                    </a:cubicBezTo>
                    <a:cubicBezTo>
                      <a:pt x="785193" y="592137"/>
                      <a:pt x="790749" y="585788"/>
                      <a:pt x="782811" y="597693"/>
                    </a:cubicBezTo>
                    <a:cubicBezTo>
                      <a:pt x="782017" y="600074"/>
                      <a:pt x="781553" y="602592"/>
                      <a:pt x="780430" y="604837"/>
                    </a:cubicBezTo>
                    <a:cubicBezTo>
                      <a:pt x="773471" y="618754"/>
                      <a:pt x="777276" y="605157"/>
                      <a:pt x="773286" y="619125"/>
                    </a:cubicBezTo>
                    <a:cubicBezTo>
                      <a:pt x="772387" y="622272"/>
                      <a:pt x="771804" y="625503"/>
                      <a:pt x="770905" y="628650"/>
                    </a:cubicBezTo>
                    <a:cubicBezTo>
                      <a:pt x="768743" y="636216"/>
                      <a:pt x="766780" y="639650"/>
                      <a:pt x="763761" y="647700"/>
                    </a:cubicBezTo>
                    <a:cubicBezTo>
                      <a:pt x="762880" y="650050"/>
                      <a:pt x="762772" y="652755"/>
                      <a:pt x="761380" y="654843"/>
                    </a:cubicBezTo>
                    <a:cubicBezTo>
                      <a:pt x="759512" y="657645"/>
                      <a:pt x="756392" y="659400"/>
                      <a:pt x="754236" y="661987"/>
                    </a:cubicBezTo>
                    <a:cubicBezTo>
                      <a:pt x="752404" y="664186"/>
                      <a:pt x="751498" y="667107"/>
                      <a:pt x="749474" y="669131"/>
                    </a:cubicBezTo>
                    <a:cubicBezTo>
                      <a:pt x="745947" y="672658"/>
                      <a:pt x="727997" y="684243"/>
                      <a:pt x="725661" y="685800"/>
                    </a:cubicBezTo>
                    <a:cubicBezTo>
                      <a:pt x="723280" y="687387"/>
                      <a:pt x="721174" y="689499"/>
                      <a:pt x="718517" y="690562"/>
                    </a:cubicBezTo>
                    <a:cubicBezTo>
                      <a:pt x="710580" y="693737"/>
                      <a:pt x="701818" y="695345"/>
                      <a:pt x="694705" y="700087"/>
                    </a:cubicBezTo>
                    <a:cubicBezTo>
                      <a:pt x="692324" y="701675"/>
                      <a:pt x="690074" y="703479"/>
                      <a:pt x="687561" y="704850"/>
                    </a:cubicBezTo>
                    <a:cubicBezTo>
                      <a:pt x="681328" y="708250"/>
                      <a:pt x="674418" y="710437"/>
                      <a:pt x="668511" y="714375"/>
                    </a:cubicBezTo>
                    <a:cubicBezTo>
                      <a:pt x="659279" y="720529"/>
                      <a:pt x="664082" y="718232"/>
                      <a:pt x="654224" y="721518"/>
                    </a:cubicBezTo>
                    <a:cubicBezTo>
                      <a:pt x="651843" y="723106"/>
                      <a:pt x="648868" y="724046"/>
                      <a:pt x="647080" y="726281"/>
                    </a:cubicBezTo>
                    <a:cubicBezTo>
                      <a:pt x="645512" y="728241"/>
                      <a:pt x="645822" y="731180"/>
                      <a:pt x="644699" y="733425"/>
                    </a:cubicBezTo>
                    <a:cubicBezTo>
                      <a:pt x="643419" y="735985"/>
                      <a:pt x="641524" y="738187"/>
                      <a:pt x="639936" y="740568"/>
                    </a:cubicBezTo>
                    <a:cubicBezTo>
                      <a:pt x="639142" y="742949"/>
                      <a:pt x="639123" y="745752"/>
                      <a:pt x="637555" y="747712"/>
                    </a:cubicBezTo>
                    <a:cubicBezTo>
                      <a:pt x="634218" y="751883"/>
                      <a:pt x="625720" y="754534"/>
                      <a:pt x="620886" y="754856"/>
                    </a:cubicBezTo>
                    <a:cubicBezTo>
                      <a:pt x="600279" y="756230"/>
                      <a:pt x="579611" y="756443"/>
                      <a:pt x="558974" y="757237"/>
                    </a:cubicBezTo>
                    <a:cubicBezTo>
                      <a:pt x="560094" y="765080"/>
                      <a:pt x="564203" y="782732"/>
                      <a:pt x="558974" y="790575"/>
                    </a:cubicBezTo>
                    <a:cubicBezTo>
                      <a:pt x="556603" y="794132"/>
                      <a:pt x="551161" y="794109"/>
                      <a:pt x="547067" y="795337"/>
                    </a:cubicBezTo>
                    <a:cubicBezTo>
                      <a:pt x="543190" y="796500"/>
                      <a:pt x="539112" y="796840"/>
                      <a:pt x="535161" y="797718"/>
                    </a:cubicBezTo>
                    <a:cubicBezTo>
                      <a:pt x="531966" y="798428"/>
                      <a:pt x="528811" y="799306"/>
                      <a:pt x="525636" y="800100"/>
                    </a:cubicBezTo>
                    <a:cubicBezTo>
                      <a:pt x="509761" y="797719"/>
                      <a:pt x="493446" y="797366"/>
                      <a:pt x="478011" y="792956"/>
                    </a:cubicBezTo>
                    <a:cubicBezTo>
                      <a:pt x="475597" y="792266"/>
                      <a:pt x="476619" y="788119"/>
                      <a:pt x="475630" y="785812"/>
                    </a:cubicBezTo>
                    <a:cubicBezTo>
                      <a:pt x="474232" y="782549"/>
                      <a:pt x="472930" y="779176"/>
                      <a:pt x="470867" y="776287"/>
                    </a:cubicBezTo>
                    <a:cubicBezTo>
                      <a:pt x="465292" y="768482"/>
                      <a:pt x="464427" y="769377"/>
                      <a:pt x="456580" y="766762"/>
                    </a:cubicBezTo>
                    <a:cubicBezTo>
                      <a:pt x="447849" y="767556"/>
                      <a:pt x="436903" y="763278"/>
                      <a:pt x="430386" y="769143"/>
                    </a:cubicBezTo>
                    <a:cubicBezTo>
                      <a:pt x="418498" y="779842"/>
                      <a:pt x="435971" y="789821"/>
                      <a:pt x="439911" y="795337"/>
                    </a:cubicBezTo>
                    <a:cubicBezTo>
                      <a:pt x="441974" y="798226"/>
                      <a:pt x="442164" y="802352"/>
                      <a:pt x="444674" y="804862"/>
                    </a:cubicBezTo>
                    <a:cubicBezTo>
                      <a:pt x="446449" y="806637"/>
                      <a:pt x="449436" y="806449"/>
                      <a:pt x="451817" y="807243"/>
                    </a:cubicBezTo>
                    <a:cubicBezTo>
                      <a:pt x="454198" y="808831"/>
                      <a:pt x="456401" y="810726"/>
                      <a:pt x="458961" y="812006"/>
                    </a:cubicBezTo>
                    <a:cubicBezTo>
                      <a:pt x="474695" y="819873"/>
                      <a:pt x="457318" y="807771"/>
                      <a:pt x="473249" y="819150"/>
                    </a:cubicBezTo>
                    <a:cubicBezTo>
                      <a:pt x="476478" y="821457"/>
                      <a:pt x="479545" y="823986"/>
                      <a:pt x="482774" y="826293"/>
                    </a:cubicBezTo>
                    <a:cubicBezTo>
                      <a:pt x="485103" y="827956"/>
                      <a:pt x="487628" y="829339"/>
                      <a:pt x="489917" y="831056"/>
                    </a:cubicBezTo>
                    <a:cubicBezTo>
                      <a:pt x="505445" y="842703"/>
                      <a:pt x="496182" y="838700"/>
                      <a:pt x="508967" y="842962"/>
                    </a:cubicBezTo>
                    <a:cubicBezTo>
                      <a:pt x="511348" y="844550"/>
                      <a:pt x="513912" y="845893"/>
                      <a:pt x="516111" y="847725"/>
                    </a:cubicBezTo>
                    <a:cubicBezTo>
                      <a:pt x="518698" y="849881"/>
                      <a:pt x="520515" y="852911"/>
                      <a:pt x="523255" y="854868"/>
                    </a:cubicBezTo>
                    <a:cubicBezTo>
                      <a:pt x="526144" y="856931"/>
                      <a:pt x="529770" y="857750"/>
                      <a:pt x="532780" y="859631"/>
                    </a:cubicBezTo>
                    <a:cubicBezTo>
                      <a:pt x="536145" y="861735"/>
                      <a:pt x="539054" y="864499"/>
                      <a:pt x="542305" y="866775"/>
                    </a:cubicBezTo>
                    <a:cubicBezTo>
                      <a:pt x="546994" y="870057"/>
                      <a:pt x="552545" y="872253"/>
                      <a:pt x="556592" y="876300"/>
                    </a:cubicBezTo>
                    <a:cubicBezTo>
                      <a:pt x="575285" y="894992"/>
                      <a:pt x="568902" y="886430"/>
                      <a:pt x="578024" y="900112"/>
                    </a:cubicBezTo>
                    <a:cubicBezTo>
                      <a:pt x="579611" y="904875"/>
                      <a:pt x="581802" y="909477"/>
                      <a:pt x="582786" y="914400"/>
                    </a:cubicBezTo>
                    <a:cubicBezTo>
                      <a:pt x="583580" y="918369"/>
                      <a:pt x="583887" y="922466"/>
                      <a:pt x="585167" y="926306"/>
                    </a:cubicBezTo>
                    <a:cubicBezTo>
                      <a:pt x="589338" y="938819"/>
                      <a:pt x="589470" y="932532"/>
                      <a:pt x="594692" y="942975"/>
                    </a:cubicBezTo>
                    <a:cubicBezTo>
                      <a:pt x="595815" y="945220"/>
                      <a:pt x="596280" y="947737"/>
                      <a:pt x="597074" y="950118"/>
                    </a:cubicBezTo>
                    <a:cubicBezTo>
                      <a:pt x="597868" y="958056"/>
                      <a:pt x="598242" y="966046"/>
                      <a:pt x="599455" y="973931"/>
                    </a:cubicBezTo>
                    <a:cubicBezTo>
                      <a:pt x="599837" y="976412"/>
                      <a:pt x="600444" y="978986"/>
                      <a:pt x="601836" y="981075"/>
                    </a:cubicBezTo>
                    <a:cubicBezTo>
                      <a:pt x="603704" y="983877"/>
                      <a:pt x="606913" y="985560"/>
                      <a:pt x="608980" y="988218"/>
                    </a:cubicBezTo>
                    <a:cubicBezTo>
                      <a:pt x="612494" y="992736"/>
                      <a:pt x="615330" y="997743"/>
                      <a:pt x="618505" y="1002506"/>
                    </a:cubicBezTo>
                    <a:cubicBezTo>
                      <a:pt x="620092" y="1004887"/>
                      <a:pt x="621243" y="1007626"/>
                      <a:pt x="623267" y="1009650"/>
                    </a:cubicBezTo>
                    <a:cubicBezTo>
                      <a:pt x="632435" y="1018817"/>
                      <a:pt x="627609" y="1014925"/>
                      <a:pt x="637555" y="1021556"/>
                    </a:cubicBezTo>
                    <a:cubicBezTo>
                      <a:pt x="639142" y="1023937"/>
                      <a:pt x="640485" y="1026501"/>
                      <a:pt x="642317" y="1028700"/>
                    </a:cubicBezTo>
                    <a:cubicBezTo>
                      <a:pt x="646049" y="1033178"/>
                      <a:pt x="654096" y="1040270"/>
                      <a:pt x="658986" y="1042987"/>
                    </a:cubicBezTo>
                    <a:cubicBezTo>
                      <a:pt x="663261" y="1045362"/>
                      <a:pt x="672686" y="1048348"/>
                      <a:pt x="678036" y="1050131"/>
                    </a:cubicBezTo>
                    <a:cubicBezTo>
                      <a:pt x="702119" y="1086254"/>
                      <a:pt x="676047" y="1049172"/>
                      <a:pt x="694705" y="1071562"/>
                    </a:cubicBezTo>
                    <a:cubicBezTo>
                      <a:pt x="696537" y="1073761"/>
                      <a:pt x="697635" y="1076507"/>
                      <a:pt x="699467" y="1078706"/>
                    </a:cubicBezTo>
                    <a:cubicBezTo>
                      <a:pt x="701623" y="1081293"/>
                      <a:pt x="704455" y="1083263"/>
                      <a:pt x="706611" y="1085850"/>
                    </a:cubicBezTo>
                    <a:cubicBezTo>
                      <a:pt x="708443" y="1088048"/>
                      <a:pt x="709954" y="1090508"/>
                      <a:pt x="711374" y="1092993"/>
                    </a:cubicBezTo>
                    <a:cubicBezTo>
                      <a:pt x="713135" y="1096075"/>
                      <a:pt x="713826" y="1099823"/>
                      <a:pt x="716136" y="1102518"/>
                    </a:cubicBezTo>
                    <a:cubicBezTo>
                      <a:pt x="718719" y="1105531"/>
                      <a:pt x="722648" y="1107079"/>
                      <a:pt x="725661" y="1109662"/>
                    </a:cubicBezTo>
                    <a:cubicBezTo>
                      <a:pt x="728218" y="1111854"/>
                      <a:pt x="730424" y="1114425"/>
                      <a:pt x="732805" y="1116806"/>
                    </a:cubicBezTo>
                    <a:cubicBezTo>
                      <a:pt x="732011" y="1123156"/>
                      <a:pt x="736148" y="1132994"/>
                      <a:pt x="730424" y="1135856"/>
                    </a:cubicBezTo>
                    <a:cubicBezTo>
                      <a:pt x="721167" y="1140484"/>
                      <a:pt x="709690" y="1135089"/>
                      <a:pt x="699467" y="1133475"/>
                    </a:cubicBezTo>
                    <a:cubicBezTo>
                      <a:pt x="688330" y="1131717"/>
                      <a:pt x="686013" y="1129267"/>
                      <a:pt x="678036" y="1123950"/>
                    </a:cubicBezTo>
                    <a:cubicBezTo>
                      <a:pt x="677242" y="1121569"/>
                      <a:pt x="677223" y="1118766"/>
                      <a:pt x="675655" y="1116806"/>
                    </a:cubicBezTo>
                    <a:cubicBezTo>
                      <a:pt x="671675" y="1111831"/>
                      <a:pt x="666620" y="1111913"/>
                      <a:pt x="661367" y="1109662"/>
                    </a:cubicBezTo>
                    <a:cubicBezTo>
                      <a:pt x="658104" y="1108264"/>
                      <a:pt x="655166" y="1106146"/>
                      <a:pt x="651842" y="1104900"/>
                    </a:cubicBezTo>
                    <a:cubicBezTo>
                      <a:pt x="647992" y="1103456"/>
                      <a:pt x="633653" y="1100785"/>
                      <a:pt x="630411" y="1100137"/>
                    </a:cubicBezTo>
                    <a:cubicBezTo>
                      <a:pt x="627236" y="1098550"/>
                      <a:pt x="624149" y="1096773"/>
                      <a:pt x="620886" y="1095375"/>
                    </a:cubicBezTo>
                    <a:cubicBezTo>
                      <a:pt x="618579" y="1094386"/>
                      <a:pt x="615831" y="1094385"/>
                      <a:pt x="613742" y="1092993"/>
                    </a:cubicBezTo>
                    <a:cubicBezTo>
                      <a:pt x="605967" y="1087810"/>
                      <a:pt x="606056" y="1082926"/>
                      <a:pt x="599455" y="1076325"/>
                    </a:cubicBezTo>
                    <a:cubicBezTo>
                      <a:pt x="597431" y="1074301"/>
                      <a:pt x="594871" y="1072842"/>
                      <a:pt x="592311" y="1071562"/>
                    </a:cubicBezTo>
                    <a:cubicBezTo>
                      <a:pt x="584971" y="1067892"/>
                      <a:pt x="572680" y="1067620"/>
                      <a:pt x="566117" y="1066800"/>
                    </a:cubicBezTo>
                    <a:cubicBezTo>
                      <a:pt x="562467" y="1065340"/>
                      <a:pt x="552049" y="1060901"/>
                      <a:pt x="547067" y="1059656"/>
                    </a:cubicBezTo>
                    <a:cubicBezTo>
                      <a:pt x="543141" y="1058674"/>
                      <a:pt x="539130" y="1058069"/>
                      <a:pt x="535161" y="1057275"/>
                    </a:cubicBezTo>
                    <a:cubicBezTo>
                      <a:pt x="535955" y="1052512"/>
                      <a:pt x="534362" y="1046621"/>
                      <a:pt x="537542" y="1042987"/>
                    </a:cubicBezTo>
                    <a:cubicBezTo>
                      <a:pt x="540848" y="1039209"/>
                      <a:pt x="547340" y="1040470"/>
                      <a:pt x="551830" y="1038225"/>
                    </a:cubicBezTo>
                    <a:lnTo>
                      <a:pt x="561355" y="1033462"/>
                    </a:lnTo>
                    <a:cubicBezTo>
                      <a:pt x="565876" y="1019897"/>
                      <a:pt x="564393" y="1027673"/>
                      <a:pt x="561355" y="1004887"/>
                    </a:cubicBezTo>
                    <a:cubicBezTo>
                      <a:pt x="560291" y="996910"/>
                      <a:pt x="559736" y="987704"/>
                      <a:pt x="554211" y="981075"/>
                    </a:cubicBezTo>
                    <a:cubicBezTo>
                      <a:pt x="552379" y="978876"/>
                      <a:pt x="549396" y="977976"/>
                      <a:pt x="547067" y="976312"/>
                    </a:cubicBezTo>
                    <a:cubicBezTo>
                      <a:pt x="543838" y="974005"/>
                      <a:pt x="540492" y="971823"/>
                      <a:pt x="537542" y="969168"/>
                    </a:cubicBezTo>
                    <a:cubicBezTo>
                      <a:pt x="526890" y="959581"/>
                      <a:pt x="526454" y="955760"/>
                      <a:pt x="516111" y="950118"/>
                    </a:cubicBezTo>
                    <a:cubicBezTo>
                      <a:pt x="509878" y="946718"/>
                      <a:pt x="503411" y="943768"/>
                      <a:pt x="497061" y="940593"/>
                    </a:cubicBezTo>
                    <a:cubicBezTo>
                      <a:pt x="493886" y="939006"/>
                      <a:pt x="490580" y="937657"/>
                      <a:pt x="487536" y="935831"/>
                    </a:cubicBezTo>
                    <a:cubicBezTo>
                      <a:pt x="483567" y="933450"/>
                      <a:pt x="479927" y="930406"/>
                      <a:pt x="475630" y="928687"/>
                    </a:cubicBezTo>
                    <a:cubicBezTo>
                      <a:pt x="471872" y="927184"/>
                      <a:pt x="467760" y="926605"/>
                      <a:pt x="463724" y="926306"/>
                    </a:cubicBezTo>
                    <a:cubicBezTo>
                      <a:pt x="446291" y="925015"/>
                      <a:pt x="428799" y="924719"/>
                      <a:pt x="411336" y="923925"/>
                    </a:cubicBezTo>
                    <a:cubicBezTo>
                      <a:pt x="393371" y="917935"/>
                      <a:pt x="415521" y="926017"/>
                      <a:pt x="397049" y="916781"/>
                    </a:cubicBezTo>
                    <a:cubicBezTo>
                      <a:pt x="394804" y="915659"/>
                      <a:pt x="392319" y="915090"/>
                      <a:pt x="389905" y="914400"/>
                    </a:cubicBezTo>
                    <a:cubicBezTo>
                      <a:pt x="372782" y="909507"/>
                      <a:pt x="388130" y="914551"/>
                      <a:pt x="368474" y="909637"/>
                    </a:cubicBezTo>
                    <a:cubicBezTo>
                      <a:pt x="366039" y="909028"/>
                      <a:pt x="363780" y="907800"/>
                      <a:pt x="361330" y="907256"/>
                    </a:cubicBezTo>
                    <a:cubicBezTo>
                      <a:pt x="356617" y="906209"/>
                      <a:pt x="351805" y="905669"/>
                      <a:pt x="347042" y="904875"/>
                    </a:cubicBezTo>
                    <a:cubicBezTo>
                      <a:pt x="330723" y="899433"/>
                      <a:pt x="350965" y="905855"/>
                      <a:pt x="327992" y="900112"/>
                    </a:cubicBezTo>
                    <a:cubicBezTo>
                      <a:pt x="325557" y="899503"/>
                      <a:pt x="323262" y="898420"/>
                      <a:pt x="320849" y="897731"/>
                    </a:cubicBezTo>
                    <a:cubicBezTo>
                      <a:pt x="317702" y="896832"/>
                      <a:pt x="314499" y="896144"/>
                      <a:pt x="311324" y="895350"/>
                    </a:cubicBezTo>
                    <a:cubicBezTo>
                      <a:pt x="297672" y="874873"/>
                      <a:pt x="315851" y="898973"/>
                      <a:pt x="299417" y="885825"/>
                    </a:cubicBezTo>
                    <a:cubicBezTo>
                      <a:pt x="297182" y="884037"/>
                      <a:pt x="296679" y="880705"/>
                      <a:pt x="294655" y="878681"/>
                    </a:cubicBezTo>
                    <a:cubicBezTo>
                      <a:pt x="292631" y="876657"/>
                      <a:pt x="289892" y="875506"/>
                      <a:pt x="287511" y="873918"/>
                    </a:cubicBezTo>
                    <a:cubicBezTo>
                      <a:pt x="276292" y="857090"/>
                      <a:pt x="290368" y="877917"/>
                      <a:pt x="275605" y="857250"/>
                    </a:cubicBezTo>
                    <a:cubicBezTo>
                      <a:pt x="268680" y="847556"/>
                      <a:pt x="271462" y="849360"/>
                      <a:pt x="261317" y="838200"/>
                    </a:cubicBezTo>
                    <a:cubicBezTo>
                      <a:pt x="256786" y="833216"/>
                      <a:pt x="250766" y="829516"/>
                      <a:pt x="247030" y="823912"/>
                    </a:cubicBezTo>
                    <a:cubicBezTo>
                      <a:pt x="242721" y="817449"/>
                      <a:pt x="238865" y="807697"/>
                      <a:pt x="230361" y="804862"/>
                    </a:cubicBezTo>
                    <a:cubicBezTo>
                      <a:pt x="225999" y="803408"/>
                      <a:pt x="199342" y="800457"/>
                      <a:pt x="197024" y="800100"/>
                    </a:cubicBezTo>
                    <a:cubicBezTo>
                      <a:pt x="193023" y="799484"/>
                      <a:pt x="189099" y="798442"/>
                      <a:pt x="185117" y="797718"/>
                    </a:cubicBezTo>
                    <a:cubicBezTo>
                      <a:pt x="180367" y="796854"/>
                      <a:pt x="175592" y="796131"/>
                      <a:pt x="170830" y="795337"/>
                    </a:cubicBezTo>
                    <a:cubicBezTo>
                      <a:pt x="166861" y="793750"/>
                      <a:pt x="163192" y="790812"/>
                      <a:pt x="158924" y="790575"/>
                    </a:cubicBezTo>
                    <a:cubicBezTo>
                      <a:pt x="146776" y="789900"/>
                      <a:pt x="124978" y="793383"/>
                      <a:pt x="111299" y="795337"/>
                    </a:cubicBezTo>
                    <a:cubicBezTo>
                      <a:pt x="100186" y="793750"/>
                      <a:pt x="89016" y="792526"/>
                      <a:pt x="77961" y="790575"/>
                    </a:cubicBezTo>
                    <a:cubicBezTo>
                      <a:pt x="75489" y="790139"/>
                      <a:pt x="71940" y="790438"/>
                      <a:pt x="70817" y="788193"/>
                    </a:cubicBezTo>
                    <a:cubicBezTo>
                      <a:pt x="69695" y="785948"/>
                      <a:pt x="72509" y="783463"/>
                      <a:pt x="73199" y="781050"/>
                    </a:cubicBezTo>
                    <a:cubicBezTo>
                      <a:pt x="74098" y="777903"/>
                      <a:pt x="74786" y="774700"/>
                      <a:pt x="75580" y="771525"/>
                    </a:cubicBezTo>
                    <a:cubicBezTo>
                      <a:pt x="74786" y="766762"/>
                      <a:pt x="75632" y="761408"/>
                      <a:pt x="73199" y="757237"/>
                    </a:cubicBezTo>
                    <a:cubicBezTo>
                      <a:pt x="64438" y="742218"/>
                      <a:pt x="61306" y="746137"/>
                      <a:pt x="51767" y="738187"/>
                    </a:cubicBezTo>
                    <a:cubicBezTo>
                      <a:pt x="44865" y="732434"/>
                      <a:pt x="43231" y="729942"/>
                      <a:pt x="39861" y="721518"/>
                    </a:cubicBezTo>
                    <a:cubicBezTo>
                      <a:pt x="37997" y="716857"/>
                      <a:pt x="36317" y="712101"/>
                      <a:pt x="35099" y="707231"/>
                    </a:cubicBezTo>
                    <a:cubicBezTo>
                      <a:pt x="34305" y="704056"/>
                      <a:pt x="34006" y="700714"/>
                      <a:pt x="32717" y="697706"/>
                    </a:cubicBezTo>
                    <a:cubicBezTo>
                      <a:pt x="31590" y="695076"/>
                      <a:pt x="29154" y="693160"/>
                      <a:pt x="27955" y="690562"/>
                    </a:cubicBezTo>
                    <a:cubicBezTo>
                      <a:pt x="24373" y="682800"/>
                      <a:pt x="18430" y="666750"/>
                      <a:pt x="18430" y="666750"/>
                    </a:cubicBezTo>
                    <a:cubicBezTo>
                      <a:pt x="17636" y="661987"/>
                      <a:pt x="16732" y="657242"/>
                      <a:pt x="16049" y="652462"/>
                    </a:cubicBezTo>
                    <a:cubicBezTo>
                      <a:pt x="14671" y="642815"/>
                      <a:pt x="13081" y="626616"/>
                      <a:pt x="11286" y="616743"/>
                    </a:cubicBezTo>
                    <a:cubicBezTo>
                      <a:pt x="10701" y="613523"/>
                      <a:pt x="9547" y="610427"/>
                      <a:pt x="8905" y="607218"/>
                    </a:cubicBezTo>
                    <a:cubicBezTo>
                      <a:pt x="7958" y="602484"/>
                      <a:pt x="7571" y="597644"/>
                      <a:pt x="6524" y="592931"/>
                    </a:cubicBezTo>
                    <a:cubicBezTo>
                      <a:pt x="5979" y="590481"/>
                      <a:pt x="4751" y="588222"/>
                      <a:pt x="4142" y="585787"/>
                    </a:cubicBezTo>
                    <a:cubicBezTo>
                      <a:pt x="3160" y="581861"/>
                      <a:pt x="2826" y="577786"/>
                      <a:pt x="1761" y="573881"/>
                    </a:cubicBezTo>
                    <a:cubicBezTo>
                      <a:pt x="-3252" y="555498"/>
                      <a:pt x="3746" y="545306"/>
                      <a:pt x="6524" y="53816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6" name="Freeform 245"/>
              <p:cNvSpPr/>
              <p:nvPr/>
            </p:nvSpPr>
            <p:spPr>
              <a:xfrm>
                <a:off x="7246823" y="3405867"/>
                <a:ext cx="92869" cy="121444"/>
              </a:xfrm>
              <a:custGeom>
                <a:avLst/>
                <a:gdLst>
                  <a:gd name="connsiteX0" fmla="*/ 85725 w 92869"/>
                  <a:gd name="connsiteY0" fmla="*/ 9525 h 121444"/>
                  <a:gd name="connsiteX1" fmla="*/ 73819 w 92869"/>
                  <a:gd name="connsiteY1" fmla="*/ 7144 h 121444"/>
                  <a:gd name="connsiteX2" fmla="*/ 57150 w 92869"/>
                  <a:gd name="connsiteY2" fmla="*/ 2381 h 121444"/>
                  <a:gd name="connsiteX3" fmla="*/ 42863 w 92869"/>
                  <a:gd name="connsiteY3" fmla="*/ 0 h 121444"/>
                  <a:gd name="connsiteX4" fmla="*/ 26194 w 92869"/>
                  <a:gd name="connsiteY4" fmla="*/ 4763 h 121444"/>
                  <a:gd name="connsiteX5" fmla="*/ 11907 w 92869"/>
                  <a:gd name="connsiteY5" fmla="*/ 14288 h 121444"/>
                  <a:gd name="connsiteX6" fmla="*/ 7144 w 92869"/>
                  <a:gd name="connsiteY6" fmla="*/ 28575 h 121444"/>
                  <a:gd name="connsiteX7" fmla="*/ 4763 w 92869"/>
                  <a:gd name="connsiteY7" fmla="*/ 45244 h 121444"/>
                  <a:gd name="connsiteX8" fmla="*/ 2382 w 92869"/>
                  <a:gd name="connsiteY8" fmla="*/ 64294 h 121444"/>
                  <a:gd name="connsiteX9" fmla="*/ 0 w 92869"/>
                  <a:gd name="connsiteY9" fmla="*/ 73819 h 121444"/>
                  <a:gd name="connsiteX10" fmla="*/ 2382 w 92869"/>
                  <a:gd name="connsiteY10" fmla="*/ 109538 h 121444"/>
                  <a:gd name="connsiteX11" fmla="*/ 4763 w 92869"/>
                  <a:gd name="connsiteY11" fmla="*/ 116681 h 121444"/>
                  <a:gd name="connsiteX12" fmla="*/ 11907 w 92869"/>
                  <a:gd name="connsiteY12" fmla="*/ 121444 h 121444"/>
                  <a:gd name="connsiteX13" fmla="*/ 30957 w 92869"/>
                  <a:gd name="connsiteY13" fmla="*/ 114300 h 121444"/>
                  <a:gd name="connsiteX14" fmla="*/ 38100 w 92869"/>
                  <a:gd name="connsiteY14" fmla="*/ 107156 h 121444"/>
                  <a:gd name="connsiteX15" fmla="*/ 50007 w 92869"/>
                  <a:gd name="connsiteY15" fmla="*/ 92869 h 121444"/>
                  <a:gd name="connsiteX16" fmla="*/ 59532 w 92869"/>
                  <a:gd name="connsiteY16" fmla="*/ 90488 h 121444"/>
                  <a:gd name="connsiteX17" fmla="*/ 64294 w 92869"/>
                  <a:gd name="connsiteY17" fmla="*/ 83344 h 121444"/>
                  <a:gd name="connsiteX18" fmla="*/ 69057 w 92869"/>
                  <a:gd name="connsiteY18" fmla="*/ 69056 h 121444"/>
                  <a:gd name="connsiteX19" fmla="*/ 73819 w 92869"/>
                  <a:gd name="connsiteY19" fmla="*/ 61913 h 121444"/>
                  <a:gd name="connsiteX20" fmla="*/ 78582 w 92869"/>
                  <a:gd name="connsiteY20" fmla="*/ 47625 h 121444"/>
                  <a:gd name="connsiteX21" fmla="*/ 92869 w 92869"/>
                  <a:gd name="connsiteY21" fmla="*/ 33338 h 121444"/>
                  <a:gd name="connsiteX22" fmla="*/ 85725 w 92869"/>
                  <a:gd name="connsiteY22" fmla="*/ 9525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2869" h="121444">
                    <a:moveTo>
                      <a:pt x="85725" y="9525"/>
                    </a:moveTo>
                    <a:cubicBezTo>
                      <a:pt x="82550" y="5159"/>
                      <a:pt x="77745" y="8126"/>
                      <a:pt x="73819" y="7144"/>
                    </a:cubicBezTo>
                    <a:cubicBezTo>
                      <a:pt x="55668" y="2607"/>
                      <a:pt x="79414" y="6834"/>
                      <a:pt x="57150" y="2381"/>
                    </a:cubicBezTo>
                    <a:cubicBezTo>
                      <a:pt x="52416" y="1434"/>
                      <a:pt x="47625" y="794"/>
                      <a:pt x="42863" y="0"/>
                    </a:cubicBezTo>
                    <a:cubicBezTo>
                      <a:pt x="40616" y="562"/>
                      <a:pt x="28992" y="3208"/>
                      <a:pt x="26194" y="4763"/>
                    </a:cubicBezTo>
                    <a:cubicBezTo>
                      <a:pt x="21191" y="7543"/>
                      <a:pt x="11907" y="14288"/>
                      <a:pt x="11907" y="14288"/>
                    </a:cubicBezTo>
                    <a:cubicBezTo>
                      <a:pt x="10319" y="19050"/>
                      <a:pt x="7854" y="23605"/>
                      <a:pt x="7144" y="28575"/>
                    </a:cubicBezTo>
                    <a:cubicBezTo>
                      <a:pt x="6350" y="34131"/>
                      <a:pt x="5505" y="39680"/>
                      <a:pt x="4763" y="45244"/>
                    </a:cubicBezTo>
                    <a:cubicBezTo>
                      <a:pt x="3917" y="51587"/>
                      <a:pt x="3434" y="57982"/>
                      <a:pt x="2382" y="64294"/>
                    </a:cubicBezTo>
                    <a:cubicBezTo>
                      <a:pt x="1844" y="67522"/>
                      <a:pt x="794" y="70644"/>
                      <a:pt x="0" y="73819"/>
                    </a:cubicBezTo>
                    <a:cubicBezTo>
                      <a:pt x="794" y="85725"/>
                      <a:pt x="1064" y="97678"/>
                      <a:pt x="2382" y="109538"/>
                    </a:cubicBezTo>
                    <a:cubicBezTo>
                      <a:pt x="2659" y="112032"/>
                      <a:pt x="3195" y="114721"/>
                      <a:pt x="4763" y="116681"/>
                    </a:cubicBezTo>
                    <a:cubicBezTo>
                      <a:pt x="6551" y="118916"/>
                      <a:pt x="9526" y="119856"/>
                      <a:pt x="11907" y="121444"/>
                    </a:cubicBezTo>
                    <a:cubicBezTo>
                      <a:pt x="22708" y="119284"/>
                      <a:pt x="23212" y="120755"/>
                      <a:pt x="30957" y="114300"/>
                    </a:cubicBezTo>
                    <a:cubicBezTo>
                      <a:pt x="33544" y="112144"/>
                      <a:pt x="35944" y="109743"/>
                      <a:pt x="38100" y="107156"/>
                    </a:cubicBezTo>
                    <a:cubicBezTo>
                      <a:pt x="42581" y="101778"/>
                      <a:pt x="43369" y="96662"/>
                      <a:pt x="50007" y="92869"/>
                    </a:cubicBezTo>
                    <a:cubicBezTo>
                      <a:pt x="52849" y="91245"/>
                      <a:pt x="56357" y="91282"/>
                      <a:pt x="59532" y="90488"/>
                    </a:cubicBezTo>
                    <a:cubicBezTo>
                      <a:pt x="61119" y="88107"/>
                      <a:pt x="63132" y="85959"/>
                      <a:pt x="64294" y="83344"/>
                    </a:cubicBezTo>
                    <a:cubicBezTo>
                      <a:pt x="66333" y="78756"/>
                      <a:pt x="66272" y="73233"/>
                      <a:pt x="69057" y="69056"/>
                    </a:cubicBezTo>
                    <a:lnTo>
                      <a:pt x="73819" y="61913"/>
                    </a:lnTo>
                    <a:cubicBezTo>
                      <a:pt x="75407" y="57150"/>
                      <a:pt x="75032" y="51175"/>
                      <a:pt x="78582" y="47625"/>
                    </a:cubicBezTo>
                    <a:lnTo>
                      <a:pt x="92869" y="33338"/>
                    </a:lnTo>
                    <a:cubicBezTo>
                      <a:pt x="90237" y="14912"/>
                      <a:pt x="88900" y="13891"/>
                      <a:pt x="85725" y="95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7" name="Freeform 246"/>
              <p:cNvSpPr/>
              <p:nvPr/>
            </p:nvSpPr>
            <p:spPr>
              <a:xfrm>
                <a:off x="7353661" y="3440965"/>
                <a:ext cx="76545" cy="88727"/>
              </a:xfrm>
              <a:custGeom>
                <a:avLst/>
                <a:gdLst>
                  <a:gd name="connsiteX0" fmla="*/ 59850 w 76545"/>
                  <a:gd name="connsiteY0" fmla="*/ 3002 h 88727"/>
                  <a:gd name="connsiteX1" fmla="*/ 19369 w 76545"/>
                  <a:gd name="connsiteY1" fmla="*/ 3002 h 88727"/>
                  <a:gd name="connsiteX2" fmla="*/ 9844 w 76545"/>
                  <a:gd name="connsiteY2" fmla="*/ 17290 h 88727"/>
                  <a:gd name="connsiteX3" fmla="*/ 5081 w 76545"/>
                  <a:gd name="connsiteY3" fmla="*/ 24433 h 88727"/>
                  <a:gd name="connsiteX4" fmla="*/ 319 w 76545"/>
                  <a:gd name="connsiteY4" fmla="*/ 38721 h 88727"/>
                  <a:gd name="connsiteX5" fmla="*/ 2700 w 76545"/>
                  <a:gd name="connsiteY5" fmla="*/ 45865 h 88727"/>
                  <a:gd name="connsiteX6" fmla="*/ 26512 w 76545"/>
                  <a:gd name="connsiteY6" fmla="*/ 69677 h 88727"/>
                  <a:gd name="connsiteX7" fmla="*/ 40800 w 76545"/>
                  <a:gd name="connsiteY7" fmla="*/ 79202 h 88727"/>
                  <a:gd name="connsiteX8" fmla="*/ 47944 w 76545"/>
                  <a:gd name="connsiteY8" fmla="*/ 81583 h 88727"/>
                  <a:gd name="connsiteX9" fmla="*/ 62231 w 76545"/>
                  <a:gd name="connsiteY9" fmla="*/ 88727 h 88727"/>
                  <a:gd name="connsiteX10" fmla="*/ 74137 w 76545"/>
                  <a:gd name="connsiteY10" fmla="*/ 86346 h 88727"/>
                  <a:gd name="connsiteX11" fmla="*/ 74137 w 76545"/>
                  <a:gd name="connsiteY11" fmla="*/ 7765 h 88727"/>
                  <a:gd name="connsiteX12" fmla="*/ 59850 w 76545"/>
                  <a:gd name="connsiteY12" fmla="*/ 3002 h 8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545" h="88727">
                    <a:moveTo>
                      <a:pt x="59850" y="3002"/>
                    </a:moveTo>
                    <a:cubicBezTo>
                      <a:pt x="50722" y="2208"/>
                      <a:pt x="33860" y="-3338"/>
                      <a:pt x="19369" y="3002"/>
                    </a:cubicBezTo>
                    <a:cubicBezTo>
                      <a:pt x="14125" y="5296"/>
                      <a:pt x="13019" y="12527"/>
                      <a:pt x="9844" y="17290"/>
                    </a:cubicBezTo>
                    <a:lnTo>
                      <a:pt x="5081" y="24433"/>
                    </a:lnTo>
                    <a:cubicBezTo>
                      <a:pt x="3494" y="29196"/>
                      <a:pt x="-1268" y="33958"/>
                      <a:pt x="319" y="38721"/>
                    </a:cubicBezTo>
                    <a:cubicBezTo>
                      <a:pt x="1113" y="41102"/>
                      <a:pt x="1481" y="43671"/>
                      <a:pt x="2700" y="45865"/>
                    </a:cubicBezTo>
                    <a:cubicBezTo>
                      <a:pt x="12038" y="62673"/>
                      <a:pt x="10825" y="59219"/>
                      <a:pt x="26512" y="69677"/>
                    </a:cubicBezTo>
                    <a:lnTo>
                      <a:pt x="40800" y="79202"/>
                    </a:lnTo>
                    <a:lnTo>
                      <a:pt x="47944" y="81583"/>
                    </a:lnTo>
                    <a:cubicBezTo>
                      <a:pt x="51557" y="83992"/>
                      <a:pt x="57300" y="88727"/>
                      <a:pt x="62231" y="88727"/>
                    </a:cubicBezTo>
                    <a:cubicBezTo>
                      <a:pt x="66278" y="88727"/>
                      <a:pt x="70168" y="87140"/>
                      <a:pt x="74137" y="86346"/>
                    </a:cubicBezTo>
                    <a:cubicBezTo>
                      <a:pt x="75347" y="63361"/>
                      <a:pt x="78892" y="31539"/>
                      <a:pt x="74137" y="7765"/>
                    </a:cubicBezTo>
                    <a:cubicBezTo>
                      <a:pt x="73789" y="6025"/>
                      <a:pt x="68978" y="3796"/>
                      <a:pt x="59850" y="300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8" name="Freeform 247"/>
              <p:cNvSpPr/>
              <p:nvPr/>
            </p:nvSpPr>
            <p:spPr>
              <a:xfrm>
                <a:off x="6808673" y="2874848"/>
                <a:ext cx="592932" cy="192882"/>
              </a:xfrm>
              <a:custGeom>
                <a:avLst/>
                <a:gdLst>
                  <a:gd name="connsiteX0" fmla="*/ 254794 w 592932"/>
                  <a:gd name="connsiteY0" fmla="*/ 11907 h 192882"/>
                  <a:gd name="connsiteX1" fmla="*/ 266700 w 592932"/>
                  <a:gd name="connsiteY1" fmla="*/ 9525 h 192882"/>
                  <a:gd name="connsiteX2" fmla="*/ 307182 w 592932"/>
                  <a:gd name="connsiteY2" fmla="*/ 7144 h 192882"/>
                  <a:gd name="connsiteX3" fmla="*/ 316707 w 592932"/>
                  <a:gd name="connsiteY3" fmla="*/ 2382 h 192882"/>
                  <a:gd name="connsiteX4" fmla="*/ 326232 w 592932"/>
                  <a:gd name="connsiteY4" fmla="*/ 0 h 192882"/>
                  <a:gd name="connsiteX5" fmla="*/ 352425 w 592932"/>
                  <a:gd name="connsiteY5" fmla="*/ 2382 h 192882"/>
                  <a:gd name="connsiteX6" fmla="*/ 369094 w 592932"/>
                  <a:gd name="connsiteY6" fmla="*/ 7144 h 192882"/>
                  <a:gd name="connsiteX7" fmla="*/ 376238 w 592932"/>
                  <a:gd name="connsiteY7" fmla="*/ 11907 h 192882"/>
                  <a:gd name="connsiteX8" fmla="*/ 381000 w 592932"/>
                  <a:gd name="connsiteY8" fmla="*/ 19050 h 192882"/>
                  <a:gd name="connsiteX9" fmla="*/ 395288 w 592932"/>
                  <a:gd name="connsiteY9" fmla="*/ 23813 h 192882"/>
                  <a:gd name="connsiteX10" fmla="*/ 402432 w 592932"/>
                  <a:gd name="connsiteY10" fmla="*/ 26194 h 192882"/>
                  <a:gd name="connsiteX11" fmla="*/ 409575 w 592932"/>
                  <a:gd name="connsiteY11" fmla="*/ 30957 h 192882"/>
                  <a:gd name="connsiteX12" fmla="*/ 421482 w 592932"/>
                  <a:gd name="connsiteY12" fmla="*/ 45244 h 192882"/>
                  <a:gd name="connsiteX13" fmla="*/ 435769 w 592932"/>
                  <a:gd name="connsiteY13" fmla="*/ 54769 h 192882"/>
                  <a:gd name="connsiteX14" fmla="*/ 445294 w 592932"/>
                  <a:gd name="connsiteY14" fmla="*/ 66675 h 192882"/>
                  <a:gd name="connsiteX15" fmla="*/ 459582 w 592932"/>
                  <a:gd name="connsiteY15" fmla="*/ 71438 h 192882"/>
                  <a:gd name="connsiteX16" fmla="*/ 461963 w 592932"/>
                  <a:gd name="connsiteY16" fmla="*/ 64294 h 192882"/>
                  <a:gd name="connsiteX17" fmla="*/ 469107 w 592932"/>
                  <a:gd name="connsiteY17" fmla="*/ 42863 h 192882"/>
                  <a:gd name="connsiteX18" fmla="*/ 476250 w 592932"/>
                  <a:gd name="connsiteY18" fmla="*/ 35719 h 192882"/>
                  <a:gd name="connsiteX19" fmla="*/ 502444 w 592932"/>
                  <a:gd name="connsiteY19" fmla="*/ 33338 h 192882"/>
                  <a:gd name="connsiteX20" fmla="*/ 509588 w 592932"/>
                  <a:gd name="connsiteY20" fmla="*/ 35719 h 192882"/>
                  <a:gd name="connsiteX21" fmla="*/ 519113 w 592932"/>
                  <a:gd name="connsiteY21" fmla="*/ 57150 h 192882"/>
                  <a:gd name="connsiteX22" fmla="*/ 523875 w 592932"/>
                  <a:gd name="connsiteY22" fmla="*/ 64294 h 192882"/>
                  <a:gd name="connsiteX23" fmla="*/ 528638 w 592932"/>
                  <a:gd name="connsiteY23" fmla="*/ 78582 h 192882"/>
                  <a:gd name="connsiteX24" fmla="*/ 531019 w 592932"/>
                  <a:gd name="connsiteY24" fmla="*/ 85725 h 192882"/>
                  <a:gd name="connsiteX25" fmla="*/ 538163 w 592932"/>
                  <a:gd name="connsiteY25" fmla="*/ 90488 h 192882"/>
                  <a:gd name="connsiteX26" fmla="*/ 552450 w 592932"/>
                  <a:gd name="connsiteY26" fmla="*/ 95250 h 192882"/>
                  <a:gd name="connsiteX27" fmla="*/ 559594 w 592932"/>
                  <a:gd name="connsiteY27" fmla="*/ 100013 h 192882"/>
                  <a:gd name="connsiteX28" fmla="*/ 566738 w 592932"/>
                  <a:gd name="connsiteY28" fmla="*/ 102394 h 192882"/>
                  <a:gd name="connsiteX29" fmla="*/ 588169 w 592932"/>
                  <a:gd name="connsiteY29" fmla="*/ 119063 h 192882"/>
                  <a:gd name="connsiteX30" fmla="*/ 592932 w 592932"/>
                  <a:gd name="connsiteY30" fmla="*/ 126207 h 192882"/>
                  <a:gd name="connsiteX31" fmla="*/ 588169 w 592932"/>
                  <a:gd name="connsiteY31" fmla="*/ 154782 h 192882"/>
                  <a:gd name="connsiteX32" fmla="*/ 585788 w 592932"/>
                  <a:gd name="connsiteY32" fmla="*/ 161925 h 192882"/>
                  <a:gd name="connsiteX33" fmla="*/ 583407 w 592932"/>
                  <a:gd name="connsiteY33" fmla="*/ 188119 h 192882"/>
                  <a:gd name="connsiteX34" fmla="*/ 569119 w 592932"/>
                  <a:gd name="connsiteY34" fmla="*/ 192882 h 192882"/>
                  <a:gd name="connsiteX35" fmla="*/ 540544 w 592932"/>
                  <a:gd name="connsiteY35" fmla="*/ 185738 h 192882"/>
                  <a:gd name="connsiteX36" fmla="*/ 526257 w 592932"/>
                  <a:gd name="connsiteY36" fmla="*/ 180975 h 192882"/>
                  <a:gd name="connsiteX37" fmla="*/ 519113 w 592932"/>
                  <a:gd name="connsiteY37" fmla="*/ 176213 h 192882"/>
                  <a:gd name="connsiteX38" fmla="*/ 514350 w 592932"/>
                  <a:gd name="connsiteY38" fmla="*/ 169069 h 192882"/>
                  <a:gd name="connsiteX39" fmla="*/ 507207 w 592932"/>
                  <a:gd name="connsiteY39" fmla="*/ 161925 h 192882"/>
                  <a:gd name="connsiteX40" fmla="*/ 500063 w 592932"/>
                  <a:gd name="connsiteY40" fmla="*/ 147638 h 192882"/>
                  <a:gd name="connsiteX41" fmla="*/ 485775 w 592932"/>
                  <a:gd name="connsiteY41" fmla="*/ 142875 h 192882"/>
                  <a:gd name="connsiteX42" fmla="*/ 478632 w 592932"/>
                  <a:gd name="connsiteY42" fmla="*/ 140494 h 192882"/>
                  <a:gd name="connsiteX43" fmla="*/ 431007 w 592932"/>
                  <a:gd name="connsiteY43" fmla="*/ 142875 h 192882"/>
                  <a:gd name="connsiteX44" fmla="*/ 411957 w 592932"/>
                  <a:gd name="connsiteY44" fmla="*/ 147638 h 192882"/>
                  <a:gd name="connsiteX45" fmla="*/ 404813 w 592932"/>
                  <a:gd name="connsiteY45" fmla="*/ 150019 h 192882"/>
                  <a:gd name="connsiteX46" fmla="*/ 340519 w 592932"/>
                  <a:gd name="connsiteY46" fmla="*/ 152400 h 192882"/>
                  <a:gd name="connsiteX47" fmla="*/ 323850 w 592932"/>
                  <a:gd name="connsiteY47" fmla="*/ 154782 h 192882"/>
                  <a:gd name="connsiteX48" fmla="*/ 316707 w 592932"/>
                  <a:gd name="connsiteY48" fmla="*/ 157163 h 192882"/>
                  <a:gd name="connsiteX49" fmla="*/ 271463 w 592932"/>
                  <a:gd name="connsiteY49" fmla="*/ 161925 h 192882"/>
                  <a:gd name="connsiteX50" fmla="*/ 264319 w 592932"/>
                  <a:gd name="connsiteY50" fmla="*/ 159544 h 192882"/>
                  <a:gd name="connsiteX51" fmla="*/ 254794 w 592932"/>
                  <a:gd name="connsiteY51" fmla="*/ 161925 h 192882"/>
                  <a:gd name="connsiteX52" fmla="*/ 230982 w 592932"/>
                  <a:gd name="connsiteY52" fmla="*/ 166688 h 192882"/>
                  <a:gd name="connsiteX53" fmla="*/ 211932 w 592932"/>
                  <a:gd name="connsiteY53" fmla="*/ 169069 h 192882"/>
                  <a:gd name="connsiteX54" fmla="*/ 195263 w 592932"/>
                  <a:gd name="connsiteY54" fmla="*/ 171450 h 192882"/>
                  <a:gd name="connsiteX55" fmla="*/ 171450 w 592932"/>
                  <a:gd name="connsiteY55" fmla="*/ 173832 h 192882"/>
                  <a:gd name="connsiteX56" fmla="*/ 159544 w 592932"/>
                  <a:gd name="connsiteY56" fmla="*/ 171450 h 192882"/>
                  <a:gd name="connsiteX57" fmla="*/ 154782 w 592932"/>
                  <a:gd name="connsiteY57" fmla="*/ 157163 h 192882"/>
                  <a:gd name="connsiteX58" fmla="*/ 150019 w 592932"/>
                  <a:gd name="connsiteY58" fmla="*/ 150019 h 192882"/>
                  <a:gd name="connsiteX59" fmla="*/ 133350 w 592932"/>
                  <a:gd name="connsiteY59" fmla="*/ 142875 h 192882"/>
                  <a:gd name="connsiteX60" fmla="*/ 76200 w 592932"/>
                  <a:gd name="connsiteY60" fmla="*/ 147638 h 192882"/>
                  <a:gd name="connsiteX61" fmla="*/ 52388 w 592932"/>
                  <a:gd name="connsiteY61" fmla="*/ 150019 h 192882"/>
                  <a:gd name="connsiteX62" fmla="*/ 30957 w 592932"/>
                  <a:gd name="connsiteY62" fmla="*/ 154782 h 192882"/>
                  <a:gd name="connsiteX63" fmla="*/ 23813 w 592932"/>
                  <a:gd name="connsiteY63" fmla="*/ 109538 h 192882"/>
                  <a:gd name="connsiteX64" fmla="*/ 16669 w 592932"/>
                  <a:gd name="connsiteY64" fmla="*/ 104775 h 192882"/>
                  <a:gd name="connsiteX65" fmla="*/ 9525 w 592932"/>
                  <a:gd name="connsiteY65" fmla="*/ 102394 h 192882"/>
                  <a:gd name="connsiteX66" fmla="*/ 4763 w 592932"/>
                  <a:gd name="connsiteY66" fmla="*/ 95250 h 192882"/>
                  <a:gd name="connsiteX67" fmla="*/ 0 w 592932"/>
                  <a:gd name="connsiteY67" fmla="*/ 80963 h 192882"/>
                  <a:gd name="connsiteX68" fmla="*/ 2382 w 592932"/>
                  <a:gd name="connsiteY68" fmla="*/ 64294 h 192882"/>
                  <a:gd name="connsiteX69" fmla="*/ 16669 w 592932"/>
                  <a:gd name="connsiteY69" fmla="*/ 52388 h 192882"/>
                  <a:gd name="connsiteX70" fmla="*/ 35719 w 592932"/>
                  <a:gd name="connsiteY70" fmla="*/ 47625 h 192882"/>
                  <a:gd name="connsiteX71" fmla="*/ 61913 w 592932"/>
                  <a:gd name="connsiteY71" fmla="*/ 42863 h 192882"/>
                  <a:gd name="connsiteX72" fmla="*/ 126207 w 592932"/>
                  <a:gd name="connsiteY72" fmla="*/ 45244 h 192882"/>
                  <a:gd name="connsiteX73" fmla="*/ 154782 w 592932"/>
                  <a:gd name="connsiteY73" fmla="*/ 50007 h 192882"/>
                  <a:gd name="connsiteX74" fmla="*/ 171450 w 592932"/>
                  <a:gd name="connsiteY74" fmla="*/ 52388 h 192882"/>
                  <a:gd name="connsiteX75" fmla="*/ 221457 w 592932"/>
                  <a:gd name="connsiteY75" fmla="*/ 50007 h 192882"/>
                  <a:gd name="connsiteX76" fmla="*/ 230982 w 592932"/>
                  <a:gd name="connsiteY76" fmla="*/ 47625 h 192882"/>
                  <a:gd name="connsiteX77" fmla="*/ 254794 w 592932"/>
                  <a:gd name="connsiteY77" fmla="*/ 11907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92932" h="192882">
                    <a:moveTo>
                      <a:pt x="254794" y="11907"/>
                    </a:moveTo>
                    <a:cubicBezTo>
                      <a:pt x="260747" y="5557"/>
                      <a:pt x="262669" y="9891"/>
                      <a:pt x="266700" y="9525"/>
                    </a:cubicBezTo>
                    <a:cubicBezTo>
                      <a:pt x="280162" y="8301"/>
                      <a:pt x="293801" y="9055"/>
                      <a:pt x="307182" y="7144"/>
                    </a:cubicBezTo>
                    <a:cubicBezTo>
                      <a:pt x="310696" y="6642"/>
                      <a:pt x="313383" y="3628"/>
                      <a:pt x="316707" y="2382"/>
                    </a:cubicBezTo>
                    <a:cubicBezTo>
                      <a:pt x="319771" y="1233"/>
                      <a:pt x="323057" y="794"/>
                      <a:pt x="326232" y="0"/>
                    </a:cubicBezTo>
                    <a:cubicBezTo>
                      <a:pt x="334963" y="794"/>
                      <a:pt x="343735" y="1223"/>
                      <a:pt x="352425" y="2382"/>
                    </a:cubicBezTo>
                    <a:cubicBezTo>
                      <a:pt x="357409" y="3047"/>
                      <a:pt x="364196" y="5512"/>
                      <a:pt x="369094" y="7144"/>
                    </a:cubicBezTo>
                    <a:cubicBezTo>
                      <a:pt x="371475" y="8732"/>
                      <a:pt x="374214" y="9883"/>
                      <a:pt x="376238" y="11907"/>
                    </a:cubicBezTo>
                    <a:cubicBezTo>
                      <a:pt x="378261" y="13930"/>
                      <a:pt x="378573" y="17533"/>
                      <a:pt x="381000" y="19050"/>
                    </a:cubicBezTo>
                    <a:cubicBezTo>
                      <a:pt x="385257" y="21711"/>
                      <a:pt x="390525" y="22225"/>
                      <a:pt x="395288" y="23813"/>
                    </a:cubicBezTo>
                    <a:lnTo>
                      <a:pt x="402432" y="26194"/>
                    </a:lnTo>
                    <a:cubicBezTo>
                      <a:pt x="404813" y="27782"/>
                      <a:pt x="407551" y="28933"/>
                      <a:pt x="409575" y="30957"/>
                    </a:cubicBezTo>
                    <a:cubicBezTo>
                      <a:pt x="423328" y="44710"/>
                      <a:pt x="403933" y="31595"/>
                      <a:pt x="421482" y="45244"/>
                    </a:cubicBezTo>
                    <a:cubicBezTo>
                      <a:pt x="426000" y="48758"/>
                      <a:pt x="435769" y="54769"/>
                      <a:pt x="435769" y="54769"/>
                    </a:cubicBezTo>
                    <a:cubicBezTo>
                      <a:pt x="438351" y="62516"/>
                      <a:pt x="436864" y="62928"/>
                      <a:pt x="445294" y="66675"/>
                    </a:cubicBezTo>
                    <a:cubicBezTo>
                      <a:pt x="449882" y="68714"/>
                      <a:pt x="459582" y="71438"/>
                      <a:pt x="459582" y="71438"/>
                    </a:cubicBezTo>
                    <a:cubicBezTo>
                      <a:pt x="460376" y="69057"/>
                      <a:pt x="461419" y="66744"/>
                      <a:pt x="461963" y="64294"/>
                    </a:cubicBezTo>
                    <a:cubicBezTo>
                      <a:pt x="464970" y="50761"/>
                      <a:pt x="461574" y="51904"/>
                      <a:pt x="469107" y="42863"/>
                    </a:cubicBezTo>
                    <a:cubicBezTo>
                      <a:pt x="471263" y="40276"/>
                      <a:pt x="473012" y="36644"/>
                      <a:pt x="476250" y="35719"/>
                    </a:cubicBezTo>
                    <a:cubicBezTo>
                      <a:pt x="484680" y="33310"/>
                      <a:pt x="493713" y="34132"/>
                      <a:pt x="502444" y="33338"/>
                    </a:cubicBezTo>
                    <a:cubicBezTo>
                      <a:pt x="504825" y="34132"/>
                      <a:pt x="507628" y="34151"/>
                      <a:pt x="509588" y="35719"/>
                    </a:cubicBezTo>
                    <a:cubicBezTo>
                      <a:pt x="516508" y="41255"/>
                      <a:pt x="514544" y="50296"/>
                      <a:pt x="519113" y="57150"/>
                    </a:cubicBezTo>
                    <a:cubicBezTo>
                      <a:pt x="520700" y="59531"/>
                      <a:pt x="522713" y="61679"/>
                      <a:pt x="523875" y="64294"/>
                    </a:cubicBezTo>
                    <a:cubicBezTo>
                      <a:pt x="525914" y="68882"/>
                      <a:pt x="527050" y="73819"/>
                      <a:pt x="528638" y="78582"/>
                    </a:cubicBezTo>
                    <a:cubicBezTo>
                      <a:pt x="529432" y="80963"/>
                      <a:pt x="528931" y="84333"/>
                      <a:pt x="531019" y="85725"/>
                    </a:cubicBezTo>
                    <a:cubicBezTo>
                      <a:pt x="533400" y="87313"/>
                      <a:pt x="535548" y="89326"/>
                      <a:pt x="538163" y="90488"/>
                    </a:cubicBezTo>
                    <a:cubicBezTo>
                      <a:pt x="542750" y="92527"/>
                      <a:pt x="552450" y="95250"/>
                      <a:pt x="552450" y="95250"/>
                    </a:cubicBezTo>
                    <a:cubicBezTo>
                      <a:pt x="554831" y="96838"/>
                      <a:pt x="557034" y="98733"/>
                      <a:pt x="559594" y="100013"/>
                    </a:cubicBezTo>
                    <a:cubicBezTo>
                      <a:pt x="561839" y="101136"/>
                      <a:pt x="564544" y="101175"/>
                      <a:pt x="566738" y="102394"/>
                    </a:cubicBezTo>
                    <a:cubicBezTo>
                      <a:pt x="574978" y="106972"/>
                      <a:pt x="582185" y="111882"/>
                      <a:pt x="588169" y="119063"/>
                    </a:cubicBezTo>
                    <a:cubicBezTo>
                      <a:pt x="590001" y="121262"/>
                      <a:pt x="591344" y="123826"/>
                      <a:pt x="592932" y="126207"/>
                    </a:cubicBezTo>
                    <a:cubicBezTo>
                      <a:pt x="591589" y="135606"/>
                      <a:pt x="590488" y="145503"/>
                      <a:pt x="588169" y="154782"/>
                    </a:cubicBezTo>
                    <a:cubicBezTo>
                      <a:pt x="587560" y="157217"/>
                      <a:pt x="586582" y="159544"/>
                      <a:pt x="585788" y="161925"/>
                    </a:cubicBezTo>
                    <a:cubicBezTo>
                      <a:pt x="584994" y="170656"/>
                      <a:pt x="587564" y="180400"/>
                      <a:pt x="583407" y="188119"/>
                    </a:cubicBezTo>
                    <a:cubicBezTo>
                      <a:pt x="581027" y="192539"/>
                      <a:pt x="569119" y="192882"/>
                      <a:pt x="569119" y="192882"/>
                    </a:cubicBezTo>
                    <a:cubicBezTo>
                      <a:pt x="549880" y="189674"/>
                      <a:pt x="559412" y="192027"/>
                      <a:pt x="540544" y="185738"/>
                    </a:cubicBezTo>
                    <a:cubicBezTo>
                      <a:pt x="540539" y="185736"/>
                      <a:pt x="526262" y="180979"/>
                      <a:pt x="526257" y="180975"/>
                    </a:cubicBezTo>
                    <a:lnTo>
                      <a:pt x="519113" y="176213"/>
                    </a:lnTo>
                    <a:cubicBezTo>
                      <a:pt x="517525" y="173832"/>
                      <a:pt x="516182" y="171268"/>
                      <a:pt x="514350" y="169069"/>
                    </a:cubicBezTo>
                    <a:cubicBezTo>
                      <a:pt x="512194" y="166482"/>
                      <a:pt x="509075" y="164727"/>
                      <a:pt x="507207" y="161925"/>
                    </a:cubicBezTo>
                    <a:cubicBezTo>
                      <a:pt x="503687" y="156645"/>
                      <a:pt x="506482" y="151650"/>
                      <a:pt x="500063" y="147638"/>
                    </a:cubicBezTo>
                    <a:cubicBezTo>
                      <a:pt x="495806" y="144977"/>
                      <a:pt x="490538" y="144463"/>
                      <a:pt x="485775" y="142875"/>
                    </a:cubicBezTo>
                    <a:lnTo>
                      <a:pt x="478632" y="140494"/>
                    </a:lnTo>
                    <a:cubicBezTo>
                      <a:pt x="462757" y="141288"/>
                      <a:pt x="446811" y="141182"/>
                      <a:pt x="431007" y="142875"/>
                    </a:cubicBezTo>
                    <a:cubicBezTo>
                      <a:pt x="424499" y="143572"/>
                      <a:pt x="418167" y="145568"/>
                      <a:pt x="411957" y="147638"/>
                    </a:cubicBezTo>
                    <a:cubicBezTo>
                      <a:pt x="409576" y="148432"/>
                      <a:pt x="407318" y="149852"/>
                      <a:pt x="404813" y="150019"/>
                    </a:cubicBezTo>
                    <a:cubicBezTo>
                      <a:pt x="383414" y="151445"/>
                      <a:pt x="361950" y="151606"/>
                      <a:pt x="340519" y="152400"/>
                    </a:cubicBezTo>
                    <a:cubicBezTo>
                      <a:pt x="334963" y="153194"/>
                      <a:pt x="329354" y="153681"/>
                      <a:pt x="323850" y="154782"/>
                    </a:cubicBezTo>
                    <a:cubicBezTo>
                      <a:pt x="321389" y="155274"/>
                      <a:pt x="319194" y="156824"/>
                      <a:pt x="316707" y="157163"/>
                    </a:cubicBezTo>
                    <a:cubicBezTo>
                      <a:pt x="301681" y="159212"/>
                      <a:pt x="271463" y="161925"/>
                      <a:pt x="271463" y="161925"/>
                    </a:cubicBezTo>
                    <a:cubicBezTo>
                      <a:pt x="269082" y="161131"/>
                      <a:pt x="266829" y="159544"/>
                      <a:pt x="264319" y="159544"/>
                    </a:cubicBezTo>
                    <a:cubicBezTo>
                      <a:pt x="261046" y="159544"/>
                      <a:pt x="257994" y="161239"/>
                      <a:pt x="254794" y="161925"/>
                    </a:cubicBezTo>
                    <a:cubicBezTo>
                      <a:pt x="246879" y="163621"/>
                      <a:pt x="239014" y="165684"/>
                      <a:pt x="230982" y="166688"/>
                    </a:cubicBezTo>
                    <a:lnTo>
                      <a:pt x="211932" y="169069"/>
                    </a:lnTo>
                    <a:cubicBezTo>
                      <a:pt x="206368" y="169811"/>
                      <a:pt x="200837" y="170794"/>
                      <a:pt x="195263" y="171450"/>
                    </a:cubicBezTo>
                    <a:cubicBezTo>
                      <a:pt x="187340" y="172382"/>
                      <a:pt x="179388" y="173038"/>
                      <a:pt x="171450" y="173832"/>
                    </a:cubicBezTo>
                    <a:cubicBezTo>
                      <a:pt x="167481" y="173038"/>
                      <a:pt x="162406" y="174312"/>
                      <a:pt x="159544" y="171450"/>
                    </a:cubicBezTo>
                    <a:cubicBezTo>
                      <a:pt x="155994" y="167900"/>
                      <a:pt x="157567" y="161340"/>
                      <a:pt x="154782" y="157163"/>
                    </a:cubicBezTo>
                    <a:cubicBezTo>
                      <a:pt x="153194" y="154782"/>
                      <a:pt x="152043" y="152043"/>
                      <a:pt x="150019" y="150019"/>
                    </a:cubicBezTo>
                    <a:cubicBezTo>
                      <a:pt x="144538" y="144539"/>
                      <a:pt x="140635" y="144697"/>
                      <a:pt x="133350" y="142875"/>
                    </a:cubicBezTo>
                    <a:cubicBezTo>
                      <a:pt x="56241" y="147412"/>
                      <a:pt x="119133" y="142588"/>
                      <a:pt x="76200" y="147638"/>
                    </a:cubicBezTo>
                    <a:cubicBezTo>
                      <a:pt x="68278" y="148570"/>
                      <a:pt x="60295" y="148965"/>
                      <a:pt x="52388" y="150019"/>
                    </a:cubicBezTo>
                    <a:cubicBezTo>
                      <a:pt x="45903" y="150884"/>
                      <a:pt x="37430" y="153163"/>
                      <a:pt x="30957" y="154782"/>
                    </a:cubicBezTo>
                    <a:cubicBezTo>
                      <a:pt x="30149" y="141862"/>
                      <a:pt x="35239" y="120964"/>
                      <a:pt x="23813" y="109538"/>
                    </a:cubicBezTo>
                    <a:cubicBezTo>
                      <a:pt x="21789" y="107514"/>
                      <a:pt x="19229" y="106055"/>
                      <a:pt x="16669" y="104775"/>
                    </a:cubicBezTo>
                    <a:cubicBezTo>
                      <a:pt x="14424" y="103652"/>
                      <a:pt x="11906" y="103188"/>
                      <a:pt x="9525" y="102394"/>
                    </a:cubicBezTo>
                    <a:cubicBezTo>
                      <a:pt x="7938" y="100013"/>
                      <a:pt x="5925" y="97865"/>
                      <a:pt x="4763" y="95250"/>
                    </a:cubicBezTo>
                    <a:cubicBezTo>
                      <a:pt x="2724" y="90663"/>
                      <a:pt x="0" y="80963"/>
                      <a:pt x="0" y="80963"/>
                    </a:cubicBezTo>
                    <a:cubicBezTo>
                      <a:pt x="794" y="75407"/>
                      <a:pt x="298" y="69505"/>
                      <a:pt x="2382" y="64294"/>
                    </a:cubicBezTo>
                    <a:cubicBezTo>
                      <a:pt x="3699" y="61000"/>
                      <a:pt x="13394" y="54025"/>
                      <a:pt x="16669" y="52388"/>
                    </a:cubicBezTo>
                    <a:cubicBezTo>
                      <a:pt x="21773" y="49836"/>
                      <a:pt x="30832" y="48711"/>
                      <a:pt x="35719" y="47625"/>
                    </a:cubicBezTo>
                    <a:cubicBezTo>
                      <a:pt x="55916" y="43136"/>
                      <a:pt x="33040" y="46987"/>
                      <a:pt x="61913" y="42863"/>
                    </a:cubicBezTo>
                    <a:cubicBezTo>
                      <a:pt x="83344" y="43657"/>
                      <a:pt x="104824" y="43599"/>
                      <a:pt x="126207" y="45244"/>
                    </a:cubicBezTo>
                    <a:cubicBezTo>
                      <a:pt x="135835" y="45985"/>
                      <a:pt x="145223" y="48641"/>
                      <a:pt x="154782" y="50007"/>
                    </a:cubicBezTo>
                    <a:lnTo>
                      <a:pt x="171450" y="52388"/>
                    </a:lnTo>
                    <a:cubicBezTo>
                      <a:pt x="188119" y="51594"/>
                      <a:pt x="204822" y="51338"/>
                      <a:pt x="221457" y="50007"/>
                    </a:cubicBezTo>
                    <a:cubicBezTo>
                      <a:pt x="224719" y="49746"/>
                      <a:pt x="227773" y="48267"/>
                      <a:pt x="230982" y="47625"/>
                    </a:cubicBezTo>
                    <a:cubicBezTo>
                      <a:pt x="235716" y="46678"/>
                      <a:pt x="248841" y="18257"/>
                      <a:pt x="254794" y="11907"/>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49" name="Freeform 248"/>
              <p:cNvSpPr/>
              <p:nvPr/>
            </p:nvSpPr>
            <p:spPr>
              <a:xfrm>
                <a:off x="7320642" y="2730871"/>
                <a:ext cx="531019" cy="330421"/>
              </a:xfrm>
              <a:custGeom>
                <a:avLst/>
                <a:gdLst>
                  <a:gd name="connsiteX0" fmla="*/ 0 w 531019"/>
                  <a:gd name="connsiteY0" fmla="*/ 177315 h 330421"/>
                  <a:gd name="connsiteX1" fmla="*/ 76200 w 531019"/>
                  <a:gd name="connsiteY1" fmla="*/ 179696 h 330421"/>
                  <a:gd name="connsiteX2" fmla="*/ 90488 w 531019"/>
                  <a:gd name="connsiteY2" fmla="*/ 186840 h 330421"/>
                  <a:gd name="connsiteX3" fmla="*/ 97631 w 531019"/>
                  <a:gd name="connsiteY3" fmla="*/ 189221 h 330421"/>
                  <a:gd name="connsiteX4" fmla="*/ 104775 w 531019"/>
                  <a:gd name="connsiteY4" fmla="*/ 193984 h 330421"/>
                  <a:gd name="connsiteX5" fmla="*/ 121444 w 531019"/>
                  <a:gd name="connsiteY5" fmla="*/ 196365 h 330421"/>
                  <a:gd name="connsiteX6" fmla="*/ 133350 w 531019"/>
                  <a:gd name="connsiteY6" fmla="*/ 198746 h 330421"/>
                  <a:gd name="connsiteX7" fmla="*/ 166688 w 531019"/>
                  <a:gd name="connsiteY7" fmla="*/ 203509 h 330421"/>
                  <a:gd name="connsiteX8" fmla="*/ 180975 w 531019"/>
                  <a:gd name="connsiteY8" fmla="*/ 205890 h 330421"/>
                  <a:gd name="connsiteX9" fmla="*/ 204788 w 531019"/>
                  <a:gd name="connsiteY9" fmla="*/ 208271 h 330421"/>
                  <a:gd name="connsiteX10" fmla="*/ 219075 w 531019"/>
                  <a:gd name="connsiteY10" fmla="*/ 205890 h 330421"/>
                  <a:gd name="connsiteX11" fmla="*/ 233363 w 531019"/>
                  <a:gd name="connsiteY11" fmla="*/ 201127 h 330421"/>
                  <a:gd name="connsiteX12" fmla="*/ 242888 w 531019"/>
                  <a:gd name="connsiteY12" fmla="*/ 198746 h 330421"/>
                  <a:gd name="connsiteX13" fmla="*/ 257175 w 531019"/>
                  <a:gd name="connsiteY13" fmla="*/ 191602 h 330421"/>
                  <a:gd name="connsiteX14" fmla="*/ 271463 w 531019"/>
                  <a:gd name="connsiteY14" fmla="*/ 179696 h 330421"/>
                  <a:gd name="connsiteX15" fmla="*/ 278606 w 531019"/>
                  <a:gd name="connsiteY15" fmla="*/ 165409 h 330421"/>
                  <a:gd name="connsiteX16" fmla="*/ 285750 w 531019"/>
                  <a:gd name="connsiteY16" fmla="*/ 160646 h 330421"/>
                  <a:gd name="connsiteX17" fmla="*/ 297656 w 531019"/>
                  <a:gd name="connsiteY17" fmla="*/ 148740 h 330421"/>
                  <a:gd name="connsiteX18" fmla="*/ 302419 w 531019"/>
                  <a:gd name="connsiteY18" fmla="*/ 141596 h 330421"/>
                  <a:gd name="connsiteX19" fmla="*/ 309563 w 531019"/>
                  <a:gd name="connsiteY19" fmla="*/ 134452 h 330421"/>
                  <a:gd name="connsiteX20" fmla="*/ 326231 w 531019"/>
                  <a:gd name="connsiteY20" fmla="*/ 113021 h 330421"/>
                  <a:gd name="connsiteX21" fmla="*/ 352425 w 531019"/>
                  <a:gd name="connsiteY21" fmla="*/ 108259 h 330421"/>
                  <a:gd name="connsiteX22" fmla="*/ 359569 w 531019"/>
                  <a:gd name="connsiteY22" fmla="*/ 103496 h 330421"/>
                  <a:gd name="connsiteX23" fmla="*/ 361950 w 531019"/>
                  <a:gd name="connsiteY23" fmla="*/ 96352 h 330421"/>
                  <a:gd name="connsiteX24" fmla="*/ 354806 w 531019"/>
                  <a:gd name="connsiteY24" fmla="*/ 70159 h 330421"/>
                  <a:gd name="connsiteX25" fmla="*/ 383381 w 531019"/>
                  <a:gd name="connsiteY25" fmla="*/ 60634 h 330421"/>
                  <a:gd name="connsiteX26" fmla="*/ 397669 w 531019"/>
                  <a:gd name="connsiteY26" fmla="*/ 53490 h 330421"/>
                  <a:gd name="connsiteX27" fmla="*/ 411956 w 531019"/>
                  <a:gd name="connsiteY27" fmla="*/ 48727 h 330421"/>
                  <a:gd name="connsiteX28" fmla="*/ 419100 w 531019"/>
                  <a:gd name="connsiteY28" fmla="*/ 46346 h 330421"/>
                  <a:gd name="connsiteX29" fmla="*/ 433388 w 531019"/>
                  <a:gd name="connsiteY29" fmla="*/ 36821 h 330421"/>
                  <a:gd name="connsiteX30" fmla="*/ 442913 w 531019"/>
                  <a:gd name="connsiteY30" fmla="*/ 24915 h 330421"/>
                  <a:gd name="connsiteX31" fmla="*/ 447675 w 531019"/>
                  <a:gd name="connsiteY31" fmla="*/ 17771 h 330421"/>
                  <a:gd name="connsiteX32" fmla="*/ 469106 w 531019"/>
                  <a:gd name="connsiteY32" fmla="*/ 5865 h 330421"/>
                  <a:gd name="connsiteX33" fmla="*/ 485775 w 531019"/>
                  <a:gd name="connsiteY33" fmla="*/ 3484 h 330421"/>
                  <a:gd name="connsiteX34" fmla="*/ 514350 w 531019"/>
                  <a:gd name="connsiteY34" fmla="*/ 3484 h 330421"/>
                  <a:gd name="connsiteX35" fmla="*/ 519113 w 531019"/>
                  <a:gd name="connsiteY35" fmla="*/ 10627 h 330421"/>
                  <a:gd name="connsiteX36" fmla="*/ 521494 w 531019"/>
                  <a:gd name="connsiteY36" fmla="*/ 20152 h 330421"/>
                  <a:gd name="connsiteX37" fmla="*/ 531019 w 531019"/>
                  <a:gd name="connsiteY37" fmla="*/ 34440 h 330421"/>
                  <a:gd name="connsiteX38" fmla="*/ 526256 w 531019"/>
                  <a:gd name="connsiteY38" fmla="*/ 65396 h 330421"/>
                  <a:gd name="connsiteX39" fmla="*/ 521494 w 531019"/>
                  <a:gd name="connsiteY39" fmla="*/ 72540 h 330421"/>
                  <a:gd name="connsiteX40" fmla="*/ 507206 w 531019"/>
                  <a:gd name="connsiteY40" fmla="*/ 77302 h 330421"/>
                  <a:gd name="connsiteX41" fmla="*/ 497681 w 531019"/>
                  <a:gd name="connsiteY41" fmla="*/ 98734 h 330421"/>
                  <a:gd name="connsiteX42" fmla="*/ 490538 w 531019"/>
                  <a:gd name="connsiteY42" fmla="*/ 101115 h 330421"/>
                  <a:gd name="connsiteX43" fmla="*/ 483394 w 531019"/>
                  <a:gd name="connsiteY43" fmla="*/ 105877 h 330421"/>
                  <a:gd name="connsiteX44" fmla="*/ 478631 w 531019"/>
                  <a:gd name="connsiteY44" fmla="*/ 113021 h 330421"/>
                  <a:gd name="connsiteX45" fmla="*/ 464344 w 531019"/>
                  <a:gd name="connsiteY45" fmla="*/ 141596 h 330421"/>
                  <a:gd name="connsiteX46" fmla="*/ 457200 w 531019"/>
                  <a:gd name="connsiteY46" fmla="*/ 146359 h 330421"/>
                  <a:gd name="connsiteX47" fmla="*/ 445294 w 531019"/>
                  <a:gd name="connsiteY47" fmla="*/ 160646 h 330421"/>
                  <a:gd name="connsiteX48" fmla="*/ 438150 w 531019"/>
                  <a:gd name="connsiteY48" fmla="*/ 163027 h 330421"/>
                  <a:gd name="connsiteX49" fmla="*/ 431006 w 531019"/>
                  <a:gd name="connsiteY49" fmla="*/ 167790 h 330421"/>
                  <a:gd name="connsiteX50" fmla="*/ 426244 w 531019"/>
                  <a:gd name="connsiteY50" fmla="*/ 174934 h 330421"/>
                  <a:gd name="connsiteX51" fmla="*/ 411956 w 531019"/>
                  <a:gd name="connsiteY51" fmla="*/ 184459 h 330421"/>
                  <a:gd name="connsiteX52" fmla="*/ 404813 w 531019"/>
                  <a:gd name="connsiteY52" fmla="*/ 189221 h 330421"/>
                  <a:gd name="connsiteX53" fmla="*/ 395288 w 531019"/>
                  <a:gd name="connsiteY53" fmla="*/ 203509 h 330421"/>
                  <a:gd name="connsiteX54" fmla="*/ 383381 w 531019"/>
                  <a:gd name="connsiteY54" fmla="*/ 217796 h 330421"/>
                  <a:gd name="connsiteX55" fmla="*/ 369094 w 531019"/>
                  <a:gd name="connsiteY55" fmla="*/ 227321 h 330421"/>
                  <a:gd name="connsiteX56" fmla="*/ 364331 w 531019"/>
                  <a:gd name="connsiteY56" fmla="*/ 241609 h 330421"/>
                  <a:gd name="connsiteX57" fmla="*/ 361950 w 531019"/>
                  <a:gd name="connsiteY57" fmla="*/ 248752 h 330421"/>
                  <a:gd name="connsiteX58" fmla="*/ 354806 w 531019"/>
                  <a:gd name="connsiteY58" fmla="*/ 255896 h 330421"/>
                  <a:gd name="connsiteX59" fmla="*/ 338138 w 531019"/>
                  <a:gd name="connsiteY59" fmla="*/ 277327 h 330421"/>
                  <a:gd name="connsiteX60" fmla="*/ 323850 w 531019"/>
                  <a:gd name="connsiteY60" fmla="*/ 286852 h 330421"/>
                  <a:gd name="connsiteX61" fmla="*/ 309563 w 531019"/>
                  <a:gd name="connsiteY61" fmla="*/ 298759 h 330421"/>
                  <a:gd name="connsiteX62" fmla="*/ 288131 w 531019"/>
                  <a:gd name="connsiteY62" fmla="*/ 315427 h 330421"/>
                  <a:gd name="connsiteX63" fmla="*/ 273844 w 531019"/>
                  <a:gd name="connsiteY63" fmla="*/ 320190 h 330421"/>
                  <a:gd name="connsiteX64" fmla="*/ 261938 w 531019"/>
                  <a:gd name="connsiteY64" fmla="*/ 324952 h 330421"/>
                  <a:gd name="connsiteX65" fmla="*/ 207169 w 531019"/>
                  <a:gd name="connsiteY65" fmla="*/ 329715 h 330421"/>
                  <a:gd name="connsiteX66" fmla="*/ 76200 w 531019"/>
                  <a:gd name="connsiteY66" fmla="*/ 327334 h 330421"/>
                  <a:gd name="connsiteX67" fmla="*/ 80963 w 531019"/>
                  <a:gd name="connsiteY67" fmla="*/ 313046 h 330421"/>
                  <a:gd name="connsiteX68" fmla="*/ 85725 w 531019"/>
                  <a:gd name="connsiteY68" fmla="*/ 296377 h 330421"/>
                  <a:gd name="connsiteX69" fmla="*/ 78581 w 531019"/>
                  <a:gd name="connsiteY69" fmla="*/ 260659 h 330421"/>
                  <a:gd name="connsiteX70" fmla="*/ 71438 w 531019"/>
                  <a:gd name="connsiteY70" fmla="*/ 255896 h 330421"/>
                  <a:gd name="connsiteX71" fmla="*/ 64294 w 531019"/>
                  <a:gd name="connsiteY71" fmla="*/ 253515 h 330421"/>
                  <a:gd name="connsiteX72" fmla="*/ 50006 w 531019"/>
                  <a:gd name="connsiteY72" fmla="*/ 243990 h 330421"/>
                  <a:gd name="connsiteX73" fmla="*/ 33338 w 531019"/>
                  <a:gd name="connsiteY73" fmla="*/ 236846 h 330421"/>
                  <a:gd name="connsiteX74" fmla="*/ 26194 w 531019"/>
                  <a:gd name="connsiteY74" fmla="*/ 234465 h 330421"/>
                  <a:gd name="connsiteX75" fmla="*/ 11906 w 531019"/>
                  <a:gd name="connsiteY75" fmla="*/ 224940 h 330421"/>
                  <a:gd name="connsiteX76" fmla="*/ 0 w 531019"/>
                  <a:gd name="connsiteY76" fmla="*/ 177315 h 33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31019" h="330421">
                    <a:moveTo>
                      <a:pt x="0" y="177315"/>
                    </a:moveTo>
                    <a:cubicBezTo>
                      <a:pt x="25400" y="178109"/>
                      <a:pt x="50829" y="178246"/>
                      <a:pt x="76200" y="179696"/>
                    </a:cubicBezTo>
                    <a:cubicBezTo>
                      <a:pt x="82959" y="180082"/>
                      <a:pt x="84790" y="183991"/>
                      <a:pt x="90488" y="186840"/>
                    </a:cubicBezTo>
                    <a:cubicBezTo>
                      <a:pt x="92733" y="187962"/>
                      <a:pt x="95250" y="188427"/>
                      <a:pt x="97631" y="189221"/>
                    </a:cubicBezTo>
                    <a:cubicBezTo>
                      <a:pt x="100012" y="190809"/>
                      <a:pt x="102034" y="193162"/>
                      <a:pt x="104775" y="193984"/>
                    </a:cubicBezTo>
                    <a:cubicBezTo>
                      <a:pt x="110151" y="195597"/>
                      <a:pt x="115908" y="195442"/>
                      <a:pt x="121444" y="196365"/>
                    </a:cubicBezTo>
                    <a:cubicBezTo>
                      <a:pt x="125436" y="197030"/>
                      <a:pt x="129352" y="198115"/>
                      <a:pt x="133350" y="198746"/>
                    </a:cubicBezTo>
                    <a:cubicBezTo>
                      <a:pt x="144438" y="200497"/>
                      <a:pt x="155615" y="201664"/>
                      <a:pt x="166688" y="203509"/>
                    </a:cubicBezTo>
                    <a:cubicBezTo>
                      <a:pt x="171450" y="204303"/>
                      <a:pt x="176184" y="205291"/>
                      <a:pt x="180975" y="205890"/>
                    </a:cubicBezTo>
                    <a:cubicBezTo>
                      <a:pt x="188891" y="206879"/>
                      <a:pt x="196850" y="207477"/>
                      <a:pt x="204788" y="208271"/>
                    </a:cubicBezTo>
                    <a:cubicBezTo>
                      <a:pt x="209550" y="207477"/>
                      <a:pt x="214391" y="207061"/>
                      <a:pt x="219075" y="205890"/>
                    </a:cubicBezTo>
                    <a:cubicBezTo>
                      <a:pt x="223945" y="204672"/>
                      <a:pt x="228493" y="202344"/>
                      <a:pt x="233363" y="201127"/>
                    </a:cubicBezTo>
                    <a:lnTo>
                      <a:pt x="242888" y="198746"/>
                    </a:lnTo>
                    <a:cubicBezTo>
                      <a:pt x="263352" y="185103"/>
                      <a:pt x="237463" y="201458"/>
                      <a:pt x="257175" y="191602"/>
                    </a:cubicBezTo>
                    <a:cubicBezTo>
                      <a:pt x="263808" y="188286"/>
                      <a:pt x="266195" y="184964"/>
                      <a:pt x="271463" y="179696"/>
                    </a:cubicBezTo>
                    <a:cubicBezTo>
                      <a:pt x="273399" y="173886"/>
                      <a:pt x="273990" y="170025"/>
                      <a:pt x="278606" y="165409"/>
                    </a:cubicBezTo>
                    <a:cubicBezTo>
                      <a:pt x="280630" y="163385"/>
                      <a:pt x="283369" y="162234"/>
                      <a:pt x="285750" y="160646"/>
                    </a:cubicBezTo>
                    <a:cubicBezTo>
                      <a:pt x="298452" y="141594"/>
                      <a:pt x="281781" y="164615"/>
                      <a:pt x="297656" y="148740"/>
                    </a:cubicBezTo>
                    <a:cubicBezTo>
                      <a:pt x="299680" y="146716"/>
                      <a:pt x="300587" y="143795"/>
                      <a:pt x="302419" y="141596"/>
                    </a:cubicBezTo>
                    <a:cubicBezTo>
                      <a:pt x="304575" y="139009"/>
                      <a:pt x="307495" y="137110"/>
                      <a:pt x="309563" y="134452"/>
                    </a:cubicBezTo>
                    <a:cubicBezTo>
                      <a:pt x="314654" y="127907"/>
                      <a:pt x="318749" y="118009"/>
                      <a:pt x="326231" y="113021"/>
                    </a:cubicBezTo>
                    <a:cubicBezTo>
                      <a:pt x="331313" y="109633"/>
                      <a:pt x="351620" y="108360"/>
                      <a:pt x="352425" y="108259"/>
                    </a:cubicBezTo>
                    <a:cubicBezTo>
                      <a:pt x="354806" y="106671"/>
                      <a:pt x="357781" y="105731"/>
                      <a:pt x="359569" y="103496"/>
                    </a:cubicBezTo>
                    <a:cubicBezTo>
                      <a:pt x="361137" y="101536"/>
                      <a:pt x="361950" y="98862"/>
                      <a:pt x="361950" y="96352"/>
                    </a:cubicBezTo>
                    <a:cubicBezTo>
                      <a:pt x="361950" y="78565"/>
                      <a:pt x="361896" y="80791"/>
                      <a:pt x="354806" y="70159"/>
                    </a:cubicBezTo>
                    <a:cubicBezTo>
                      <a:pt x="367807" y="57158"/>
                      <a:pt x="356950" y="65040"/>
                      <a:pt x="383381" y="60634"/>
                    </a:cubicBezTo>
                    <a:cubicBezTo>
                      <a:pt x="393798" y="58898"/>
                      <a:pt x="387801" y="57876"/>
                      <a:pt x="397669" y="53490"/>
                    </a:cubicBezTo>
                    <a:cubicBezTo>
                      <a:pt x="402256" y="51451"/>
                      <a:pt x="407194" y="50315"/>
                      <a:pt x="411956" y="48727"/>
                    </a:cubicBezTo>
                    <a:cubicBezTo>
                      <a:pt x="414337" y="47933"/>
                      <a:pt x="417011" y="47738"/>
                      <a:pt x="419100" y="46346"/>
                    </a:cubicBezTo>
                    <a:lnTo>
                      <a:pt x="433388" y="36821"/>
                    </a:lnTo>
                    <a:cubicBezTo>
                      <a:pt x="438024" y="22912"/>
                      <a:pt x="432141" y="35687"/>
                      <a:pt x="442913" y="24915"/>
                    </a:cubicBezTo>
                    <a:cubicBezTo>
                      <a:pt x="444937" y="22891"/>
                      <a:pt x="445521" y="19656"/>
                      <a:pt x="447675" y="17771"/>
                    </a:cubicBezTo>
                    <a:cubicBezTo>
                      <a:pt x="453332" y="12821"/>
                      <a:pt x="461233" y="7439"/>
                      <a:pt x="469106" y="5865"/>
                    </a:cubicBezTo>
                    <a:cubicBezTo>
                      <a:pt x="474610" y="4764"/>
                      <a:pt x="480219" y="4278"/>
                      <a:pt x="485775" y="3484"/>
                    </a:cubicBezTo>
                    <a:cubicBezTo>
                      <a:pt x="496711" y="-162"/>
                      <a:pt x="499090" y="-2065"/>
                      <a:pt x="514350" y="3484"/>
                    </a:cubicBezTo>
                    <a:cubicBezTo>
                      <a:pt x="517039" y="4462"/>
                      <a:pt x="517525" y="8246"/>
                      <a:pt x="519113" y="10627"/>
                    </a:cubicBezTo>
                    <a:cubicBezTo>
                      <a:pt x="519907" y="13802"/>
                      <a:pt x="519870" y="17310"/>
                      <a:pt x="521494" y="20152"/>
                    </a:cubicBezTo>
                    <a:cubicBezTo>
                      <a:pt x="535763" y="45123"/>
                      <a:pt x="523586" y="12137"/>
                      <a:pt x="531019" y="34440"/>
                    </a:cubicBezTo>
                    <a:cubicBezTo>
                      <a:pt x="530335" y="41282"/>
                      <a:pt x="530549" y="56811"/>
                      <a:pt x="526256" y="65396"/>
                    </a:cubicBezTo>
                    <a:cubicBezTo>
                      <a:pt x="524976" y="67956"/>
                      <a:pt x="523921" y="71023"/>
                      <a:pt x="521494" y="72540"/>
                    </a:cubicBezTo>
                    <a:cubicBezTo>
                      <a:pt x="517237" y="75201"/>
                      <a:pt x="507206" y="77302"/>
                      <a:pt x="507206" y="77302"/>
                    </a:cubicBezTo>
                    <a:cubicBezTo>
                      <a:pt x="505750" y="81670"/>
                      <a:pt x="502828" y="94616"/>
                      <a:pt x="497681" y="98734"/>
                    </a:cubicBezTo>
                    <a:cubicBezTo>
                      <a:pt x="495721" y="100302"/>
                      <a:pt x="492783" y="99993"/>
                      <a:pt x="490538" y="101115"/>
                    </a:cubicBezTo>
                    <a:cubicBezTo>
                      <a:pt x="487978" y="102395"/>
                      <a:pt x="485775" y="104290"/>
                      <a:pt x="483394" y="105877"/>
                    </a:cubicBezTo>
                    <a:cubicBezTo>
                      <a:pt x="481806" y="108258"/>
                      <a:pt x="479793" y="110406"/>
                      <a:pt x="478631" y="113021"/>
                    </a:cubicBezTo>
                    <a:cubicBezTo>
                      <a:pt x="474627" y="122031"/>
                      <a:pt x="473727" y="135341"/>
                      <a:pt x="464344" y="141596"/>
                    </a:cubicBezTo>
                    <a:lnTo>
                      <a:pt x="457200" y="146359"/>
                    </a:lnTo>
                    <a:cubicBezTo>
                      <a:pt x="453686" y="151630"/>
                      <a:pt x="450794" y="156979"/>
                      <a:pt x="445294" y="160646"/>
                    </a:cubicBezTo>
                    <a:cubicBezTo>
                      <a:pt x="443205" y="162038"/>
                      <a:pt x="440531" y="162233"/>
                      <a:pt x="438150" y="163027"/>
                    </a:cubicBezTo>
                    <a:cubicBezTo>
                      <a:pt x="435769" y="164615"/>
                      <a:pt x="433030" y="165766"/>
                      <a:pt x="431006" y="167790"/>
                    </a:cubicBezTo>
                    <a:cubicBezTo>
                      <a:pt x="428982" y="169814"/>
                      <a:pt x="428398" y="173049"/>
                      <a:pt x="426244" y="174934"/>
                    </a:cubicBezTo>
                    <a:cubicBezTo>
                      <a:pt x="421936" y="178703"/>
                      <a:pt x="416719" y="181284"/>
                      <a:pt x="411956" y="184459"/>
                    </a:cubicBezTo>
                    <a:lnTo>
                      <a:pt x="404813" y="189221"/>
                    </a:lnTo>
                    <a:cubicBezTo>
                      <a:pt x="400627" y="201774"/>
                      <a:pt x="405196" y="191619"/>
                      <a:pt x="395288" y="203509"/>
                    </a:cubicBezTo>
                    <a:cubicBezTo>
                      <a:pt x="388049" y="212195"/>
                      <a:pt x="393263" y="210110"/>
                      <a:pt x="383381" y="217796"/>
                    </a:cubicBezTo>
                    <a:cubicBezTo>
                      <a:pt x="378863" y="221310"/>
                      <a:pt x="369094" y="227321"/>
                      <a:pt x="369094" y="227321"/>
                    </a:cubicBezTo>
                    <a:lnTo>
                      <a:pt x="364331" y="241609"/>
                    </a:lnTo>
                    <a:cubicBezTo>
                      <a:pt x="363537" y="243990"/>
                      <a:pt x="363725" y="246977"/>
                      <a:pt x="361950" y="248752"/>
                    </a:cubicBezTo>
                    <a:cubicBezTo>
                      <a:pt x="359569" y="251133"/>
                      <a:pt x="356874" y="253238"/>
                      <a:pt x="354806" y="255896"/>
                    </a:cubicBezTo>
                    <a:cubicBezTo>
                      <a:pt x="346929" y="266023"/>
                      <a:pt x="347260" y="270232"/>
                      <a:pt x="338138" y="277327"/>
                    </a:cubicBezTo>
                    <a:cubicBezTo>
                      <a:pt x="333620" y="280841"/>
                      <a:pt x="327897" y="282805"/>
                      <a:pt x="323850" y="286852"/>
                    </a:cubicBezTo>
                    <a:cubicBezTo>
                      <a:pt x="302988" y="307714"/>
                      <a:pt x="329446" y="282190"/>
                      <a:pt x="309563" y="298759"/>
                    </a:cubicBezTo>
                    <a:cubicBezTo>
                      <a:pt x="301346" y="305607"/>
                      <a:pt x="300165" y="311415"/>
                      <a:pt x="288131" y="315427"/>
                    </a:cubicBezTo>
                    <a:cubicBezTo>
                      <a:pt x="283369" y="317015"/>
                      <a:pt x="278505" y="318326"/>
                      <a:pt x="273844" y="320190"/>
                    </a:cubicBezTo>
                    <a:cubicBezTo>
                      <a:pt x="269875" y="321777"/>
                      <a:pt x="266169" y="324348"/>
                      <a:pt x="261938" y="324952"/>
                    </a:cubicBezTo>
                    <a:cubicBezTo>
                      <a:pt x="243797" y="327544"/>
                      <a:pt x="207169" y="329715"/>
                      <a:pt x="207169" y="329715"/>
                    </a:cubicBezTo>
                    <a:cubicBezTo>
                      <a:pt x="163513" y="328921"/>
                      <a:pt x="119488" y="333051"/>
                      <a:pt x="76200" y="327334"/>
                    </a:cubicBezTo>
                    <a:cubicBezTo>
                      <a:pt x="71223" y="326677"/>
                      <a:pt x="79375" y="317809"/>
                      <a:pt x="80963" y="313046"/>
                    </a:cubicBezTo>
                    <a:cubicBezTo>
                      <a:pt x="84377" y="302803"/>
                      <a:pt x="82737" y="308330"/>
                      <a:pt x="85725" y="296377"/>
                    </a:cubicBezTo>
                    <a:cubicBezTo>
                      <a:pt x="84633" y="283275"/>
                      <a:pt x="88189" y="270267"/>
                      <a:pt x="78581" y="260659"/>
                    </a:cubicBezTo>
                    <a:cubicBezTo>
                      <a:pt x="76557" y="258635"/>
                      <a:pt x="73998" y="257176"/>
                      <a:pt x="71438" y="255896"/>
                    </a:cubicBezTo>
                    <a:cubicBezTo>
                      <a:pt x="69193" y="254773"/>
                      <a:pt x="66675" y="254309"/>
                      <a:pt x="64294" y="253515"/>
                    </a:cubicBezTo>
                    <a:cubicBezTo>
                      <a:pt x="59531" y="250340"/>
                      <a:pt x="55436" y="245800"/>
                      <a:pt x="50006" y="243990"/>
                    </a:cubicBezTo>
                    <a:cubicBezTo>
                      <a:pt x="33251" y="238405"/>
                      <a:pt x="53940" y="245675"/>
                      <a:pt x="33338" y="236846"/>
                    </a:cubicBezTo>
                    <a:cubicBezTo>
                      <a:pt x="31031" y="235857"/>
                      <a:pt x="28575" y="235259"/>
                      <a:pt x="26194" y="234465"/>
                    </a:cubicBezTo>
                    <a:cubicBezTo>
                      <a:pt x="21431" y="231290"/>
                      <a:pt x="13716" y="230370"/>
                      <a:pt x="11906" y="224940"/>
                    </a:cubicBezTo>
                    <a:lnTo>
                      <a:pt x="0" y="177315"/>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0" name="Freeform 249"/>
              <p:cNvSpPr/>
              <p:nvPr/>
            </p:nvSpPr>
            <p:spPr>
              <a:xfrm>
                <a:off x="3734480" y="2652658"/>
                <a:ext cx="1364456" cy="736540"/>
              </a:xfrm>
              <a:custGeom>
                <a:avLst/>
                <a:gdLst>
                  <a:gd name="connsiteX0" fmla="*/ 188118 w 1364456"/>
                  <a:gd name="connsiteY0" fmla="*/ 734 h 736540"/>
                  <a:gd name="connsiteX1" fmla="*/ 157162 w 1364456"/>
                  <a:gd name="connsiteY1" fmla="*/ 3115 h 736540"/>
                  <a:gd name="connsiteX2" fmla="*/ 150018 w 1364456"/>
                  <a:gd name="connsiteY2" fmla="*/ 7878 h 736540"/>
                  <a:gd name="connsiteX3" fmla="*/ 142875 w 1364456"/>
                  <a:gd name="connsiteY3" fmla="*/ 10259 h 736540"/>
                  <a:gd name="connsiteX4" fmla="*/ 140493 w 1364456"/>
                  <a:gd name="connsiteY4" fmla="*/ 17403 h 736540"/>
                  <a:gd name="connsiteX5" fmla="*/ 123825 w 1364456"/>
                  <a:gd name="connsiteY5" fmla="*/ 38834 h 736540"/>
                  <a:gd name="connsiteX6" fmla="*/ 121443 w 1364456"/>
                  <a:gd name="connsiteY6" fmla="*/ 45978 h 736540"/>
                  <a:gd name="connsiteX7" fmla="*/ 116681 w 1364456"/>
                  <a:gd name="connsiteY7" fmla="*/ 65028 h 736540"/>
                  <a:gd name="connsiteX8" fmla="*/ 104775 w 1364456"/>
                  <a:gd name="connsiteY8" fmla="*/ 79315 h 736540"/>
                  <a:gd name="connsiteX9" fmla="*/ 97631 w 1364456"/>
                  <a:gd name="connsiteY9" fmla="*/ 84078 h 736540"/>
                  <a:gd name="connsiteX10" fmla="*/ 80962 w 1364456"/>
                  <a:gd name="connsiteY10" fmla="*/ 88840 h 736540"/>
                  <a:gd name="connsiteX11" fmla="*/ 76200 w 1364456"/>
                  <a:gd name="connsiteY11" fmla="*/ 95984 h 736540"/>
                  <a:gd name="connsiteX12" fmla="*/ 69056 w 1364456"/>
                  <a:gd name="connsiteY12" fmla="*/ 124559 h 736540"/>
                  <a:gd name="connsiteX13" fmla="*/ 66675 w 1364456"/>
                  <a:gd name="connsiteY13" fmla="*/ 131703 h 736540"/>
                  <a:gd name="connsiteX14" fmla="*/ 64293 w 1364456"/>
                  <a:gd name="connsiteY14" fmla="*/ 141228 h 736540"/>
                  <a:gd name="connsiteX15" fmla="*/ 57150 w 1364456"/>
                  <a:gd name="connsiteY15" fmla="*/ 162659 h 736540"/>
                  <a:gd name="connsiteX16" fmla="*/ 54768 w 1364456"/>
                  <a:gd name="connsiteY16" fmla="*/ 169803 h 736540"/>
                  <a:gd name="connsiteX17" fmla="*/ 52387 w 1364456"/>
                  <a:gd name="connsiteY17" fmla="*/ 184090 h 736540"/>
                  <a:gd name="connsiteX18" fmla="*/ 47625 w 1364456"/>
                  <a:gd name="connsiteY18" fmla="*/ 198378 h 736540"/>
                  <a:gd name="connsiteX19" fmla="*/ 42862 w 1364456"/>
                  <a:gd name="connsiteY19" fmla="*/ 212665 h 736540"/>
                  <a:gd name="connsiteX20" fmla="*/ 40481 w 1364456"/>
                  <a:gd name="connsiteY20" fmla="*/ 219809 h 736540"/>
                  <a:gd name="connsiteX21" fmla="*/ 35718 w 1364456"/>
                  <a:gd name="connsiteY21" fmla="*/ 236478 h 736540"/>
                  <a:gd name="connsiteX22" fmla="*/ 30956 w 1364456"/>
                  <a:gd name="connsiteY22" fmla="*/ 262672 h 736540"/>
                  <a:gd name="connsiteX23" fmla="*/ 26193 w 1364456"/>
                  <a:gd name="connsiteY23" fmla="*/ 269815 h 736540"/>
                  <a:gd name="connsiteX24" fmla="*/ 0 w 1364456"/>
                  <a:gd name="connsiteY24" fmla="*/ 276959 h 736540"/>
                  <a:gd name="connsiteX25" fmla="*/ 14287 w 1364456"/>
                  <a:gd name="connsiteY25" fmla="*/ 281722 h 736540"/>
                  <a:gd name="connsiteX26" fmla="*/ 28575 w 1364456"/>
                  <a:gd name="connsiteY26" fmla="*/ 291247 h 736540"/>
                  <a:gd name="connsiteX27" fmla="*/ 38100 w 1364456"/>
                  <a:gd name="connsiteY27" fmla="*/ 319822 h 736540"/>
                  <a:gd name="connsiteX28" fmla="*/ 42862 w 1364456"/>
                  <a:gd name="connsiteY28" fmla="*/ 334109 h 736540"/>
                  <a:gd name="connsiteX29" fmla="*/ 47625 w 1364456"/>
                  <a:gd name="connsiteY29" fmla="*/ 353159 h 736540"/>
                  <a:gd name="connsiteX30" fmla="*/ 50006 w 1364456"/>
                  <a:gd name="connsiteY30" fmla="*/ 374590 h 736540"/>
                  <a:gd name="connsiteX31" fmla="*/ 52387 w 1364456"/>
                  <a:gd name="connsiteY31" fmla="*/ 391259 h 736540"/>
                  <a:gd name="connsiteX32" fmla="*/ 59531 w 1364456"/>
                  <a:gd name="connsiteY32" fmla="*/ 396022 h 736540"/>
                  <a:gd name="connsiteX33" fmla="*/ 69056 w 1364456"/>
                  <a:gd name="connsiteY33" fmla="*/ 398403 h 736540"/>
                  <a:gd name="connsiteX34" fmla="*/ 76200 w 1364456"/>
                  <a:gd name="connsiteY34" fmla="*/ 400784 h 736540"/>
                  <a:gd name="connsiteX35" fmla="*/ 80962 w 1364456"/>
                  <a:gd name="connsiteY35" fmla="*/ 407928 h 736540"/>
                  <a:gd name="connsiteX36" fmla="*/ 85725 w 1364456"/>
                  <a:gd name="connsiteY36" fmla="*/ 426978 h 736540"/>
                  <a:gd name="connsiteX37" fmla="*/ 90487 w 1364456"/>
                  <a:gd name="connsiteY37" fmla="*/ 434122 h 736540"/>
                  <a:gd name="connsiteX38" fmla="*/ 92868 w 1364456"/>
                  <a:gd name="connsiteY38" fmla="*/ 441265 h 736540"/>
                  <a:gd name="connsiteX39" fmla="*/ 109537 w 1364456"/>
                  <a:gd name="connsiteY39" fmla="*/ 460315 h 736540"/>
                  <a:gd name="connsiteX40" fmla="*/ 116681 w 1364456"/>
                  <a:gd name="connsiteY40" fmla="*/ 507940 h 736540"/>
                  <a:gd name="connsiteX41" fmla="*/ 114300 w 1364456"/>
                  <a:gd name="connsiteY41" fmla="*/ 529372 h 736540"/>
                  <a:gd name="connsiteX42" fmla="*/ 109537 w 1364456"/>
                  <a:gd name="connsiteY42" fmla="*/ 543659 h 736540"/>
                  <a:gd name="connsiteX43" fmla="*/ 88106 w 1364456"/>
                  <a:gd name="connsiteY43" fmla="*/ 555565 h 736540"/>
                  <a:gd name="connsiteX44" fmla="*/ 80962 w 1364456"/>
                  <a:gd name="connsiteY44" fmla="*/ 557947 h 736540"/>
                  <a:gd name="connsiteX45" fmla="*/ 73818 w 1364456"/>
                  <a:gd name="connsiteY45" fmla="*/ 565090 h 736540"/>
                  <a:gd name="connsiteX46" fmla="*/ 73818 w 1364456"/>
                  <a:gd name="connsiteY46" fmla="*/ 586522 h 736540"/>
                  <a:gd name="connsiteX47" fmla="*/ 78581 w 1364456"/>
                  <a:gd name="connsiteY47" fmla="*/ 593665 h 736540"/>
                  <a:gd name="connsiteX48" fmla="*/ 76200 w 1364456"/>
                  <a:gd name="connsiteY48" fmla="*/ 600809 h 736540"/>
                  <a:gd name="connsiteX49" fmla="*/ 85725 w 1364456"/>
                  <a:gd name="connsiteY49" fmla="*/ 603190 h 736540"/>
                  <a:gd name="connsiteX50" fmla="*/ 95250 w 1364456"/>
                  <a:gd name="connsiteY50" fmla="*/ 607953 h 736540"/>
                  <a:gd name="connsiteX51" fmla="*/ 121443 w 1364456"/>
                  <a:gd name="connsiteY51" fmla="*/ 617478 h 736540"/>
                  <a:gd name="connsiteX52" fmla="*/ 128587 w 1364456"/>
                  <a:gd name="connsiteY52" fmla="*/ 619859 h 736540"/>
                  <a:gd name="connsiteX53" fmla="*/ 138112 w 1364456"/>
                  <a:gd name="connsiteY53" fmla="*/ 624622 h 736540"/>
                  <a:gd name="connsiteX54" fmla="*/ 157162 w 1364456"/>
                  <a:gd name="connsiteY54" fmla="*/ 627003 h 736540"/>
                  <a:gd name="connsiteX55" fmla="*/ 173831 w 1364456"/>
                  <a:gd name="connsiteY55" fmla="*/ 631765 h 736540"/>
                  <a:gd name="connsiteX56" fmla="*/ 185737 w 1364456"/>
                  <a:gd name="connsiteY56" fmla="*/ 646053 h 736540"/>
                  <a:gd name="connsiteX57" fmla="*/ 188118 w 1364456"/>
                  <a:gd name="connsiteY57" fmla="*/ 653197 h 736540"/>
                  <a:gd name="connsiteX58" fmla="*/ 185737 w 1364456"/>
                  <a:gd name="connsiteY58" fmla="*/ 660340 h 736540"/>
                  <a:gd name="connsiteX59" fmla="*/ 178593 w 1364456"/>
                  <a:gd name="connsiteY59" fmla="*/ 662722 h 736540"/>
                  <a:gd name="connsiteX60" fmla="*/ 152400 w 1364456"/>
                  <a:gd name="connsiteY60" fmla="*/ 665103 h 736540"/>
                  <a:gd name="connsiteX61" fmla="*/ 130968 w 1364456"/>
                  <a:gd name="connsiteY61" fmla="*/ 672247 h 736540"/>
                  <a:gd name="connsiteX62" fmla="*/ 123825 w 1364456"/>
                  <a:gd name="connsiteY62" fmla="*/ 674628 h 736540"/>
                  <a:gd name="connsiteX63" fmla="*/ 116681 w 1364456"/>
                  <a:gd name="connsiteY63" fmla="*/ 679390 h 736540"/>
                  <a:gd name="connsiteX64" fmla="*/ 119062 w 1364456"/>
                  <a:gd name="connsiteY64" fmla="*/ 693678 h 736540"/>
                  <a:gd name="connsiteX65" fmla="*/ 140493 w 1364456"/>
                  <a:gd name="connsiteY65" fmla="*/ 703203 h 736540"/>
                  <a:gd name="connsiteX66" fmla="*/ 147637 w 1364456"/>
                  <a:gd name="connsiteY66" fmla="*/ 705584 h 736540"/>
                  <a:gd name="connsiteX67" fmla="*/ 154781 w 1364456"/>
                  <a:gd name="connsiteY67" fmla="*/ 707965 h 736540"/>
                  <a:gd name="connsiteX68" fmla="*/ 197643 w 1364456"/>
                  <a:gd name="connsiteY68" fmla="*/ 712728 h 736540"/>
                  <a:gd name="connsiteX69" fmla="*/ 223837 w 1364456"/>
                  <a:gd name="connsiteY69" fmla="*/ 717490 h 736540"/>
                  <a:gd name="connsiteX70" fmla="*/ 245268 w 1364456"/>
                  <a:gd name="connsiteY70" fmla="*/ 729397 h 736540"/>
                  <a:gd name="connsiteX71" fmla="*/ 252412 w 1364456"/>
                  <a:gd name="connsiteY71" fmla="*/ 734159 h 736540"/>
                  <a:gd name="connsiteX72" fmla="*/ 259556 w 1364456"/>
                  <a:gd name="connsiteY72" fmla="*/ 736540 h 736540"/>
                  <a:gd name="connsiteX73" fmla="*/ 271462 w 1364456"/>
                  <a:gd name="connsiteY73" fmla="*/ 710347 h 736540"/>
                  <a:gd name="connsiteX74" fmla="*/ 285750 w 1364456"/>
                  <a:gd name="connsiteY74" fmla="*/ 705584 h 736540"/>
                  <a:gd name="connsiteX75" fmla="*/ 335756 w 1364456"/>
                  <a:gd name="connsiteY75" fmla="*/ 703203 h 736540"/>
                  <a:gd name="connsiteX76" fmla="*/ 338137 w 1364456"/>
                  <a:gd name="connsiteY76" fmla="*/ 696059 h 736540"/>
                  <a:gd name="connsiteX77" fmla="*/ 330993 w 1364456"/>
                  <a:gd name="connsiteY77" fmla="*/ 679390 h 736540"/>
                  <a:gd name="connsiteX78" fmla="*/ 328612 w 1364456"/>
                  <a:gd name="connsiteY78" fmla="*/ 669865 h 736540"/>
                  <a:gd name="connsiteX79" fmla="*/ 330993 w 1364456"/>
                  <a:gd name="connsiteY79" fmla="*/ 641290 h 736540"/>
                  <a:gd name="connsiteX80" fmla="*/ 333375 w 1364456"/>
                  <a:gd name="connsiteY80" fmla="*/ 634147 h 736540"/>
                  <a:gd name="connsiteX81" fmla="*/ 361950 w 1364456"/>
                  <a:gd name="connsiteY81" fmla="*/ 622240 h 736540"/>
                  <a:gd name="connsiteX82" fmla="*/ 373856 w 1364456"/>
                  <a:gd name="connsiteY82" fmla="*/ 619859 h 736540"/>
                  <a:gd name="connsiteX83" fmla="*/ 383381 w 1364456"/>
                  <a:gd name="connsiteY83" fmla="*/ 615097 h 736540"/>
                  <a:gd name="connsiteX84" fmla="*/ 390525 w 1364456"/>
                  <a:gd name="connsiteY84" fmla="*/ 612715 h 736540"/>
                  <a:gd name="connsiteX85" fmla="*/ 397668 w 1364456"/>
                  <a:gd name="connsiteY85" fmla="*/ 605572 h 736540"/>
                  <a:gd name="connsiteX86" fmla="*/ 411956 w 1364456"/>
                  <a:gd name="connsiteY86" fmla="*/ 598428 h 736540"/>
                  <a:gd name="connsiteX87" fmla="*/ 438150 w 1364456"/>
                  <a:gd name="connsiteY87" fmla="*/ 600809 h 736540"/>
                  <a:gd name="connsiteX88" fmla="*/ 454818 w 1364456"/>
                  <a:gd name="connsiteY88" fmla="*/ 610334 h 736540"/>
                  <a:gd name="connsiteX89" fmla="*/ 469106 w 1364456"/>
                  <a:gd name="connsiteY89" fmla="*/ 615097 h 736540"/>
                  <a:gd name="connsiteX90" fmla="*/ 476250 w 1364456"/>
                  <a:gd name="connsiteY90" fmla="*/ 617478 h 736540"/>
                  <a:gd name="connsiteX91" fmla="*/ 490537 w 1364456"/>
                  <a:gd name="connsiteY91" fmla="*/ 627003 h 736540"/>
                  <a:gd name="connsiteX92" fmla="*/ 504825 w 1364456"/>
                  <a:gd name="connsiteY92" fmla="*/ 634147 h 736540"/>
                  <a:gd name="connsiteX93" fmla="*/ 540543 w 1364456"/>
                  <a:gd name="connsiteY93" fmla="*/ 629384 h 736540"/>
                  <a:gd name="connsiteX94" fmla="*/ 554831 w 1364456"/>
                  <a:gd name="connsiteY94" fmla="*/ 619859 h 736540"/>
                  <a:gd name="connsiteX95" fmla="*/ 569118 w 1364456"/>
                  <a:gd name="connsiteY95" fmla="*/ 612715 h 736540"/>
                  <a:gd name="connsiteX96" fmla="*/ 583406 w 1364456"/>
                  <a:gd name="connsiteY96" fmla="*/ 603190 h 736540"/>
                  <a:gd name="connsiteX97" fmla="*/ 588168 w 1364456"/>
                  <a:gd name="connsiteY97" fmla="*/ 596047 h 736540"/>
                  <a:gd name="connsiteX98" fmla="*/ 590550 w 1364456"/>
                  <a:gd name="connsiteY98" fmla="*/ 588903 h 736540"/>
                  <a:gd name="connsiteX99" fmla="*/ 597693 w 1364456"/>
                  <a:gd name="connsiteY99" fmla="*/ 581759 h 736540"/>
                  <a:gd name="connsiteX100" fmla="*/ 600075 w 1364456"/>
                  <a:gd name="connsiteY100" fmla="*/ 572234 h 736540"/>
                  <a:gd name="connsiteX101" fmla="*/ 621506 w 1364456"/>
                  <a:gd name="connsiteY101" fmla="*/ 560328 h 736540"/>
                  <a:gd name="connsiteX102" fmla="*/ 633412 w 1364456"/>
                  <a:gd name="connsiteY102" fmla="*/ 562709 h 736540"/>
                  <a:gd name="connsiteX103" fmla="*/ 647700 w 1364456"/>
                  <a:gd name="connsiteY103" fmla="*/ 572234 h 736540"/>
                  <a:gd name="connsiteX104" fmla="*/ 652462 w 1364456"/>
                  <a:gd name="connsiteY104" fmla="*/ 579378 h 736540"/>
                  <a:gd name="connsiteX105" fmla="*/ 659606 w 1364456"/>
                  <a:gd name="connsiteY105" fmla="*/ 586522 h 736540"/>
                  <a:gd name="connsiteX106" fmla="*/ 673893 w 1364456"/>
                  <a:gd name="connsiteY106" fmla="*/ 615097 h 736540"/>
                  <a:gd name="connsiteX107" fmla="*/ 683418 w 1364456"/>
                  <a:gd name="connsiteY107" fmla="*/ 622240 h 736540"/>
                  <a:gd name="connsiteX108" fmla="*/ 697706 w 1364456"/>
                  <a:gd name="connsiteY108" fmla="*/ 631765 h 736540"/>
                  <a:gd name="connsiteX109" fmla="*/ 707231 w 1364456"/>
                  <a:gd name="connsiteY109" fmla="*/ 638909 h 736540"/>
                  <a:gd name="connsiteX110" fmla="*/ 721518 w 1364456"/>
                  <a:gd name="connsiteY110" fmla="*/ 643672 h 736540"/>
                  <a:gd name="connsiteX111" fmla="*/ 745331 w 1364456"/>
                  <a:gd name="connsiteY111" fmla="*/ 650815 h 736540"/>
                  <a:gd name="connsiteX112" fmla="*/ 754856 w 1364456"/>
                  <a:gd name="connsiteY112" fmla="*/ 653197 h 736540"/>
                  <a:gd name="connsiteX113" fmla="*/ 773906 w 1364456"/>
                  <a:gd name="connsiteY113" fmla="*/ 660340 h 736540"/>
                  <a:gd name="connsiteX114" fmla="*/ 781050 w 1364456"/>
                  <a:gd name="connsiteY114" fmla="*/ 662722 h 736540"/>
                  <a:gd name="connsiteX115" fmla="*/ 821531 w 1364456"/>
                  <a:gd name="connsiteY115" fmla="*/ 669865 h 736540"/>
                  <a:gd name="connsiteX116" fmla="*/ 854868 w 1364456"/>
                  <a:gd name="connsiteY116" fmla="*/ 667484 h 736540"/>
                  <a:gd name="connsiteX117" fmla="*/ 938212 w 1364456"/>
                  <a:gd name="connsiteY117" fmla="*/ 662722 h 736540"/>
                  <a:gd name="connsiteX118" fmla="*/ 952500 w 1364456"/>
                  <a:gd name="connsiteY118" fmla="*/ 655578 h 736540"/>
                  <a:gd name="connsiteX119" fmla="*/ 976312 w 1364456"/>
                  <a:gd name="connsiteY119" fmla="*/ 643672 h 736540"/>
                  <a:gd name="connsiteX120" fmla="*/ 985837 w 1364456"/>
                  <a:gd name="connsiteY120" fmla="*/ 638909 h 736540"/>
                  <a:gd name="connsiteX121" fmla="*/ 992981 w 1364456"/>
                  <a:gd name="connsiteY121" fmla="*/ 636528 h 736540"/>
                  <a:gd name="connsiteX122" fmla="*/ 1023937 w 1364456"/>
                  <a:gd name="connsiteY122" fmla="*/ 629384 h 736540"/>
                  <a:gd name="connsiteX123" fmla="*/ 1040606 w 1364456"/>
                  <a:gd name="connsiteY123" fmla="*/ 627003 h 736540"/>
                  <a:gd name="connsiteX124" fmla="*/ 1047750 w 1364456"/>
                  <a:gd name="connsiteY124" fmla="*/ 624622 h 736540"/>
                  <a:gd name="connsiteX125" fmla="*/ 1062037 w 1364456"/>
                  <a:gd name="connsiteY125" fmla="*/ 617478 h 736540"/>
                  <a:gd name="connsiteX126" fmla="*/ 1081087 w 1364456"/>
                  <a:gd name="connsiteY126" fmla="*/ 612715 h 736540"/>
                  <a:gd name="connsiteX127" fmla="*/ 1102518 w 1364456"/>
                  <a:gd name="connsiteY127" fmla="*/ 607953 h 736540"/>
                  <a:gd name="connsiteX128" fmla="*/ 1114425 w 1364456"/>
                  <a:gd name="connsiteY128" fmla="*/ 605572 h 736540"/>
                  <a:gd name="connsiteX129" fmla="*/ 1131093 w 1364456"/>
                  <a:gd name="connsiteY129" fmla="*/ 598428 h 736540"/>
                  <a:gd name="connsiteX130" fmla="*/ 1140618 w 1364456"/>
                  <a:gd name="connsiteY130" fmla="*/ 572234 h 736540"/>
                  <a:gd name="connsiteX131" fmla="*/ 1143000 w 1364456"/>
                  <a:gd name="connsiteY131" fmla="*/ 550803 h 736540"/>
                  <a:gd name="connsiteX132" fmla="*/ 1150143 w 1364456"/>
                  <a:gd name="connsiteY132" fmla="*/ 546040 h 736540"/>
                  <a:gd name="connsiteX133" fmla="*/ 1166812 w 1364456"/>
                  <a:gd name="connsiteY133" fmla="*/ 541278 h 736540"/>
                  <a:gd name="connsiteX134" fmla="*/ 1171575 w 1364456"/>
                  <a:gd name="connsiteY134" fmla="*/ 534134 h 736540"/>
                  <a:gd name="connsiteX135" fmla="*/ 1173956 w 1364456"/>
                  <a:gd name="connsiteY135" fmla="*/ 526990 h 736540"/>
                  <a:gd name="connsiteX136" fmla="*/ 1178718 w 1364456"/>
                  <a:gd name="connsiteY136" fmla="*/ 515084 h 736540"/>
                  <a:gd name="connsiteX137" fmla="*/ 1183481 w 1364456"/>
                  <a:gd name="connsiteY137" fmla="*/ 498415 h 736540"/>
                  <a:gd name="connsiteX138" fmla="*/ 1181100 w 1364456"/>
                  <a:gd name="connsiteY138" fmla="*/ 476984 h 736540"/>
                  <a:gd name="connsiteX139" fmla="*/ 1178718 w 1364456"/>
                  <a:gd name="connsiteY139" fmla="*/ 469840 h 736540"/>
                  <a:gd name="connsiteX140" fmla="*/ 1181100 w 1364456"/>
                  <a:gd name="connsiteY140" fmla="*/ 436503 h 736540"/>
                  <a:gd name="connsiteX141" fmla="*/ 1195387 w 1364456"/>
                  <a:gd name="connsiteY141" fmla="*/ 419834 h 736540"/>
                  <a:gd name="connsiteX142" fmla="*/ 1202531 w 1364456"/>
                  <a:gd name="connsiteY142" fmla="*/ 403165 h 736540"/>
                  <a:gd name="connsiteX143" fmla="*/ 1212056 w 1364456"/>
                  <a:gd name="connsiteY143" fmla="*/ 388878 h 736540"/>
                  <a:gd name="connsiteX144" fmla="*/ 1228725 w 1364456"/>
                  <a:gd name="connsiteY144" fmla="*/ 362684 h 736540"/>
                  <a:gd name="connsiteX145" fmla="*/ 1233487 w 1364456"/>
                  <a:gd name="connsiteY145" fmla="*/ 355540 h 736540"/>
                  <a:gd name="connsiteX146" fmla="*/ 1245393 w 1364456"/>
                  <a:gd name="connsiteY146" fmla="*/ 346015 h 736540"/>
                  <a:gd name="connsiteX147" fmla="*/ 1252537 w 1364456"/>
                  <a:gd name="connsiteY147" fmla="*/ 343634 h 736540"/>
                  <a:gd name="connsiteX148" fmla="*/ 1273968 w 1364456"/>
                  <a:gd name="connsiteY148" fmla="*/ 336490 h 736540"/>
                  <a:gd name="connsiteX149" fmla="*/ 1283493 w 1364456"/>
                  <a:gd name="connsiteY149" fmla="*/ 331728 h 736540"/>
                  <a:gd name="connsiteX150" fmla="*/ 1293018 w 1364456"/>
                  <a:gd name="connsiteY150" fmla="*/ 317440 h 736540"/>
                  <a:gd name="connsiteX151" fmla="*/ 1288256 w 1364456"/>
                  <a:gd name="connsiteY151" fmla="*/ 288865 h 736540"/>
                  <a:gd name="connsiteX152" fmla="*/ 1285875 w 1364456"/>
                  <a:gd name="connsiteY152" fmla="*/ 279340 h 736540"/>
                  <a:gd name="connsiteX153" fmla="*/ 1278731 w 1364456"/>
                  <a:gd name="connsiteY153" fmla="*/ 272197 h 736540"/>
                  <a:gd name="connsiteX154" fmla="*/ 1283493 w 1364456"/>
                  <a:gd name="connsiteY154" fmla="*/ 226953 h 736540"/>
                  <a:gd name="connsiteX155" fmla="*/ 1288256 w 1364456"/>
                  <a:gd name="connsiteY155" fmla="*/ 219809 h 736540"/>
                  <a:gd name="connsiteX156" fmla="*/ 1316831 w 1364456"/>
                  <a:gd name="connsiteY156" fmla="*/ 195997 h 736540"/>
                  <a:gd name="connsiteX157" fmla="*/ 1323975 w 1364456"/>
                  <a:gd name="connsiteY157" fmla="*/ 191234 h 736540"/>
                  <a:gd name="connsiteX158" fmla="*/ 1331118 w 1364456"/>
                  <a:gd name="connsiteY158" fmla="*/ 186472 h 736540"/>
                  <a:gd name="connsiteX159" fmla="*/ 1345406 w 1364456"/>
                  <a:gd name="connsiteY159" fmla="*/ 174565 h 736540"/>
                  <a:gd name="connsiteX160" fmla="*/ 1347787 w 1364456"/>
                  <a:gd name="connsiteY160" fmla="*/ 167422 h 736540"/>
                  <a:gd name="connsiteX161" fmla="*/ 1357312 w 1364456"/>
                  <a:gd name="connsiteY161" fmla="*/ 153134 h 736540"/>
                  <a:gd name="connsiteX162" fmla="*/ 1362075 w 1364456"/>
                  <a:gd name="connsiteY162" fmla="*/ 138847 h 736540"/>
                  <a:gd name="connsiteX163" fmla="*/ 1364456 w 1364456"/>
                  <a:gd name="connsiteY163" fmla="*/ 131703 h 736540"/>
                  <a:gd name="connsiteX164" fmla="*/ 1357312 w 1364456"/>
                  <a:gd name="connsiteY164" fmla="*/ 126940 h 736540"/>
                  <a:gd name="connsiteX165" fmla="*/ 1288256 w 1364456"/>
                  <a:gd name="connsiteY165" fmla="*/ 134084 h 736540"/>
                  <a:gd name="connsiteX166" fmla="*/ 1269206 w 1364456"/>
                  <a:gd name="connsiteY166" fmla="*/ 143609 h 736540"/>
                  <a:gd name="connsiteX167" fmla="*/ 1252537 w 1364456"/>
                  <a:gd name="connsiteY167" fmla="*/ 148372 h 736540"/>
                  <a:gd name="connsiteX168" fmla="*/ 1245393 w 1364456"/>
                  <a:gd name="connsiteY168" fmla="*/ 150753 h 736540"/>
                  <a:gd name="connsiteX169" fmla="*/ 1228725 w 1364456"/>
                  <a:gd name="connsiteY169" fmla="*/ 155515 h 736540"/>
                  <a:gd name="connsiteX170" fmla="*/ 1223962 w 1364456"/>
                  <a:gd name="connsiteY170" fmla="*/ 162659 h 736540"/>
                  <a:gd name="connsiteX171" fmla="*/ 1209675 w 1364456"/>
                  <a:gd name="connsiteY171" fmla="*/ 167422 h 736540"/>
                  <a:gd name="connsiteX172" fmla="*/ 1200150 w 1364456"/>
                  <a:gd name="connsiteY172" fmla="*/ 165040 h 736540"/>
                  <a:gd name="connsiteX173" fmla="*/ 1185862 w 1364456"/>
                  <a:gd name="connsiteY173" fmla="*/ 150753 h 736540"/>
                  <a:gd name="connsiteX174" fmla="*/ 1088231 w 1364456"/>
                  <a:gd name="connsiteY174" fmla="*/ 143609 h 736540"/>
                  <a:gd name="connsiteX175" fmla="*/ 1085850 w 1364456"/>
                  <a:gd name="connsiteY175" fmla="*/ 134084 h 736540"/>
                  <a:gd name="connsiteX176" fmla="*/ 1071562 w 1364456"/>
                  <a:gd name="connsiteY176" fmla="*/ 117415 h 736540"/>
                  <a:gd name="connsiteX177" fmla="*/ 1064418 w 1364456"/>
                  <a:gd name="connsiteY177" fmla="*/ 115034 h 736540"/>
                  <a:gd name="connsiteX178" fmla="*/ 1052512 w 1364456"/>
                  <a:gd name="connsiteY178" fmla="*/ 107890 h 736540"/>
                  <a:gd name="connsiteX179" fmla="*/ 1045368 w 1364456"/>
                  <a:gd name="connsiteY179" fmla="*/ 105509 h 736540"/>
                  <a:gd name="connsiteX180" fmla="*/ 1009650 w 1364456"/>
                  <a:gd name="connsiteY180" fmla="*/ 100747 h 736540"/>
                  <a:gd name="connsiteX181" fmla="*/ 997743 w 1364456"/>
                  <a:gd name="connsiteY181" fmla="*/ 98365 h 736540"/>
                  <a:gd name="connsiteX182" fmla="*/ 883443 w 1364456"/>
                  <a:gd name="connsiteY182" fmla="*/ 100747 h 736540"/>
                  <a:gd name="connsiteX183" fmla="*/ 873918 w 1364456"/>
                  <a:gd name="connsiteY183" fmla="*/ 107890 h 736540"/>
                  <a:gd name="connsiteX184" fmla="*/ 862012 w 1364456"/>
                  <a:gd name="connsiteY184" fmla="*/ 124559 h 736540"/>
                  <a:gd name="connsiteX185" fmla="*/ 857250 w 1364456"/>
                  <a:gd name="connsiteY185" fmla="*/ 134084 h 736540"/>
                  <a:gd name="connsiteX186" fmla="*/ 847725 w 1364456"/>
                  <a:gd name="connsiteY186" fmla="*/ 143609 h 736540"/>
                  <a:gd name="connsiteX187" fmla="*/ 828675 w 1364456"/>
                  <a:gd name="connsiteY187" fmla="*/ 157897 h 736540"/>
                  <a:gd name="connsiteX188" fmla="*/ 823912 w 1364456"/>
                  <a:gd name="connsiteY188" fmla="*/ 165040 h 736540"/>
                  <a:gd name="connsiteX189" fmla="*/ 816768 w 1364456"/>
                  <a:gd name="connsiteY189" fmla="*/ 181709 h 736540"/>
                  <a:gd name="connsiteX190" fmla="*/ 807243 w 1364456"/>
                  <a:gd name="connsiteY190" fmla="*/ 195997 h 736540"/>
                  <a:gd name="connsiteX191" fmla="*/ 802481 w 1364456"/>
                  <a:gd name="connsiteY191" fmla="*/ 203140 h 736540"/>
                  <a:gd name="connsiteX192" fmla="*/ 795337 w 1364456"/>
                  <a:gd name="connsiteY192" fmla="*/ 207903 h 736540"/>
                  <a:gd name="connsiteX193" fmla="*/ 778668 w 1364456"/>
                  <a:gd name="connsiteY193" fmla="*/ 212665 h 736540"/>
                  <a:gd name="connsiteX194" fmla="*/ 776287 w 1364456"/>
                  <a:gd name="connsiteY194" fmla="*/ 226953 h 736540"/>
                  <a:gd name="connsiteX195" fmla="*/ 759618 w 1364456"/>
                  <a:gd name="connsiteY195" fmla="*/ 229334 h 736540"/>
                  <a:gd name="connsiteX196" fmla="*/ 750093 w 1364456"/>
                  <a:gd name="connsiteY196" fmla="*/ 234097 h 736540"/>
                  <a:gd name="connsiteX197" fmla="*/ 731043 w 1364456"/>
                  <a:gd name="connsiteY197" fmla="*/ 236478 h 736540"/>
                  <a:gd name="connsiteX198" fmla="*/ 721518 w 1364456"/>
                  <a:gd name="connsiteY198" fmla="*/ 238859 h 736540"/>
                  <a:gd name="connsiteX199" fmla="*/ 707231 w 1364456"/>
                  <a:gd name="connsiteY199" fmla="*/ 243622 h 736540"/>
                  <a:gd name="connsiteX200" fmla="*/ 692943 w 1364456"/>
                  <a:gd name="connsiteY200" fmla="*/ 246003 h 736540"/>
                  <a:gd name="connsiteX201" fmla="*/ 661987 w 1364456"/>
                  <a:gd name="connsiteY201" fmla="*/ 243622 h 736540"/>
                  <a:gd name="connsiteX202" fmla="*/ 645318 w 1364456"/>
                  <a:gd name="connsiteY202" fmla="*/ 236478 h 736540"/>
                  <a:gd name="connsiteX203" fmla="*/ 633412 w 1364456"/>
                  <a:gd name="connsiteY203" fmla="*/ 234097 h 736540"/>
                  <a:gd name="connsiteX204" fmla="*/ 609600 w 1364456"/>
                  <a:gd name="connsiteY204" fmla="*/ 224572 h 736540"/>
                  <a:gd name="connsiteX205" fmla="*/ 602456 w 1364456"/>
                  <a:gd name="connsiteY205" fmla="*/ 222190 h 736540"/>
                  <a:gd name="connsiteX206" fmla="*/ 521493 w 1364456"/>
                  <a:gd name="connsiteY206" fmla="*/ 224572 h 736540"/>
                  <a:gd name="connsiteX207" fmla="*/ 500062 w 1364456"/>
                  <a:gd name="connsiteY207" fmla="*/ 234097 h 736540"/>
                  <a:gd name="connsiteX208" fmla="*/ 478631 w 1364456"/>
                  <a:gd name="connsiteY208" fmla="*/ 246003 h 736540"/>
                  <a:gd name="connsiteX209" fmla="*/ 459581 w 1364456"/>
                  <a:gd name="connsiteY209" fmla="*/ 255528 h 736540"/>
                  <a:gd name="connsiteX210" fmla="*/ 431006 w 1364456"/>
                  <a:gd name="connsiteY210" fmla="*/ 253147 h 736540"/>
                  <a:gd name="connsiteX211" fmla="*/ 421481 w 1364456"/>
                  <a:gd name="connsiteY211" fmla="*/ 250765 h 736540"/>
                  <a:gd name="connsiteX212" fmla="*/ 395287 w 1364456"/>
                  <a:gd name="connsiteY212" fmla="*/ 246003 h 736540"/>
                  <a:gd name="connsiteX213" fmla="*/ 385762 w 1364456"/>
                  <a:gd name="connsiteY213" fmla="*/ 241240 h 736540"/>
                  <a:gd name="connsiteX214" fmla="*/ 364331 w 1364456"/>
                  <a:gd name="connsiteY214" fmla="*/ 234097 h 736540"/>
                  <a:gd name="connsiteX215" fmla="*/ 359568 w 1364456"/>
                  <a:gd name="connsiteY215" fmla="*/ 226953 h 736540"/>
                  <a:gd name="connsiteX216" fmla="*/ 357187 w 1364456"/>
                  <a:gd name="connsiteY216" fmla="*/ 198378 h 736540"/>
                  <a:gd name="connsiteX217" fmla="*/ 333375 w 1364456"/>
                  <a:gd name="connsiteY217" fmla="*/ 186472 h 736540"/>
                  <a:gd name="connsiteX218" fmla="*/ 319087 w 1364456"/>
                  <a:gd name="connsiteY218" fmla="*/ 181709 h 736540"/>
                  <a:gd name="connsiteX219" fmla="*/ 311943 w 1364456"/>
                  <a:gd name="connsiteY219" fmla="*/ 174565 h 736540"/>
                  <a:gd name="connsiteX220" fmla="*/ 302418 w 1364456"/>
                  <a:gd name="connsiteY220" fmla="*/ 150753 h 736540"/>
                  <a:gd name="connsiteX221" fmla="*/ 297656 w 1364456"/>
                  <a:gd name="connsiteY221" fmla="*/ 134084 h 736540"/>
                  <a:gd name="connsiteX222" fmla="*/ 290512 w 1364456"/>
                  <a:gd name="connsiteY222" fmla="*/ 129322 h 736540"/>
                  <a:gd name="connsiteX223" fmla="*/ 273843 w 1364456"/>
                  <a:gd name="connsiteY223" fmla="*/ 122178 h 736540"/>
                  <a:gd name="connsiteX224" fmla="*/ 261937 w 1364456"/>
                  <a:gd name="connsiteY224" fmla="*/ 119797 h 736540"/>
                  <a:gd name="connsiteX225" fmla="*/ 254793 w 1364456"/>
                  <a:gd name="connsiteY225" fmla="*/ 115034 h 736540"/>
                  <a:gd name="connsiteX226" fmla="*/ 230981 w 1364456"/>
                  <a:gd name="connsiteY226" fmla="*/ 110272 h 736540"/>
                  <a:gd name="connsiteX227" fmla="*/ 223837 w 1364456"/>
                  <a:gd name="connsiteY227" fmla="*/ 107890 h 736540"/>
                  <a:gd name="connsiteX228" fmla="*/ 223837 w 1364456"/>
                  <a:gd name="connsiteY228" fmla="*/ 88840 h 736540"/>
                  <a:gd name="connsiteX229" fmla="*/ 221456 w 1364456"/>
                  <a:gd name="connsiteY229" fmla="*/ 53122 h 736540"/>
                  <a:gd name="connsiteX230" fmla="*/ 216693 w 1364456"/>
                  <a:gd name="connsiteY230" fmla="*/ 38834 h 736540"/>
                  <a:gd name="connsiteX231" fmla="*/ 209550 w 1364456"/>
                  <a:gd name="connsiteY231" fmla="*/ 24547 h 736540"/>
                  <a:gd name="connsiteX232" fmla="*/ 207168 w 1364456"/>
                  <a:gd name="connsiteY232" fmla="*/ 15022 h 736540"/>
                  <a:gd name="connsiteX233" fmla="*/ 188118 w 1364456"/>
                  <a:gd name="connsiteY233" fmla="*/ 734 h 73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364456" h="736540">
                    <a:moveTo>
                      <a:pt x="188118" y="734"/>
                    </a:moveTo>
                    <a:cubicBezTo>
                      <a:pt x="179784" y="-1250"/>
                      <a:pt x="167334" y="1208"/>
                      <a:pt x="157162" y="3115"/>
                    </a:cubicBezTo>
                    <a:cubicBezTo>
                      <a:pt x="154349" y="3642"/>
                      <a:pt x="152578" y="6598"/>
                      <a:pt x="150018" y="7878"/>
                    </a:cubicBezTo>
                    <a:cubicBezTo>
                      <a:pt x="147773" y="9000"/>
                      <a:pt x="145256" y="9465"/>
                      <a:pt x="142875" y="10259"/>
                    </a:cubicBezTo>
                    <a:cubicBezTo>
                      <a:pt x="142081" y="12640"/>
                      <a:pt x="141885" y="15314"/>
                      <a:pt x="140493" y="17403"/>
                    </a:cubicBezTo>
                    <a:cubicBezTo>
                      <a:pt x="132275" y="29731"/>
                      <a:pt x="130167" y="19814"/>
                      <a:pt x="123825" y="38834"/>
                    </a:cubicBezTo>
                    <a:cubicBezTo>
                      <a:pt x="123031" y="41215"/>
                      <a:pt x="122052" y="43543"/>
                      <a:pt x="121443" y="45978"/>
                    </a:cubicBezTo>
                    <a:cubicBezTo>
                      <a:pt x="120085" y="51411"/>
                      <a:pt x="119402" y="59586"/>
                      <a:pt x="116681" y="65028"/>
                    </a:cubicBezTo>
                    <a:cubicBezTo>
                      <a:pt x="114006" y="70379"/>
                      <a:pt x="109288" y="75554"/>
                      <a:pt x="104775" y="79315"/>
                    </a:cubicBezTo>
                    <a:cubicBezTo>
                      <a:pt x="102576" y="81147"/>
                      <a:pt x="100191" y="82798"/>
                      <a:pt x="97631" y="84078"/>
                    </a:cubicBezTo>
                    <a:cubicBezTo>
                      <a:pt x="94216" y="85786"/>
                      <a:pt x="84012" y="88077"/>
                      <a:pt x="80962" y="88840"/>
                    </a:cubicBezTo>
                    <a:cubicBezTo>
                      <a:pt x="79375" y="91221"/>
                      <a:pt x="77362" y="93369"/>
                      <a:pt x="76200" y="95984"/>
                    </a:cubicBezTo>
                    <a:cubicBezTo>
                      <a:pt x="69783" y="110422"/>
                      <a:pt x="72384" y="109580"/>
                      <a:pt x="69056" y="124559"/>
                    </a:cubicBezTo>
                    <a:cubicBezTo>
                      <a:pt x="68512" y="127009"/>
                      <a:pt x="67365" y="129289"/>
                      <a:pt x="66675" y="131703"/>
                    </a:cubicBezTo>
                    <a:cubicBezTo>
                      <a:pt x="65776" y="134850"/>
                      <a:pt x="65233" y="138093"/>
                      <a:pt x="64293" y="141228"/>
                    </a:cubicBezTo>
                    <a:cubicBezTo>
                      <a:pt x="62129" y="148440"/>
                      <a:pt x="59531" y="155515"/>
                      <a:pt x="57150" y="162659"/>
                    </a:cubicBezTo>
                    <a:lnTo>
                      <a:pt x="54768" y="169803"/>
                    </a:lnTo>
                    <a:cubicBezTo>
                      <a:pt x="53974" y="174565"/>
                      <a:pt x="53558" y="179406"/>
                      <a:pt x="52387" y="184090"/>
                    </a:cubicBezTo>
                    <a:cubicBezTo>
                      <a:pt x="51170" y="188960"/>
                      <a:pt x="49213" y="193615"/>
                      <a:pt x="47625" y="198378"/>
                    </a:cubicBezTo>
                    <a:lnTo>
                      <a:pt x="42862" y="212665"/>
                    </a:lnTo>
                    <a:cubicBezTo>
                      <a:pt x="42068" y="215046"/>
                      <a:pt x="41090" y="217374"/>
                      <a:pt x="40481" y="219809"/>
                    </a:cubicBezTo>
                    <a:cubicBezTo>
                      <a:pt x="37491" y="231769"/>
                      <a:pt x="39135" y="226229"/>
                      <a:pt x="35718" y="236478"/>
                    </a:cubicBezTo>
                    <a:cubicBezTo>
                      <a:pt x="35451" y="238081"/>
                      <a:pt x="31954" y="260011"/>
                      <a:pt x="30956" y="262672"/>
                    </a:cubicBezTo>
                    <a:cubicBezTo>
                      <a:pt x="29951" y="265352"/>
                      <a:pt x="28620" y="268298"/>
                      <a:pt x="26193" y="269815"/>
                    </a:cubicBezTo>
                    <a:cubicBezTo>
                      <a:pt x="20504" y="273371"/>
                      <a:pt x="6801" y="275599"/>
                      <a:pt x="0" y="276959"/>
                    </a:cubicBezTo>
                    <a:cubicBezTo>
                      <a:pt x="4762" y="278547"/>
                      <a:pt x="10110" y="278937"/>
                      <a:pt x="14287" y="281722"/>
                    </a:cubicBezTo>
                    <a:lnTo>
                      <a:pt x="28575" y="291247"/>
                    </a:lnTo>
                    <a:lnTo>
                      <a:pt x="38100" y="319822"/>
                    </a:lnTo>
                    <a:cubicBezTo>
                      <a:pt x="38101" y="319826"/>
                      <a:pt x="42861" y="334106"/>
                      <a:pt x="42862" y="334109"/>
                    </a:cubicBezTo>
                    <a:cubicBezTo>
                      <a:pt x="45735" y="348476"/>
                      <a:pt x="43963" y="342176"/>
                      <a:pt x="47625" y="353159"/>
                    </a:cubicBezTo>
                    <a:cubicBezTo>
                      <a:pt x="48419" y="360303"/>
                      <a:pt x="49115" y="367458"/>
                      <a:pt x="50006" y="374590"/>
                    </a:cubicBezTo>
                    <a:cubicBezTo>
                      <a:pt x="50702" y="380159"/>
                      <a:pt x="50108" y="386130"/>
                      <a:pt x="52387" y="391259"/>
                    </a:cubicBezTo>
                    <a:cubicBezTo>
                      <a:pt x="53549" y="393874"/>
                      <a:pt x="56900" y="394895"/>
                      <a:pt x="59531" y="396022"/>
                    </a:cubicBezTo>
                    <a:cubicBezTo>
                      <a:pt x="62539" y="397311"/>
                      <a:pt x="65909" y="397504"/>
                      <a:pt x="69056" y="398403"/>
                    </a:cubicBezTo>
                    <a:cubicBezTo>
                      <a:pt x="71470" y="399093"/>
                      <a:pt x="73819" y="399990"/>
                      <a:pt x="76200" y="400784"/>
                    </a:cubicBezTo>
                    <a:cubicBezTo>
                      <a:pt x="77787" y="403165"/>
                      <a:pt x="79957" y="405248"/>
                      <a:pt x="80962" y="407928"/>
                    </a:cubicBezTo>
                    <a:cubicBezTo>
                      <a:pt x="85042" y="418810"/>
                      <a:pt x="81314" y="418156"/>
                      <a:pt x="85725" y="426978"/>
                    </a:cubicBezTo>
                    <a:cubicBezTo>
                      <a:pt x="87005" y="429538"/>
                      <a:pt x="89207" y="431562"/>
                      <a:pt x="90487" y="434122"/>
                    </a:cubicBezTo>
                    <a:cubicBezTo>
                      <a:pt x="91609" y="436367"/>
                      <a:pt x="91649" y="439071"/>
                      <a:pt x="92868" y="441265"/>
                    </a:cubicBezTo>
                    <a:cubicBezTo>
                      <a:pt x="101040" y="455974"/>
                      <a:pt x="99101" y="453358"/>
                      <a:pt x="109537" y="460315"/>
                    </a:cubicBezTo>
                    <a:cubicBezTo>
                      <a:pt x="121259" y="477896"/>
                      <a:pt x="116681" y="468425"/>
                      <a:pt x="116681" y="507940"/>
                    </a:cubicBezTo>
                    <a:cubicBezTo>
                      <a:pt x="116681" y="515128"/>
                      <a:pt x="115710" y="522324"/>
                      <a:pt x="114300" y="529372"/>
                    </a:cubicBezTo>
                    <a:cubicBezTo>
                      <a:pt x="113315" y="534295"/>
                      <a:pt x="113087" y="540109"/>
                      <a:pt x="109537" y="543659"/>
                    </a:cubicBezTo>
                    <a:cubicBezTo>
                      <a:pt x="98843" y="554353"/>
                      <a:pt x="105589" y="549737"/>
                      <a:pt x="88106" y="555565"/>
                    </a:cubicBezTo>
                    <a:lnTo>
                      <a:pt x="80962" y="557947"/>
                    </a:lnTo>
                    <a:cubicBezTo>
                      <a:pt x="78581" y="560328"/>
                      <a:pt x="75686" y="562288"/>
                      <a:pt x="73818" y="565090"/>
                    </a:cubicBezTo>
                    <a:cubicBezTo>
                      <a:pt x="69576" y="571453"/>
                      <a:pt x="71668" y="580072"/>
                      <a:pt x="73818" y="586522"/>
                    </a:cubicBezTo>
                    <a:cubicBezTo>
                      <a:pt x="74723" y="589237"/>
                      <a:pt x="76993" y="591284"/>
                      <a:pt x="78581" y="593665"/>
                    </a:cubicBezTo>
                    <a:cubicBezTo>
                      <a:pt x="77787" y="596046"/>
                      <a:pt x="74694" y="598801"/>
                      <a:pt x="76200" y="600809"/>
                    </a:cubicBezTo>
                    <a:cubicBezTo>
                      <a:pt x="78164" y="603427"/>
                      <a:pt x="82661" y="602041"/>
                      <a:pt x="85725" y="603190"/>
                    </a:cubicBezTo>
                    <a:cubicBezTo>
                      <a:pt x="89049" y="604436"/>
                      <a:pt x="92006" y="606511"/>
                      <a:pt x="95250" y="607953"/>
                    </a:cubicBezTo>
                    <a:cubicBezTo>
                      <a:pt x="105179" y="612366"/>
                      <a:pt x="110897" y="613962"/>
                      <a:pt x="121443" y="617478"/>
                    </a:cubicBezTo>
                    <a:cubicBezTo>
                      <a:pt x="123824" y="618272"/>
                      <a:pt x="126342" y="618736"/>
                      <a:pt x="128587" y="619859"/>
                    </a:cubicBezTo>
                    <a:cubicBezTo>
                      <a:pt x="131762" y="621447"/>
                      <a:pt x="134668" y="623761"/>
                      <a:pt x="138112" y="624622"/>
                    </a:cubicBezTo>
                    <a:cubicBezTo>
                      <a:pt x="144320" y="626174"/>
                      <a:pt x="150850" y="625951"/>
                      <a:pt x="157162" y="627003"/>
                    </a:cubicBezTo>
                    <a:cubicBezTo>
                      <a:pt x="163142" y="628000"/>
                      <a:pt x="168169" y="629878"/>
                      <a:pt x="173831" y="631765"/>
                    </a:cubicBezTo>
                    <a:cubicBezTo>
                      <a:pt x="179098" y="637032"/>
                      <a:pt x="182422" y="639421"/>
                      <a:pt x="185737" y="646053"/>
                    </a:cubicBezTo>
                    <a:cubicBezTo>
                      <a:pt x="186859" y="648298"/>
                      <a:pt x="187324" y="650816"/>
                      <a:pt x="188118" y="653197"/>
                    </a:cubicBezTo>
                    <a:cubicBezTo>
                      <a:pt x="187324" y="655578"/>
                      <a:pt x="187512" y="658565"/>
                      <a:pt x="185737" y="660340"/>
                    </a:cubicBezTo>
                    <a:cubicBezTo>
                      <a:pt x="183962" y="662115"/>
                      <a:pt x="181078" y="662367"/>
                      <a:pt x="178593" y="662722"/>
                    </a:cubicBezTo>
                    <a:cubicBezTo>
                      <a:pt x="169914" y="663962"/>
                      <a:pt x="161131" y="664309"/>
                      <a:pt x="152400" y="665103"/>
                    </a:cubicBezTo>
                    <a:lnTo>
                      <a:pt x="130968" y="672247"/>
                    </a:lnTo>
                    <a:cubicBezTo>
                      <a:pt x="128587" y="673041"/>
                      <a:pt x="125913" y="673236"/>
                      <a:pt x="123825" y="674628"/>
                    </a:cubicBezTo>
                    <a:lnTo>
                      <a:pt x="116681" y="679390"/>
                    </a:lnTo>
                    <a:cubicBezTo>
                      <a:pt x="117475" y="684153"/>
                      <a:pt x="116903" y="689359"/>
                      <a:pt x="119062" y="693678"/>
                    </a:cubicBezTo>
                    <a:cubicBezTo>
                      <a:pt x="121325" y="698205"/>
                      <a:pt x="139379" y="702832"/>
                      <a:pt x="140493" y="703203"/>
                    </a:cubicBezTo>
                    <a:lnTo>
                      <a:pt x="147637" y="705584"/>
                    </a:lnTo>
                    <a:cubicBezTo>
                      <a:pt x="150018" y="706378"/>
                      <a:pt x="152286" y="707688"/>
                      <a:pt x="154781" y="707965"/>
                    </a:cubicBezTo>
                    <a:cubicBezTo>
                      <a:pt x="169068" y="709553"/>
                      <a:pt x="183547" y="709909"/>
                      <a:pt x="197643" y="712728"/>
                    </a:cubicBezTo>
                    <a:cubicBezTo>
                      <a:pt x="214284" y="716056"/>
                      <a:pt x="205557" y="714444"/>
                      <a:pt x="223837" y="717490"/>
                    </a:cubicBezTo>
                    <a:cubicBezTo>
                      <a:pt x="236412" y="721683"/>
                      <a:pt x="228890" y="718479"/>
                      <a:pt x="245268" y="729397"/>
                    </a:cubicBezTo>
                    <a:cubicBezTo>
                      <a:pt x="247649" y="730984"/>
                      <a:pt x="249697" y="733254"/>
                      <a:pt x="252412" y="734159"/>
                    </a:cubicBezTo>
                    <a:lnTo>
                      <a:pt x="259556" y="736540"/>
                    </a:lnTo>
                    <a:cubicBezTo>
                      <a:pt x="283104" y="730654"/>
                      <a:pt x="253438" y="741244"/>
                      <a:pt x="271462" y="710347"/>
                    </a:cubicBezTo>
                    <a:cubicBezTo>
                      <a:pt x="273992" y="706011"/>
                      <a:pt x="280735" y="705823"/>
                      <a:pt x="285750" y="705584"/>
                    </a:cubicBezTo>
                    <a:lnTo>
                      <a:pt x="335756" y="703203"/>
                    </a:lnTo>
                    <a:cubicBezTo>
                      <a:pt x="336550" y="700822"/>
                      <a:pt x="338137" y="698569"/>
                      <a:pt x="338137" y="696059"/>
                    </a:cubicBezTo>
                    <a:cubicBezTo>
                      <a:pt x="338137" y="688370"/>
                      <a:pt x="334882" y="685223"/>
                      <a:pt x="330993" y="679390"/>
                    </a:cubicBezTo>
                    <a:cubicBezTo>
                      <a:pt x="330199" y="676215"/>
                      <a:pt x="328612" y="673138"/>
                      <a:pt x="328612" y="669865"/>
                    </a:cubicBezTo>
                    <a:cubicBezTo>
                      <a:pt x="328612" y="660307"/>
                      <a:pt x="329730" y="650764"/>
                      <a:pt x="330993" y="641290"/>
                    </a:cubicBezTo>
                    <a:cubicBezTo>
                      <a:pt x="331325" y="638802"/>
                      <a:pt x="331600" y="635922"/>
                      <a:pt x="333375" y="634147"/>
                    </a:cubicBezTo>
                    <a:cubicBezTo>
                      <a:pt x="344660" y="622863"/>
                      <a:pt x="347938" y="624788"/>
                      <a:pt x="361950" y="622240"/>
                    </a:cubicBezTo>
                    <a:cubicBezTo>
                      <a:pt x="365932" y="621516"/>
                      <a:pt x="369887" y="620653"/>
                      <a:pt x="373856" y="619859"/>
                    </a:cubicBezTo>
                    <a:cubicBezTo>
                      <a:pt x="377031" y="618272"/>
                      <a:pt x="380118" y="616495"/>
                      <a:pt x="383381" y="615097"/>
                    </a:cubicBezTo>
                    <a:cubicBezTo>
                      <a:pt x="385688" y="614108"/>
                      <a:pt x="388436" y="614107"/>
                      <a:pt x="390525" y="612715"/>
                    </a:cubicBezTo>
                    <a:cubicBezTo>
                      <a:pt x="393327" y="610847"/>
                      <a:pt x="395081" y="607728"/>
                      <a:pt x="397668" y="605572"/>
                    </a:cubicBezTo>
                    <a:cubicBezTo>
                      <a:pt x="403824" y="600442"/>
                      <a:pt x="404795" y="600815"/>
                      <a:pt x="411956" y="598428"/>
                    </a:cubicBezTo>
                    <a:cubicBezTo>
                      <a:pt x="420687" y="599222"/>
                      <a:pt x="429553" y="599090"/>
                      <a:pt x="438150" y="600809"/>
                    </a:cubicBezTo>
                    <a:cubicBezTo>
                      <a:pt x="446787" y="602536"/>
                      <a:pt x="447500" y="607082"/>
                      <a:pt x="454818" y="610334"/>
                    </a:cubicBezTo>
                    <a:cubicBezTo>
                      <a:pt x="459406" y="612373"/>
                      <a:pt x="464343" y="613509"/>
                      <a:pt x="469106" y="615097"/>
                    </a:cubicBezTo>
                    <a:lnTo>
                      <a:pt x="476250" y="617478"/>
                    </a:lnTo>
                    <a:cubicBezTo>
                      <a:pt x="489789" y="631018"/>
                      <a:pt x="476754" y="620112"/>
                      <a:pt x="490537" y="627003"/>
                    </a:cubicBezTo>
                    <a:cubicBezTo>
                      <a:pt x="509010" y="636238"/>
                      <a:pt x="486861" y="628157"/>
                      <a:pt x="504825" y="634147"/>
                    </a:cubicBezTo>
                    <a:cubicBezTo>
                      <a:pt x="506848" y="633978"/>
                      <a:pt x="531961" y="634152"/>
                      <a:pt x="540543" y="629384"/>
                    </a:cubicBezTo>
                    <a:cubicBezTo>
                      <a:pt x="545547" y="626604"/>
                      <a:pt x="550068" y="623034"/>
                      <a:pt x="554831" y="619859"/>
                    </a:cubicBezTo>
                    <a:cubicBezTo>
                      <a:pt x="586548" y="598716"/>
                      <a:pt x="539541" y="629148"/>
                      <a:pt x="569118" y="612715"/>
                    </a:cubicBezTo>
                    <a:cubicBezTo>
                      <a:pt x="574122" y="609935"/>
                      <a:pt x="583406" y="603190"/>
                      <a:pt x="583406" y="603190"/>
                    </a:cubicBezTo>
                    <a:cubicBezTo>
                      <a:pt x="584993" y="600809"/>
                      <a:pt x="586888" y="598606"/>
                      <a:pt x="588168" y="596047"/>
                    </a:cubicBezTo>
                    <a:cubicBezTo>
                      <a:pt x="589291" y="593802"/>
                      <a:pt x="589158" y="590992"/>
                      <a:pt x="590550" y="588903"/>
                    </a:cubicBezTo>
                    <a:cubicBezTo>
                      <a:pt x="592418" y="586101"/>
                      <a:pt x="595312" y="584140"/>
                      <a:pt x="597693" y="581759"/>
                    </a:cubicBezTo>
                    <a:cubicBezTo>
                      <a:pt x="598487" y="578584"/>
                      <a:pt x="597920" y="574697"/>
                      <a:pt x="600075" y="572234"/>
                    </a:cubicBezTo>
                    <a:cubicBezTo>
                      <a:pt x="606819" y="564527"/>
                      <a:pt x="613156" y="563111"/>
                      <a:pt x="621506" y="560328"/>
                    </a:cubicBezTo>
                    <a:cubicBezTo>
                      <a:pt x="625475" y="561122"/>
                      <a:pt x="629728" y="561034"/>
                      <a:pt x="633412" y="562709"/>
                    </a:cubicBezTo>
                    <a:cubicBezTo>
                      <a:pt x="638623" y="565078"/>
                      <a:pt x="647700" y="572234"/>
                      <a:pt x="647700" y="572234"/>
                    </a:cubicBezTo>
                    <a:cubicBezTo>
                      <a:pt x="649287" y="574615"/>
                      <a:pt x="650630" y="577179"/>
                      <a:pt x="652462" y="579378"/>
                    </a:cubicBezTo>
                    <a:cubicBezTo>
                      <a:pt x="654618" y="581965"/>
                      <a:pt x="657971" y="583578"/>
                      <a:pt x="659606" y="586522"/>
                    </a:cubicBezTo>
                    <a:cubicBezTo>
                      <a:pt x="665978" y="597991"/>
                      <a:pt x="661812" y="606037"/>
                      <a:pt x="673893" y="615097"/>
                    </a:cubicBezTo>
                    <a:cubicBezTo>
                      <a:pt x="677068" y="617478"/>
                      <a:pt x="680167" y="619964"/>
                      <a:pt x="683418" y="622240"/>
                    </a:cubicBezTo>
                    <a:cubicBezTo>
                      <a:pt x="688107" y="625522"/>
                      <a:pt x="693127" y="628331"/>
                      <a:pt x="697706" y="631765"/>
                    </a:cubicBezTo>
                    <a:cubicBezTo>
                      <a:pt x="700881" y="634146"/>
                      <a:pt x="703681" y="637134"/>
                      <a:pt x="707231" y="638909"/>
                    </a:cubicBezTo>
                    <a:cubicBezTo>
                      <a:pt x="711721" y="641154"/>
                      <a:pt x="716756" y="642084"/>
                      <a:pt x="721518" y="643672"/>
                    </a:cubicBezTo>
                    <a:cubicBezTo>
                      <a:pt x="732361" y="647286"/>
                      <a:pt x="730354" y="646730"/>
                      <a:pt x="745331" y="650815"/>
                    </a:cubicBezTo>
                    <a:cubicBezTo>
                      <a:pt x="748488" y="651676"/>
                      <a:pt x="751709" y="652298"/>
                      <a:pt x="754856" y="653197"/>
                    </a:cubicBezTo>
                    <a:cubicBezTo>
                      <a:pt x="762427" y="655360"/>
                      <a:pt x="765847" y="657318"/>
                      <a:pt x="773906" y="660340"/>
                    </a:cubicBezTo>
                    <a:cubicBezTo>
                      <a:pt x="776256" y="661221"/>
                      <a:pt x="778604" y="662158"/>
                      <a:pt x="781050" y="662722"/>
                    </a:cubicBezTo>
                    <a:cubicBezTo>
                      <a:pt x="800099" y="667118"/>
                      <a:pt x="803967" y="667356"/>
                      <a:pt x="821531" y="669865"/>
                    </a:cubicBezTo>
                    <a:cubicBezTo>
                      <a:pt x="832643" y="669071"/>
                      <a:pt x="843740" y="668014"/>
                      <a:pt x="854868" y="667484"/>
                    </a:cubicBezTo>
                    <a:cubicBezTo>
                      <a:pt x="936188" y="663612"/>
                      <a:pt x="897247" y="668573"/>
                      <a:pt x="938212" y="662722"/>
                    </a:cubicBezTo>
                    <a:cubicBezTo>
                      <a:pt x="953132" y="657747"/>
                      <a:pt x="937497" y="663656"/>
                      <a:pt x="952500" y="655578"/>
                    </a:cubicBezTo>
                    <a:cubicBezTo>
                      <a:pt x="960314" y="651371"/>
                      <a:pt x="968375" y="647641"/>
                      <a:pt x="976312" y="643672"/>
                    </a:cubicBezTo>
                    <a:cubicBezTo>
                      <a:pt x="979487" y="642084"/>
                      <a:pt x="982469" y="640031"/>
                      <a:pt x="985837" y="638909"/>
                    </a:cubicBezTo>
                    <a:cubicBezTo>
                      <a:pt x="988218" y="638115"/>
                      <a:pt x="990559" y="637188"/>
                      <a:pt x="992981" y="636528"/>
                    </a:cubicBezTo>
                    <a:cubicBezTo>
                      <a:pt x="1001727" y="634143"/>
                      <a:pt x="1014412" y="630971"/>
                      <a:pt x="1023937" y="629384"/>
                    </a:cubicBezTo>
                    <a:cubicBezTo>
                      <a:pt x="1029473" y="628461"/>
                      <a:pt x="1035050" y="627797"/>
                      <a:pt x="1040606" y="627003"/>
                    </a:cubicBezTo>
                    <a:cubicBezTo>
                      <a:pt x="1042987" y="626209"/>
                      <a:pt x="1045456" y="625641"/>
                      <a:pt x="1047750" y="624622"/>
                    </a:cubicBezTo>
                    <a:cubicBezTo>
                      <a:pt x="1052616" y="622459"/>
                      <a:pt x="1057023" y="619269"/>
                      <a:pt x="1062037" y="617478"/>
                    </a:cubicBezTo>
                    <a:cubicBezTo>
                      <a:pt x="1068201" y="615276"/>
                      <a:pt x="1074669" y="613999"/>
                      <a:pt x="1081087" y="612715"/>
                    </a:cubicBezTo>
                    <a:cubicBezTo>
                      <a:pt x="1117013" y="605530"/>
                      <a:pt x="1072239" y="614681"/>
                      <a:pt x="1102518" y="607953"/>
                    </a:cubicBezTo>
                    <a:cubicBezTo>
                      <a:pt x="1106469" y="607075"/>
                      <a:pt x="1110498" y="606554"/>
                      <a:pt x="1114425" y="605572"/>
                    </a:cubicBezTo>
                    <a:cubicBezTo>
                      <a:pt x="1121426" y="603822"/>
                      <a:pt x="1124286" y="601831"/>
                      <a:pt x="1131093" y="598428"/>
                    </a:cubicBezTo>
                    <a:cubicBezTo>
                      <a:pt x="1136503" y="587610"/>
                      <a:pt x="1138035" y="586008"/>
                      <a:pt x="1140618" y="572234"/>
                    </a:cubicBezTo>
                    <a:cubicBezTo>
                      <a:pt x="1141943" y="565169"/>
                      <a:pt x="1140544" y="557558"/>
                      <a:pt x="1143000" y="550803"/>
                    </a:cubicBezTo>
                    <a:cubicBezTo>
                      <a:pt x="1143978" y="548114"/>
                      <a:pt x="1147583" y="547320"/>
                      <a:pt x="1150143" y="546040"/>
                    </a:cubicBezTo>
                    <a:cubicBezTo>
                      <a:pt x="1153558" y="544333"/>
                      <a:pt x="1163762" y="542040"/>
                      <a:pt x="1166812" y="541278"/>
                    </a:cubicBezTo>
                    <a:cubicBezTo>
                      <a:pt x="1168400" y="538897"/>
                      <a:pt x="1170295" y="536694"/>
                      <a:pt x="1171575" y="534134"/>
                    </a:cubicBezTo>
                    <a:cubicBezTo>
                      <a:pt x="1172698" y="531889"/>
                      <a:pt x="1173075" y="529340"/>
                      <a:pt x="1173956" y="526990"/>
                    </a:cubicBezTo>
                    <a:cubicBezTo>
                      <a:pt x="1175457" y="522988"/>
                      <a:pt x="1177217" y="519086"/>
                      <a:pt x="1178718" y="515084"/>
                    </a:cubicBezTo>
                    <a:cubicBezTo>
                      <a:pt x="1181283" y="508244"/>
                      <a:pt x="1181602" y="505931"/>
                      <a:pt x="1183481" y="498415"/>
                    </a:cubicBezTo>
                    <a:cubicBezTo>
                      <a:pt x="1182687" y="491271"/>
                      <a:pt x="1182282" y="484074"/>
                      <a:pt x="1181100" y="476984"/>
                    </a:cubicBezTo>
                    <a:cubicBezTo>
                      <a:pt x="1180687" y="474508"/>
                      <a:pt x="1178718" y="472350"/>
                      <a:pt x="1178718" y="469840"/>
                    </a:cubicBezTo>
                    <a:cubicBezTo>
                      <a:pt x="1178718" y="458699"/>
                      <a:pt x="1179164" y="447474"/>
                      <a:pt x="1181100" y="436503"/>
                    </a:cubicBezTo>
                    <a:cubicBezTo>
                      <a:pt x="1181877" y="432098"/>
                      <a:pt x="1193997" y="421224"/>
                      <a:pt x="1195387" y="419834"/>
                    </a:cubicBezTo>
                    <a:cubicBezTo>
                      <a:pt x="1197851" y="412442"/>
                      <a:pt x="1198116" y="410523"/>
                      <a:pt x="1202531" y="403165"/>
                    </a:cubicBezTo>
                    <a:cubicBezTo>
                      <a:pt x="1205476" y="398257"/>
                      <a:pt x="1209023" y="393732"/>
                      <a:pt x="1212056" y="388878"/>
                    </a:cubicBezTo>
                    <a:cubicBezTo>
                      <a:pt x="1225516" y="367342"/>
                      <a:pt x="1219794" y="376081"/>
                      <a:pt x="1228725" y="362684"/>
                    </a:cubicBezTo>
                    <a:cubicBezTo>
                      <a:pt x="1230312" y="360303"/>
                      <a:pt x="1231252" y="357328"/>
                      <a:pt x="1233487" y="355540"/>
                    </a:cubicBezTo>
                    <a:cubicBezTo>
                      <a:pt x="1237456" y="352365"/>
                      <a:pt x="1241083" y="348709"/>
                      <a:pt x="1245393" y="346015"/>
                    </a:cubicBezTo>
                    <a:cubicBezTo>
                      <a:pt x="1247522" y="344685"/>
                      <a:pt x="1250230" y="344623"/>
                      <a:pt x="1252537" y="343634"/>
                    </a:cubicBezTo>
                    <a:cubicBezTo>
                      <a:pt x="1269792" y="336240"/>
                      <a:pt x="1253895" y="340506"/>
                      <a:pt x="1273968" y="336490"/>
                    </a:cubicBezTo>
                    <a:cubicBezTo>
                      <a:pt x="1277143" y="334903"/>
                      <a:pt x="1280983" y="334238"/>
                      <a:pt x="1283493" y="331728"/>
                    </a:cubicBezTo>
                    <a:cubicBezTo>
                      <a:pt x="1287540" y="327681"/>
                      <a:pt x="1293018" y="317440"/>
                      <a:pt x="1293018" y="317440"/>
                    </a:cubicBezTo>
                    <a:cubicBezTo>
                      <a:pt x="1287660" y="296005"/>
                      <a:pt x="1293830" y="322311"/>
                      <a:pt x="1288256" y="288865"/>
                    </a:cubicBezTo>
                    <a:cubicBezTo>
                      <a:pt x="1287718" y="285637"/>
                      <a:pt x="1287499" y="282181"/>
                      <a:pt x="1285875" y="279340"/>
                    </a:cubicBezTo>
                    <a:cubicBezTo>
                      <a:pt x="1284204" y="276416"/>
                      <a:pt x="1281112" y="274578"/>
                      <a:pt x="1278731" y="272197"/>
                    </a:cubicBezTo>
                    <a:cubicBezTo>
                      <a:pt x="1278799" y="271182"/>
                      <a:pt x="1278912" y="237641"/>
                      <a:pt x="1283493" y="226953"/>
                    </a:cubicBezTo>
                    <a:cubicBezTo>
                      <a:pt x="1284620" y="224322"/>
                      <a:pt x="1286355" y="221948"/>
                      <a:pt x="1288256" y="219809"/>
                    </a:cubicBezTo>
                    <a:cubicBezTo>
                      <a:pt x="1301592" y="204806"/>
                      <a:pt x="1301187" y="206426"/>
                      <a:pt x="1316831" y="195997"/>
                    </a:cubicBezTo>
                    <a:lnTo>
                      <a:pt x="1323975" y="191234"/>
                    </a:lnTo>
                    <a:cubicBezTo>
                      <a:pt x="1326356" y="189647"/>
                      <a:pt x="1329095" y="188495"/>
                      <a:pt x="1331118" y="186472"/>
                    </a:cubicBezTo>
                    <a:cubicBezTo>
                      <a:pt x="1340286" y="177304"/>
                      <a:pt x="1335460" y="181196"/>
                      <a:pt x="1345406" y="174565"/>
                    </a:cubicBezTo>
                    <a:cubicBezTo>
                      <a:pt x="1346200" y="172184"/>
                      <a:pt x="1346568" y="169616"/>
                      <a:pt x="1347787" y="167422"/>
                    </a:cubicBezTo>
                    <a:cubicBezTo>
                      <a:pt x="1350567" y="162418"/>
                      <a:pt x="1355502" y="158564"/>
                      <a:pt x="1357312" y="153134"/>
                    </a:cubicBezTo>
                    <a:lnTo>
                      <a:pt x="1362075" y="138847"/>
                    </a:lnTo>
                    <a:lnTo>
                      <a:pt x="1364456" y="131703"/>
                    </a:lnTo>
                    <a:cubicBezTo>
                      <a:pt x="1362075" y="130115"/>
                      <a:pt x="1360172" y="127059"/>
                      <a:pt x="1357312" y="126940"/>
                    </a:cubicBezTo>
                    <a:cubicBezTo>
                      <a:pt x="1318081" y="125306"/>
                      <a:pt x="1316705" y="126973"/>
                      <a:pt x="1288256" y="134084"/>
                    </a:cubicBezTo>
                    <a:cubicBezTo>
                      <a:pt x="1281906" y="137259"/>
                      <a:pt x="1275941" y="141364"/>
                      <a:pt x="1269206" y="143609"/>
                    </a:cubicBezTo>
                    <a:cubicBezTo>
                      <a:pt x="1252077" y="149318"/>
                      <a:pt x="1273468" y="142391"/>
                      <a:pt x="1252537" y="148372"/>
                    </a:cubicBezTo>
                    <a:cubicBezTo>
                      <a:pt x="1250123" y="149062"/>
                      <a:pt x="1247807" y="150063"/>
                      <a:pt x="1245393" y="150753"/>
                    </a:cubicBezTo>
                    <a:cubicBezTo>
                      <a:pt x="1224472" y="156730"/>
                      <a:pt x="1245845" y="149808"/>
                      <a:pt x="1228725" y="155515"/>
                    </a:cubicBezTo>
                    <a:cubicBezTo>
                      <a:pt x="1227137" y="157896"/>
                      <a:pt x="1226389" y="161142"/>
                      <a:pt x="1223962" y="162659"/>
                    </a:cubicBezTo>
                    <a:cubicBezTo>
                      <a:pt x="1219705" y="165320"/>
                      <a:pt x="1209675" y="167422"/>
                      <a:pt x="1209675" y="167422"/>
                    </a:cubicBezTo>
                    <a:cubicBezTo>
                      <a:pt x="1206500" y="166628"/>
                      <a:pt x="1202813" y="166942"/>
                      <a:pt x="1200150" y="165040"/>
                    </a:cubicBezTo>
                    <a:cubicBezTo>
                      <a:pt x="1190586" y="158208"/>
                      <a:pt x="1196815" y="154123"/>
                      <a:pt x="1185862" y="150753"/>
                    </a:cubicBezTo>
                    <a:cubicBezTo>
                      <a:pt x="1156654" y="141766"/>
                      <a:pt x="1113129" y="144412"/>
                      <a:pt x="1088231" y="143609"/>
                    </a:cubicBezTo>
                    <a:cubicBezTo>
                      <a:pt x="1087437" y="140434"/>
                      <a:pt x="1087139" y="137092"/>
                      <a:pt x="1085850" y="134084"/>
                    </a:cubicBezTo>
                    <a:cubicBezTo>
                      <a:pt x="1083629" y="128902"/>
                      <a:pt x="1075215" y="120024"/>
                      <a:pt x="1071562" y="117415"/>
                    </a:cubicBezTo>
                    <a:cubicBezTo>
                      <a:pt x="1069519" y="115956"/>
                      <a:pt x="1066663" y="116157"/>
                      <a:pt x="1064418" y="115034"/>
                    </a:cubicBezTo>
                    <a:cubicBezTo>
                      <a:pt x="1060278" y="112964"/>
                      <a:pt x="1056652" y="109960"/>
                      <a:pt x="1052512" y="107890"/>
                    </a:cubicBezTo>
                    <a:cubicBezTo>
                      <a:pt x="1050267" y="106767"/>
                      <a:pt x="1047803" y="106118"/>
                      <a:pt x="1045368" y="105509"/>
                    </a:cubicBezTo>
                    <a:cubicBezTo>
                      <a:pt x="1032216" y="102221"/>
                      <a:pt x="1024529" y="102235"/>
                      <a:pt x="1009650" y="100747"/>
                    </a:cubicBezTo>
                    <a:cubicBezTo>
                      <a:pt x="1005681" y="99953"/>
                      <a:pt x="1001791" y="98365"/>
                      <a:pt x="997743" y="98365"/>
                    </a:cubicBezTo>
                    <a:cubicBezTo>
                      <a:pt x="959635" y="98365"/>
                      <a:pt x="921439" y="97824"/>
                      <a:pt x="883443" y="100747"/>
                    </a:cubicBezTo>
                    <a:cubicBezTo>
                      <a:pt x="879486" y="101051"/>
                      <a:pt x="876724" y="105084"/>
                      <a:pt x="873918" y="107890"/>
                    </a:cubicBezTo>
                    <a:cubicBezTo>
                      <a:pt x="872218" y="109590"/>
                      <a:pt x="863813" y="121407"/>
                      <a:pt x="862012" y="124559"/>
                    </a:cubicBezTo>
                    <a:cubicBezTo>
                      <a:pt x="860251" y="127641"/>
                      <a:pt x="859380" y="131244"/>
                      <a:pt x="857250" y="134084"/>
                    </a:cubicBezTo>
                    <a:cubicBezTo>
                      <a:pt x="854556" y="137676"/>
                      <a:pt x="851081" y="140626"/>
                      <a:pt x="847725" y="143609"/>
                    </a:cubicBezTo>
                    <a:cubicBezTo>
                      <a:pt x="839246" y="151146"/>
                      <a:pt x="836859" y="152440"/>
                      <a:pt x="828675" y="157897"/>
                    </a:cubicBezTo>
                    <a:cubicBezTo>
                      <a:pt x="827087" y="160278"/>
                      <a:pt x="825192" y="162480"/>
                      <a:pt x="823912" y="165040"/>
                    </a:cubicBezTo>
                    <a:cubicBezTo>
                      <a:pt x="814050" y="184763"/>
                      <a:pt x="831646" y="156912"/>
                      <a:pt x="816768" y="181709"/>
                    </a:cubicBezTo>
                    <a:cubicBezTo>
                      <a:pt x="813823" y="186617"/>
                      <a:pt x="810418" y="191234"/>
                      <a:pt x="807243" y="195997"/>
                    </a:cubicBezTo>
                    <a:cubicBezTo>
                      <a:pt x="805656" y="198378"/>
                      <a:pt x="804862" y="201553"/>
                      <a:pt x="802481" y="203140"/>
                    </a:cubicBezTo>
                    <a:cubicBezTo>
                      <a:pt x="800100" y="204728"/>
                      <a:pt x="797897" y="206623"/>
                      <a:pt x="795337" y="207903"/>
                    </a:cubicBezTo>
                    <a:cubicBezTo>
                      <a:pt x="791922" y="209611"/>
                      <a:pt x="781718" y="211902"/>
                      <a:pt x="778668" y="212665"/>
                    </a:cubicBezTo>
                    <a:cubicBezTo>
                      <a:pt x="777874" y="217428"/>
                      <a:pt x="779921" y="223773"/>
                      <a:pt x="776287" y="226953"/>
                    </a:cubicBezTo>
                    <a:cubicBezTo>
                      <a:pt x="772063" y="230649"/>
                      <a:pt x="765033" y="227857"/>
                      <a:pt x="759618" y="229334"/>
                    </a:cubicBezTo>
                    <a:cubicBezTo>
                      <a:pt x="756193" y="230268"/>
                      <a:pt x="753537" y="233236"/>
                      <a:pt x="750093" y="234097"/>
                    </a:cubicBezTo>
                    <a:cubicBezTo>
                      <a:pt x="743885" y="235649"/>
                      <a:pt x="737355" y="235426"/>
                      <a:pt x="731043" y="236478"/>
                    </a:cubicBezTo>
                    <a:cubicBezTo>
                      <a:pt x="727815" y="237016"/>
                      <a:pt x="724653" y="237919"/>
                      <a:pt x="721518" y="238859"/>
                    </a:cubicBezTo>
                    <a:cubicBezTo>
                      <a:pt x="716710" y="240302"/>
                      <a:pt x="712183" y="242797"/>
                      <a:pt x="707231" y="243622"/>
                    </a:cubicBezTo>
                    <a:lnTo>
                      <a:pt x="692943" y="246003"/>
                    </a:lnTo>
                    <a:cubicBezTo>
                      <a:pt x="682624" y="245209"/>
                      <a:pt x="672256" y="244906"/>
                      <a:pt x="661987" y="243622"/>
                    </a:cubicBezTo>
                    <a:cubicBezTo>
                      <a:pt x="655334" y="242790"/>
                      <a:pt x="651632" y="238583"/>
                      <a:pt x="645318" y="236478"/>
                    </a:cubicBezTo>
                    <a:cubicBezTo>
                      <a:pt x="641478" y="235198"/>
                      <a:pt x="637381" y="234891"/>
                      <a:pt x="633412" y="234097"/>
                    </a:cubicBezTo>
                    <a:cubicBezTo>
                      <a:pt x="619394" y="227087"/>
                      <a:pt x="627259" y="230459"/>
                      <a:pt x="609600" y="224572"/>
                    </a:cubicBezTo>
                    <a:lnTo>
                      <a:pt x="602456" y="222190"/>
                    </a:lnTo>
                    <a:cubicBezTo>
                      <a:pt x="575468" y="222984"/>
                      <a:pt x="548453" y="223115"/>
                      <a:pt x="521493" y="224572"/>
                    </a:cubicBezTo>
                    <a:cubicBezTo>
                      <a:pt x="516946" y="224818"/>
                      <a:pt x="500369" y="233933"/>
                      <a:pt x="500062" y="234097"/>
                    </a:cubicBezTo>
                    <a:cubicBezTo>
                      <a:pt x="492851" y="237943"/>
                      <a:pt x="485940" y="242348"/>
                      <a:pt x="478631" y="246003"/>
                    </a:cubicBezTo>
                    <a:cubicBezTo>
                      <a:pt x="447878" y="261379"/>
                      <a:pt x="509075" y="225830"/>
                      <a:pt x="459581" y="255528"/>
                    </a:cubicBezTo>
                    <a:cubicBezTo>
                      <a:pt x="450056" y="254734"/>
                      <a:pt x="440490" y="254333"/>
                      <a:pt x="431006" y="253147"/>
                    </a:cubicBezTo>
                    <a:cubicBezTo>
                      <a:pt x="427759" y="252741"/>
                      <a:pt x="424676" y="251475"/>
                      <a:pt x="421481" y="250765"/>
                    </a:cubicBezTo>
                    <a:cubicBezTo>
                      <a:pt x="411504" y="248548"/>
                      <a:pt x="405618" y="247725"/>
                      <a:pt x="395287" y="246003"/>
                    </a:cubicBezTo>
                    <a:cubicBezTo>
                      <a:pt x="392112" y="244415"/>
                      <a:pt x="389130" y="242363"/>
                      <a:pt x="385762" y="241240"/>
                    </a:cubicBezTo>
                    <a:cubicBezTo>
                      <a:pt x="358058" y="232005"/>
                      <a:pt x="388279" y="246070"/>
                      <a:pt x="364331" y="234097"/>
                    </a:cubicBezTo>
                    <a:cubicBezTo>
                      <a:pt x="362743" y="231716"/>
                      <a:pt x="360129" y="229759"/>
                      <a:pt x="359568" y="226953"/>
                    </a:cubicBezTo>
                    <a:cubicBezTo>
                      <a:pt x="357693" y="217581"/>
                      <a:pt x="361018" y="207135"/>
                      <a:pt x="357187" y="198378"/>
                    </a:cubicBezTo>
                    <a:cubicBezTo>
                      <a:pt x="353382" y="189680"/>
                      <a:pt x="340903" y="188730"/>
                      <a:pt x="333375" y="186472"/>
                    </a:cubicBezTo>
                    <a:cubicBezTo>
                      <a:pt x="328566" y="185029"/>
                      <a:pt x="319087" y="181709"/>
                      <a:pt x="319087" y="181709"/>
                    </a:cubicBezTo>
                    <a:cubicBezTo>
                      <a:pt x="316706" y="179328"/>
                      <a:pt x="313900" y="177305"/>
                      <a:pt x="311943" y="174565"/>
                    </a:cubicBezTo>
                    <a:cubicBezTo>
                      <a:pt x="307830" y="168806"/>
                      <a:pt x="304212" y="156731"/>
                      <a:pt x="302418" y="150753"/>
                    </a:cubicBezTo>
                    <a:cubicBezTo>
                      <a:pt x="302213" y="150069"/>
                      <a:pt x="298936" y="135684"/>
                      <a:pt x="297656" y="134084"/>
                    </a:cubicBezTo>
                    <a:cubicBezTo>
                      <a:pt x="295868" y="131849"/>
                      <a:pt x="292997" y="130742"/>
                      <a:pt x="290512" y="129322"/>
                    </a:cubicBezTo>
                    <a:cubicBezTo>
                      <a:pt x="285208" y="126291"/>
                      <a:pt x="279782" y="123663"/>
                      <a:pt x="273843" y="122178"/>
                    </a:cubicBezTo>
                    <a:cubicBezTo>
                      <a:pt x="269917" y="121196"/>
                      <a:pt x="265906" y="120591"/>
                      <a:pt x="261937" y="119797"/>
                    </a:cubicBezTo>
                    <a:cubicBezTo>
                      <a:pt x="259556" y="118209"/>
                      <a:pt x="257529" y="115876"/>
                      <a:pt x="254793" y="115034"/>
                    </a:cubicBezTo>
                    <a:cubicBezTo>
                      <a:pt x="247056" y="112654"/>
                      <a:pt x="238660" y="112832"/>
                      <a:pt x="230981" y="110272"/>
                    </a:cubicBezTo>
                    <a:lnTo>
                      <a:pt x="223837" y="107890"/>
                    </a:lnTo>
                    <a:cubicBezTo>
                      <a:pt x="218394" y="91562"/>
                      <a:pt x="223837" y="111827"/>
                      <a:pt x="223837" y="88840"/>
                    </a:cubicBezTo>
                    <a:cubicBezTo>
                      <a:pt x="223837" y="76908"/>
                      <a:pt x="223144" y="64934"/>
                      <a:pt x="221456" y="53122"/>
                    </a:cubicBezTo>
                    <a:cubicBezTo>
                      <a:pt x="220746" y="48152"/>
                      <a:pt x="218732" y="43422"/>
                      <a:pt x="216693" y="38834"/>
                    </a:cubicBezTo>
                    <a:cubicBezTo>
                      <a:pt x="208343" y="20047"/>
                      <a:pt x="214762" y="42785"/>
                      <a:pt x="209550" y="24547"/>
                    </a:cubicBezTo>
                    <a:cubicBezTo>
                      <a:pt x="208651" y="21400"/>
                      <a:pt x="209323" y="17485"/>
                      <a:pt x="207168" y="15022"/>
                    </a:cubicBezTo>
                    <a:cubicBezTo>
                      <a:pt x="198448" y="5057"/>
                      <a:pt x="196452" y="2718"/>
                      <a:pt x="188118" y="73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1" name="Freeform 250"/>
              <p:cNvSpPr/>
              <p:nvPr/>
            </p:nvSpPr>
            <p:spPr>
              <a:xfrm>
                <a:off x="3995162" y="2957435"/>
                <a:ext cx="1501443" cy="1065176"/>
              </a:xfrm>
              <a:custGeom>
                <a:avLst/>
                <a:gdLst>
                  <a:gd name="connsiteX0" fmla="*/ 1255 w 1501443"/>
                  <a:gd name="connsiteY0" fmla="*/ 431763 h 1065176"/>
                  <a:gd name="connsiteX1" fmla="*/ 10780 w 1501443"/>
                  <a:gd name="connsiteY1" fmla="*/ 443670 h 1065176"/>
                  <a:gd name="connsiteX2" fmla="*/ 15543 w 1501443"/>
                  <a:gd name="connsiteY2" fmla="*/ 457957 h 1065176"/>
                  <a:gd name="connsiteX3" fmla="*/ 22686 w 1501443"/>
                  <a:gd name="connsiteY3" fmla="*/ 479388 h 1065176"/>
                  <a:gd name="connsiteX4" fmla="*/ 25068 w 1501443"/>
                  <a:gd name="connsiteY4" fmla="*/ 486532 h 1065176"/>
                  <a:gd name="connsiteX5" fmla="*/ 27449 w 1501443"/>
                  <a:gd name="connsiteY5" fmla="*/ 498438 h 1065176"/>
                  <a:gd name="connsiteX6" fmla="*/ 41736 w 1501443"/>
                  <a:gd name="connsiteY6" fmla="*/ 505582 h 1065176"/>
                  <a:gd name="connsiteX7" fmla="*/ 44118 w 1501443"/>
                  <a:gd name="connsiteY7" fmla="*/ 512726 h 1065176"/>
                  <a:gd name="connsiteX8" fmla="*/ 51261 w 1501443"/>
                  <a:gd name="connsiteY8" fmla="*/ 543682 h 1065176"/>
                  <a:gd name="connsiteX9" fmla="*/ 48880 w 1501443"/>
                  <a:gd name="connsiteY9" fmla="*/ 610357 h 1065176"/>
                  <a:gd name="connsiteX10" fmla="*/ 46499 w 1501443"/>
                  <a:gd name="connsiteY10" fmla="*/ 617501 h 1065176"/>
                  <a:gd name="connsiteX11" fmla="*/ 39355 w 1501443"/>
                  <a:gd name="connsiteY11" fmla="*/ 622263 h 1065176"/>
                  <a:gd name="connsiteX12" fmla="*/ 15543 w 1501443"/>
                  <a:gd name="connsiteY12" fmla="*/ 622263 h 1065176"/>
                  <a:gd name="connsiteX13" fmla="*/ 10780 w 1501443"/>
                  <a:gd name="connsiteY13" fmla="*/ 629407 h 1065176"/>
                  <a:gd name="connsiteX14" fmla="*/ 13161 w 1501443"/>
                  <a:gd name="connsiteY14" fmla="*/ 636551 h 1065176"/>
                  <a:gd name="connsiteX15" fmla="*/ 36974 w 1501443"/>
                  <a:gd name="connsiteY15" fmla="*/ 648457 h 1065176"/>
                  <a:gd name="connsiteX16" fmla="*/ 44118 w 1501443"/>
                  <a:gd name="connsiteY16" fmla="*/ 650838 h 1065176"/>
                  <a:gd name="connsiteX17" fmla="*/ 51261 w 1501443"/>
                  <a:gd name="connsiteY17" fmla="*/ 655601 h 1065176"/>
                  <a:gd name="connsiteX18" fmla="*/ 58405 w 1501443"/>
                  <a:gd name="connsiteY18" fmla="*/ 669888 h 1065176"/>
                  <a:gd name="connsiteX19" fmla="*/ 63168 w 1501443"/>
                  <a:gd name="connsiteY19" fmla="*/ 691320 h 1065176"/>
                  <a:gd name="connsiteX20" fmla="*/ 67930 w 1501443"/>
                  <a:gd name="connsiteY20" fmla="*/ 741326 h 1065176"/>
                  <a:gd name="connsiteX21" fmla="*/ 72693 w 1501443"/>
                  <a:gd name="connsiteY21" fmla="*/ 755613 h 1065176"/>
                  <a:gd name="connsiteX22" fmla="*/ 75074 w 1501443"/>
                  <a:gd name="connsiteY22" fmla="*/ 762757 h 1065176"/>
                  <a:gd name="connsiteX23" fmla="*/ 75074 w 1501443"/>
                  <a:gd name="connsiteY23" fmla="*/ 846101 h 1065176"/>
                  <a:gd name="connsiteX24" fmla="*/ 82218 w 1501443"/>
                  <a:gd name="connsiteY24" fmla="*/ 869913 h 1065176"/>
                  <a:gd name="connsiteX25" fmla="*/ 84599 w 1501443"/>
                  <a:gd name="connsiteY25" fmla="*/ 877057 h 1065176"/>
                  <a:gd name="connsiteX26" fmla="*/ 89361 w 1501443"/>
                  <a:gd name="connsiteY26" fmla="*/ 910395 h 1065176"/>
                  <a:gd name="connsiteX27" fmla="*/ 91743 w 1501443"/>
                  <a:gd name="connsiteY27" fmla="*/ 917538 h 1065176"/>
                  <a:gd name="connsiteX28" fmla="*/ 103649 w 1501443"/>
                  <a:gd name="connsiteY28" fmla="*/ 915157 h 1065176"/>
                  <a:gd name="connsiteX29" fmla="*/ 106030 w 1501443"/>
                  <a:gd name="connsiteY29" fmla="*/ 908013 h 1065176"/>
                  <a:gd name="connsiteX30" fmla="*/ 120318 w 1501443"/>
                  <a:gd name="connsiteY30" fmla="*/ 898488 h 1065176"/>
                  <a:gd name="connsiteX31" fmla="*/ 120318 w 1501443"/>
                  <a:gd name="connsiteY31" fmla="*/ 898488 h 1065176"/>
                  <a:gd name="connsiteX32" fmla="*/ 144130 w 1501443"/>
                  <a:gd name="connsiteY32" fmla="*/ 893726 h 1065176"/>
                  <a:gd name="connsiteX33" fmla="*/ 163180 w 1501443"/>
                  <a:gd name="connsiteY33" fmla="*/ 896107 h 1065176"/>
                  <a:gd name="connsiteX34" fmla="*/ 170324 w 1501443"/>
                  <a:gd name="connsiteY34" fmla="*/ 898488 h 1065176"/>
                  <a:gd name="connsiteX35" fmla="*/ 186993 w 1501443"/>
                  <a:gd name="connsiteY35" fmla="*/ 903251 h 1065176"/>
                  <a:gd name="connsiteX36" fmla="*/ 196518 w 1501443"/>
                  <a:gd name="connsiteY36" fmla="*/ 919920 h 1065176"/>
                  <a:gd name="connsiteX37" fmla="*/ 201280 w 1501443"/>
                  <a:gd name="connsiteY37" fmla="*/ 960401 h 1065176"/>
                  <a:gd name="connsiteX38" fmla="*/ 215568 w 1501443"/>
                  <a:gd name="connsiteY38" fmla="*/ 958020 h 1065176"/>
                  <a:gd name="connsiteX39" fmla="*/ 217949 w 1501443"/>
                  <a:gd name="connsiteY39" fmla="*/ 946113 h 1065176"/>
                  <a:gd name="connsiteX40" fmla="*/ 229855 w 1501443"/>
                  <a:gd name="connsiteY40" fmla="*/ 929445 h 1065176"/>
                  <a:gd name="connsiteX41" fmla="*/ 244143 w 1501443"/>
                  <a:gd name="connsiteY41" fmla="*/ 936588 h 1065176"/>
                  <a:gd name="connsiteX42" fmla="*/ 251286 w 1501443"/>
                  <a:gd name="connsiteY42" fmla="*/ 938970 h 1065176"/>
                  <a:gd name="connsiteX43" fmla="*/ 258430 w 1501443"/>
                  <a:gd name="connsiteY43" fmla="*/ 943732 h 1065176"/>
                  <a:gd name="connsiteX44" fmla="*/ 272718 w 1501443"/>
                  <a:gd name="connsiteY44" fmla="*/ 948495 h 1065176"/>
                  <a:gd name="connsiteX45" fmla="*/ 291768 w 1501443"/>
                  <a:gd name="connsiteY45" fmla="*/ 946113 h 1065176"/>
                  <a:gd name="connsiteX46" fmla="*/ 306055 w 1501443"/>
                  <a:gd name="connsiteY46" fmla="*/ 936588 h 1065176"/>
                  <a:gd name="connsiteX47" fmla="*/ 313199 w 1501443"/>
                  <a:gd name="connsiteY47" fmla="*/ 931826 h 1065176"/>
                  <a:gd name="connsiteX48" fmla="*/ 334630 w 1501443"/>
                  <a:gd name="connsiteY48" fmla="*/ 924682 h 1065176"/>
                  <a:gd name="connsiteX49" fmla="*/ 341774 w 1501443"/>
                  <a:gd name="connsiteY49" fmla="*/ 922301 h 1065176"/>
                  <a:gd name="connsiteX50" fmla="*/ 375111 w 1501443"/>
                  <a:gd name="connsiteY50" fmla="*/ 924682 h 1065176"/>
                  <a:gd name="connsiteX51" fmla="*/ 382255 w 1501443"/>
                  <a:gd name="connsiteY51" fmla="*/ 927063 h 1065176"/>
                  <a:gd name="connsiteX52" fmla="*/ 417974 w 1501443"/>
                  <a:gd name="connsiteY52" fmla="*/ 931826 h 1065176"/>
                  <a:gd name="connsiteX53" fmla="*/ 422736 w 1501443"/>
                  <a:gd name="connsiteY53" fmla="*/ 938970 h 1065176"/>
                  <a:gd name="connsiteX54" fmla="*/ 439405 w 1501443"/>
                  <a:gd name="connsiteY54" fmla="*/ 929445 h 1065176"/>
                  <a:gd name="connsiteX55" fmla="*/ 441786 w 1501443"/>
                  <a:gd name="connsiteY55" fmla="*/ 922301 h 1065176"/>
                  <a:gd name="connsiteX56" fmla="*/ 467980 w 1501443"/>
                  <a:gd name="connsiteY56" fmla="*/ 922301 h 1065176"/>
                  <a:gd name="connsiteX57" fmla="*/ 482268 w 1501443"/>
                  <a:gd name="connsiteY57" fmla="*/ 934207 h 1065176"/>
                  <a:gd name="connsiteX58" fmla="*/ 491793 w 1501443"/>
                  <a:gd name="connsiteY58" fmla="*/ 948495 h 1065176"/>
                  <a:gd name="connsiteX59" fmla="*/ 491793 w 1501443"/>
                  <a:gd name="connsiteY59" fmla="*/ 977070 h 1065176"/>
                  <a:gd name="connsiteX60" fmla="*/ 494174 w 1501443"/>
                  <a:gd name="connsiteY60" fmla="*/ 1065176 h 1065176"/>
                  <a:gd name="connsiteX61" fmla="*/ 529893 w 1501443"/>
                  <a:gd name="connsiteY61" fmla="*/ 1062795 h 1065176"/>
                  <a:gd name="connsiteX62" fmla="*/ 544180 w 1501443"/>
                  <a:gd name="connsiteY62" fmla="*/ 1048507 h 1065176"/>
                  <a:gd name="connsiteX63" fmla="*/ 551324 w 1501443"/>
                  <a:gd name="connsiteY63" fmla="*/ 1046126 h 1065176"/>
                  <a:gd name="connsiteX64" fmla="*/ 567993 w 1501443"/>
                  <a:gd name="connsiteY64" fmla="*/ 1034220 h 1065176"/>
                  <a:gd name="connsiteX65" fmla="*/ 575136 w 1501443"/>
                  <a:gd name="connsiteY65" fmla="*/ 1029457 h 1065176"/>
                  <a:gd name="connsiteX66" fmla="*/ 584661 w 1501443"/>
                  <a:gd name="connsiteY66" fmla="*/ 1027076 h 1065176"/>
                  <a:gd name="connsiteX67" fmla="*/ 598949 w 1501443"/>
                  <a:gd name="connsiteY67" fmla="*/ 1019932 h 1065176"/>
                  <a:gd name="connsiteX68" fmla="*/ 613236 w 1501443"/>
                  <a:gd name="connsiteY68" fmla="*/ 1022313 h 1065176"/>
                  <a:gd name="connsiteX69" fmla="*/ 620380 w 1501443"/>
                  <a:gd name="connsiteY69" fmla="*/ 1024695 h 1065176"/>
                  <a:gd name="connsiteX70" fmla="*/ 644193 w 1501443"/>
                  <a:gd name="connsiteY70" fmla="*/ 1031838 h 1065176"/>
                  <a:gd name="connsiteX71" fmla="*/ 653718 w 1501443"/>
                  <a:gd name="connsiteY71" fmla="*/ 1036601 h 1065176"/>
                  <a:gd name="connsiteX72" fmla="*/ 668005 w 1501443"/>
                  <a:gd name="connsiteY72" fmla="*/ 1041363 h 1065176"/>
                  <a:gd name="connsiteX73" fmla="*/ 675149 w 1501443"/>
                  <a:gd name="connsiteY73" fmla="*/ 1043745 h 1065176"/>
                  <a:gd name="connsiteX74" fmla="*/ 708486 w 1501443"/>
                  <a:gd name="connsiteY74" fmla="*/ 1041363 h 1065176"/>
                  <a:gd name="connsiteX75" fmla="*/ 715630 w 1501443"/>
                  <a:gd name="connsiteY75" fmla="*/ 1038982 h 1065176"/>
                  <a:gd name="connsiteX76" fmla="*/ 729918 w 1501443"/>
                  <a:gd name="connsiteY76" fmla="*/ 1029457 h 1065176"/>
                  <a:gd name="connsiteX77" fmla="*/ 744205 w 1501443"/>
                  <a:gd name="connsiteY77" fmla="*/ 1017551 h 1065176"/>
                  <a:gd name="connsiteX78" fmla="*/ 753730 w 1501443"/>
                  <a:gd name="connsiteY78" fmla="*/ 1015170 h 1065176"/>
                  <a:gd name="connsiteX79" fmla="*/ 768018 w 1501443"/>
                  <a:gd name="connsiteY79" fmla="*/ 1010407 h 1065176"/>
                  <a:gd name="connsiteX80" fmla="*/ 775161 w 1501443"/>
                  <a:gd name="connsiteY80" fmla="*/ 1008026 h 1065176"/>
                  <a:gd name="connsiteX81" fmla="*/ 789449 w 1501443"/>
                  <a:gd name="connsiteY81" fmla="*/ 996120 h 1065176"/>
                  <a:gd name="connsiteX82" fmla="*/ 791830 w 1501443"/>
                  <a:gd name="connsiteY82" fmla="*/ 981832 h 1065176"/>
                  <a:gd name="connsiteX83" fmla="*/ 794211 w 1501443"/>
                  <a:gd name="connsiteY83" fmla="*/ 974688 h 1065176"/>
                  <a:gd name="connsiteX84" fmla="*/ 796593 w 1501443"/>
                  <a:gd name="connsiteY84" fmla="*/ 950876 h 1065176"/>
                  <a:gd name="connsiteX85" fmla="*/ 798974 w 1501443"/>
                  <a:gd name="connsiteY85" fmla="*/ 936588 h 1065176"/>
                  <a:gd name="connsiteX86" fmla="*/ 806118 w 1501443"/>
                  <a:gd name="connsiteY86" fmla="*/ 934207 h 1065176"/>
                  <a:gd name="connsiteX87" fmla="*/ 820405 w 1501443"/>
                  <a:gd name="connsiteY87" fmla="*/ 936588 h 1065176"/>
                  <a:gd name="connsiteX88" fmla="*/ 832311 w 1501443"/>
                  <a:gd name="connsiteY88" fmla="*/ 950876 h 1065176"/>
                  <a:gd name="connsiteX89" fmla="*/ 846599 w 1501443"/>
                  <a:gd name="connsiteY89" fmla="*/ 960401 h 1065176"/>
                  <a:gd name="connsiteX90" fmla="*/ 848980 w 1501443"/>
                  <a:gd name="connsiteY90" fmla="*/ 967545 h 1065176"/>
                  <a:gd name="connsiteX91" fmla="*/ 858505 w 1501443"/>
                  <a:gd name="connsiteY91" fmla="*/ 981832 h 1065176"/>
                  <a:gd name="connsiteX92" fmla="*/ 863268 w 1501443"/>
                  <a:gd name="connsiteY92" fmla="*/ 988976 h 1065176"/>
                  <a:gd name="connsiteX93" fmla="*/ 870411 w 1501443"/>
                  <a:gd name="connsiteY93" fmla="*/ 996120 h 1065176"/>
                  <a:gd name="connsiteX94" fmla="*/ 877555 w 1501443"/>
                  <a:gd name="connsiteY94" fmla="*/ 991357 h 1065176"/>
                  <a:gd name="connsiteX95" fmla="*/ 884699 w 1501443"/>
                  <a:gd name="connsiteY95" fmla="*/ 977070 h 1065176"/>
                  <a:gd name="connsiteX96" fmla="*/ 891843 w 1501443"/>
                  <a:gd name="connsiteY96" fmla="*/ 974688 h 1065176"/>
                  <a:gd name="connsiteX97" fmla="*/ 903749 w 1501443"/>
                  <a:gd name="connsiteY97" fmla="*/ 972307 h 1065176"/>
                  <a:gd name="connsiteX98" fmla="*/ 913274 w 1501443"/>
                  <a:gd name="connsiteY98" fmla="*/ 969926 h 1065176"/>
                  <a:gd name="connsiteX99" fmla="*/ 939468 w 1501443"/>
                  <a:gd name="connsiteY99" fmla="*/ 979451 h 1065176"/>
                  <a:gd name="connsiteX100" fmla="*/ 941849 w 1501443"/>
                  <a:gd name="connsiteY100" fmla="*/ 988976 h 1065176"/>
                  <a:gd name="connsiteX101" fmla="*/ 944230 w 1501443"/>
                  <a:gd name="connsiteY101" fmla="*/ 1017551 h 1065176"/>
                  <a:gd name="connsiteX102" fmla="*/ 946611 w 1501443"/>
                  <a:gd name="connsiteY102" fmla="*/ 1024695 h 1065176"/>
                  <a:gd name="connsiteX103" fmla="*/ 953755 w 1501443"/>
                  <a:gd name="connsiteY103" fmla="*/ 1029457 h 1065176"/>
                  <a:gd name="connsiteX104" fmla="*/ 979949 w 1501443"/>
                  <a:gd name="connsiteY104" fmla="*/ 1024695 h 1065176"/>
                  <a:gd name="connsiteX105" fmla="*/ 987093 w 1501443"/>
                  <a:gd name="connsiteY105" fmla="*/ 1022313 h 1065176"/>
                  <a:gd name="connsiteX106" fmla="*/ 1022811 w 1501443"/>
                  <a:gd name="connsiteY106" fmla="*/ 1027076 h 1065176"/>
                  <a:gd name="connsiteX107" fmla="*/ 1053768 w 1501443"/>
                  <a:gd name="connsiteY107" fmla="*/ 1031838 h 1065176"/>
                  <a:gd name="connsiteX108" fmla="*/ 1070436 w 1501443"/>
                  <a:gd name="connsiteY108" fmla="*/ 1029457 h 1065176"/>
                  <a:gd name="connsiteX109" fmla="*/ 1077580 w 1501443"/>
                  <a:gd name="connsiteY109" fmla="*/ 1027076 h 1065176"/>
                  <a:gd name="connsiteX110" fmla="*/ 1087105 w 1501443"/>
                  <a:gd name="connsiteY110" fmla="*/ 1024695 h 1065176"/>
                  <a:gd name="connsiteX111" fmla="*/ 1101393 w 1501443"/>
                  <a:gd name="connsiteY111" fmla="*/ 1019932 h 1065176"/>
                  <a:gd name="connsiteX112" fmla="*/ 1118061 w 1501443"/>
                  <a:gd name="connsiteY112" fmla="*/ 1017551 h 1065176"/>
                  <a:gd name="connsiteX113" fmla="*/ 1129968 w 1501443"/>
                  <a:gd name="connsiteY113" fmla="*/ 1000882 h 1065176"/>
                  <a:gd name="connsiteX114" fmla="*/ 1132349 w 1501443"/>
                  <a:gd name="connsiteY114" fmla="*/ 993738 h 1065176"/>
                  <a:gd name="connsiteX115" fmla="*/ 1141874 w 1501443"/>
                  <a:gd name="connsiteY115" fmla="*/ 977070 h 1065176"/>
                  <a:gd name="connsiteX116" fmla="*/ 1144255 w 1501443"/>
                  <a:gd name="connsiteY116" fmla="*/ 965163 h 1065176"/>
                  <a:gd name="connsiteX117" fmla="*/ 1146636 w 1501443"/>
                  <a:gd name="connsiteY117" fmla="*/ 958020 h 1065176"/>
                  <a:gd name="connsiteX118" fmla="*/ 1149018 w 1501443"/>
                  <a:gd name="connsiteY118" fmla="*/ 934207 h 1065176"/>
                  <a:gd name="connsiteX119" fmla="*/ 1153780 w 1501443"/>
                  <a:gd name="connsiteY119" fmla="*/ 924682 h 1065176"/>
                  <a:gd name="connsiteX120" fmla="*/ 1158543 w 1501443"/>
                  <a:gd name="connsiteY120" fmla="*/ 912776 h 1065176"/>
                  <a:gd name="connsiteX121" fmla="*/ 1170449 w 1501443"/>
                  <a:gd name="connsiteY121" fmla="*/ 896107 h 1065176"/>
                  <a:gd name="connsiteX122" fmla="*/ 1189499 w 1501443"/>
                  <a:gd name="connsiteY122" fmla="*/ 869913 h 1065176"/>
                  <a:gd name="connsiteX123" fmla="*/ 1213311 w 1501443"/>
                  <a:gd name="connsiteY123" fmla="*/ 855626 h 1065176"/>
                  <a:gd name="connsiteX124" fmla="*/ 1220455 w 1501443"/>
                  <a:gd name="connsiteY124" fmla="*/ 848482 h 1065176"/>
                  <a:gd name="connsiteX125" fmla="*/ 1227599 w 1501443"/>
                  <a:gd name="connsiteY125" fmla="*/ 843720 h 1065176"/>
                  <a:gd name="connsiteX126" fmla="*/ 1234743 w 1501443"/>
                  <a:gd name="connsiteY126" fmla="*/ 834195 h 1065176"/>
                  <a:gd name="connsiteX127" fmla="*/ 1239505 w 1501443"/>
                  <a:gd name="connsiteY127" fmla="*/ 815145 h 1065176"/>
                  <a:gd name="connsiteX128" fmla="*/ 1258555 w 1501443"/>
                  <a:gd name="connsiteY128" fmla="*/ 800857 h 1065176"/>
                  <a:gd name="connsiteX129" fmla="*/ 1265699 w 1501443"/>
                  <a:gd name="connsiteY129" fmla="*/ 796095 h 1065176"/>
                  <a:gd name="connsiteX130" fmla="*/ 1268080 w 1501443"/>
                  <a:gd name="connsiteY130" fmla="*/ 746088 h 1065176"/>
                  <a:gd name="connsiteX131" fmla="*/ 1277605 w 1501443"/>
                  <a:gd name="connsiteY131" fmla="*/ 724657 h 1065176"/>
                  <a:gd name="connsiteX132" fmla="*/ 1291893 w 1501443"/>
                  <a:gd name="connsiteY132" fmla="*/ 722276 h 1065176"/>
                  <a:gd name="connsiteX133" fmla="*/ 1334755 w 1501443"/>
                  <a:gd name="connsiteY133" fmla="*/ 719895 h 1065176"/>
                  <a:gd name="connsiteX134" fmla="*/ 1341899 w 1501443"/>
                  <a:gd name="connsiteY134" fmla="*/ 717513 h 1065176"/>
                  <a:gd name="connsiteX135" fmla="*/ 1349043 w 1501443"/>
                  <a:gd name="connsiteY135" fmla="*/ 707988 h 1065176"/>
                  <a:gd name="connsiteX136" fmla="*/ 1356186 w 1501443"/>
                  <a:gd name="connsiteY136" fmla="*/ 703226 h 1065176"/>
                  <a:gd name="connsiteX137" fmla="*/ 1360949 w 1501443"/>
                  <a:gd name="connsiteY137" fmla="*/ 696082 h 1065176"/>
                  <a:gd name="connsiteX138" fmla="*/ 1368093 w 1501443"/>
                  <a:gd name="connsiteY138" fmla="*/ 688938 h 1065176"/>
                  <a:gd name="connsiteX139" fmla="*/ 1370474 w 1501443"/>
                  <a:gd name="connsiteY139" fmla="*/ 681795 h 1065176"/>
                  <a:gd name="connsiteX140" fmla="*/ 1389524 w 1501443"/>
                  <a:gd name="connsiteY140" fmla="*/ 653220 h 1065176"/>
                  <a:gd name="connsiteX141" fmla="*/ 1396668 w 1501443"/>
                  <a:gd name="connsiteY141" fmla="*/ 648457 h 1065176"/>
                  <a:gd name="connsiteX142" fmla="*/ 1406193 w 1501443"/>
                  <a:gd name="connsiteY142" fmla="*/ 634170 h 1065176"/>
                  <a:gd name="connsiteX143" fmla="*/ 1413336 w 1501443"/>
                  <a:gd name="connsiteY143" fmla="*/ 619882 h 1065176"/>
                  <a:gd name="connsiteX144" fmla="*/ 1418099 w 1501443"/>
                  <a:gd name="connsiteY144" fmla="*/ 603213 h 1065176"/>
                  <a:gd name="connsiteX145" fmla="*/ 1422861 w 1501443"/>
                  <a:gd name="connsiteY145" fmla="*/ 596070 h 1065176"/>
                  <a:gd name="connsiteX146" fmla="*/ 1430005 w 1501443"/>
                  <a:gd name="connsiteY146" fmla="*/ 584163 h 1065176"/>
                  <a:gd name="connsiteX147" fmla="*/ 1432386 w 1501443"/>
                  <a:gd name="connsiteY147" fmla="*/ 577020 h 1065176"/>
                  <a:gd name="connsiteX148" fmla="*/ 1437149 w 1501443"/>
                  <a:gd name="connsiteY148" fmla="*/ 557970 h 1065176"/>
                  <a:gd name="connsiteX149" fmla="*/ 1444293 w 1501443"/>
                  <a:gd name="connsiteY149" fmla="*/ 536538 h 1065176"/>
                  <a:gd name="connsiteX150" fmla="*/ 1458580 w 1501443"/>
                  <a:gd name="connsiteY150" fmla="*/ 524632 h 1065176"/>
                  <a:gd name="connsiteX151" fmla="*/ 1468105 w 1501443"/>
                  <a:gd name="connsiteY151" fmla="*/ 522251 h 1065176"/>
                  <a:gd name="connsiteX152" fmla="*/ 1487155 w 1501443"/>
                  <a:gd name="connsiteY152" fmla="*/ 517488 h 1065176"/>
                  <a:gd name="connsiteX153" fmla="*/ 1499061 w 1501443"/>
                  <a:gd name="connsiteY153" fmla="*/ 448432 h 1065176"/>
                  <a:gd name="connsiteX154" fmla="*/ 1501443 w 1501443"/>
                  <a:gd name="connsiteY154" fmla="*/ 431763 h 1065176"/>
                  <a:gd name="connsiteX155" fmla="*/ 1480011 w 1501443"/>
                  <a:gd name="connsiteY155" fmla="*/ 412713 h 1065176"/>
                  <a:gd name="connsiteX156" fmla="*/ 1453818 w 1501443"/>
                  <a:gd name="connsiteY156" fmla="*/ 393663 h 1065176"/>
                  <a:gd name="connsiteX157" fmla="*/ 1430005 w 1501443"/>
                  <a:gd name="connsiteY157" fmla="*/ 386520 h 1065176"/>
                  <a:gd name="connsiteX158" fmla="*/ 1422861 w 1501443"/>
                  <a:gd name="connsiteY158" fmla="*/ 384138 h 1065176"/>
                  <a:gd name="connsiteX159" fmla="*/ 1399049 w 1501443"/>
                  <a:gd name="connsiteY159" fmla="*/ 376995 h 1065176"/>
                  <a:gd name="connsiteX160" fmla="*/ 1389524 w 1501443"/>
                  <a:gd name="connsiteY160" fmla="*/ 372232 h 1065176"/>
                  <a:gd name="connsiteX161" fmla="*/ 1379999 w 1501443"/>
                  <a:gd name="connsiteY161" fmla="*/ 357945 h 1065176"/>
                  <a:gd name="connsiteX162" fmla="*/ 1375236 w 1501443"/>
                  <a:gd name="connsiteY162" fmla="*/ 341276 h 1065176"/>
                  <a:gd name="connsiteX163" fmla="*/ 1375236 w 1501443"/>
                  <a:gd name="connsiteY163" fmla="*/ 303176 h 1065176"/>
                  <a:gd name="connsiteX164" fmla="*/ 1368093 w 1501443"/>
                  <a:gd name="connsiteY164" fmla="*/ 257932 h 1065176"/>
                  <a:gd name="connsiteX165" fmla="*/ 1365711 w 1501443"/>
                  <a:gd name="connsiteY165" fmla="*/ 250788 h 1065176"/>
                  <a:gd name="connsiteX166" fmla="*/ 1368093 w 1501443"/>
                  <a:gd name="connsiteY166" fmla="*/ 229357 h 1065176"/>
                  <a:gd name="connsiteX167" fmla="*/ 1372855 w 1501443"/>
                  <a:gd name="connsiteY167" fmla="*/ 203163 h 1065176"/>
                  <a:gd name="connsiteX168" fmla="*/ 1360949 w 1501443"/>
                  <a:gd name="connsiteY168" fmla="*/ 172207 h 1065176"/>
                  <a:gd name="connsiteX169" fmla="*/ 1351424 w 1501443"/>
                  <a:gd name="connsiteY169" fmla="*/ 169826 h 1065176"/>
                  <a:gd name="connsiteX170" fmla="*/ 1341899 w 1501443"/>
                  <a:gd name="connsiteY170" fmla="*/ 172207 h 1065176"/>
                  <a:gd name="connsiteX171" fmla="*/ 1339518 w 1501443"/>
                  <a:gd name="connsiteY171" fmla="*/ 179351 h 1065176"/>
                  <a:gd name="connsiteX172" fmla="*/ 1332374 w 1501443"/>
                  <a:gd name="connsiteY172" fmla="*/ 196020 h 1065176"/>
                  <a:gd name="connsiteX173" fmla="*/ 1322849 w 1501443"/>
                  <a:gd name="connsiteY173" fmla="*/ 198401 h 1065176"/>
                  <a:gd name="connsiteX174" fmla="*/ 1310943 w 1501443"/>
                  <a:gd name="connsiteY174" fmla="*/ 203163 h 1065176"/>
                  <a:gd name="connsiteX175" fmla="*/ 1289511 w 1501443"/>
                  <a:gd name="connsiteY175" fmla="*/ 200782 h 1065176"/>
                  <a:gd name="connsiteX176" fmla="*/ 1296655 w 1501443"/>
                  <a:gd name="connsiteY176" fmla="*/ 174588 h 1065176"/>
                  <a:gd name="connsiteX177" fmla="*/ 1313324 w 1501443"/>
                  <a:gd name="connsiteY177" fmla="*/ 157920 h 1065176"/>
                  <a:gd name="connsiteX178" fmla="*/ 1315705 w 1501443"/>
                  <a:gd name="connsiteY178" fmla="*/ 148395 h 1065176"/>
                  <a:gd name="connsiteX179" fmla="*/ 1320468 w 1501443"/>
                  <a:gd name="connsiteY179" fmla="*/ 134107 h 1065176"/>
                  <a:gd name="connsiteX180" fmla="*/ 1322849 w 1501443"/>
                  <a:gd name="connsiteY180" fmla="*/ 122201 h 1065176"/>
                  <a:gd name="connsiteX181" fmla="*/ 1320468 w 1501443"/>
                  <a:gd name="connsiteY181" fmla="*/ 93626 h 1065176"/>
                  <a:gd name="connsiteX182" fmla="*/ 1318086 w 1501443"/>
                  <a:gd name="connsiteY182" fmla="*/ 84101 h 1065176"/>
                  <a:gd name="connsiteX183" fmla="*/ 1320468 w 1501443"/>
                  <a:gd name="connsiteY183" fmla="*/ 43620 h 1065176"/>
                  <a:gd name="connsiteX184" fmla="*/ 1318086 w 1501443"/>
                  <a:gd name="connsiteY184" fmla="*/ 10282 h 1065176"/>
                  <a:gd name="connsiteX185" fmla="*/ 1310943 w 1501443"/>
                  <a:gd name="connsiteY185" fmla="*/ 5520 h 1065176"/>
                  <a:gd name="connsiteX186" fmla="*/ 1275224 w 1501443"/>
                  <a:gd name="connsiteY186" fmla="*/ 3138 h 1065176"/>
                  <a:gd name="connsiteX187" fmla="*/ 1220455 w 1501443"/>
                  <a:gd name="connsiteY187" fmla="*/ 3138 h 1065176"/>
                  <a:gd name="connsiteX188" fmla="*/ 1208549 w 1501443"/>
                  <a:gd name="connsiteY188" fmla="*/ 10282 h 1065176"/>
                  <a:gd name="connsiteX189" fmla="*/ 1199024 w 1501443"/>
                  <a:gd name="connsiteY189" fmla="*/ 15045 h 1065176"/>
                  <a:gd name="connsiteX190" fmla="*/ 1184736 w 1501443"/>
                  <a:gd name="connsiteY190" fmla="*/ 26951 h 1065176"/>
                  <a:gd name="connsiteX191" fmla="*/ 1170449 w 1501443"/>
                  <a:gd name="connsiteY191" fmla="*/ 31713 h 1065176"/>
                  <a:gd name="connsiteX192" fmla="*/ 1068055 w 1501443"/>
                  <a:gd name="connsiteY192" fmla="*/ 29332 h 1065176"/>
                  <a:gd name="connsiteX193" fmla="*/ 1013286 w 1501443"/>
                  <a:gd name="connsiteY193" fmla="*/ 34095 h 1065176"/>
                  <a:gd name="connsiteX194" fmla="*/ 998999 w 1501443"/>
                  <a:gd name="connsiteY194" fmla="*/ 36476 h 1065176"/>
                  <a:gd name="connsiteX195" fmla="*/ 982330 w 1501443"/>
                  <a:gd name="connsiteY195" fmla="*/ 41238 h 1065176"/>
                  <a:gd name="connsiteX196" fmla="*/ 968043 w 1501443"/>
                  <a:gd name="connsiteY196" fmla="*/ 53145 h 1065176"/>
                  <a:gd name="connsiteX197" fmla="*/ 965661 w 1501443"/>
                  <a:gd name="connsiteY197" fmla="*/ 60288 h 1065176"/>
                  <a:gd name="connsiteX198" fmla="*/ 948993 w 1501443"/>
                  <a:gd name="connsiteY198" fmla="*/ 81720 h 1065176"/>
                  <a:gd name="connsiteX199" fmla="*/ 941849 w 1501443"/>
                  <a:gd name="connsiteY199" fmla="*/ 84101 h 1065176"/>
                  <a:gd name="connsiteX200" fmla="*/ 937086 w 1501443"/>
                  <a:gd name="connsiteY200" fmla="*/ 98388 h 1065176"/>
                  <a:gd name="connsiteX201" fmla="*/ 927561 w 1501443"/>
                  <a:gd name="connsiteY201" fmla="*/ 112676 h 1065176"/>
                  <a:gd name="connsiteX202" fmla="*/ 922799 w 1501443"/>
                  <a:gd name="connsiteY202" fmla="*/ 126963 h 1065176"/>
                  <a:gd name="connsiteX203" fmla="*/ 920418 w 1501443"/>
                  <a:gd name="connsiteY203" fmla="*/ 136488 h 1065176"/>
                  <a:gd name="connsiteX204" fmla="*/ 915655 w 1501443"/>
                  <a:gd name="connsiteY204" fmla="*/ 143632 h 1065176"/>
                  <a:gd name="connsiteX205" fmla="*/ 910893 w 1501443"/>
                  <a:gd name="connsiteY205" fmla="*/ 153157 h 1065176"/>
                  <a:gd name="connsiteX206" fmla="*/ 915655 w 1501443"/>
                  <a:gd name="connsiteY206" fmla="*/ 176970 h 1065176"/>
                  <a:gd name="connsiteX207" fmla="*/ 920418 w 1501443"/>
                  <a:gd name="connsiteY207" fmla="*/ 184113 h 1065176"/>
                  <a:gd name="connsiteX208" fmla="*/ 920418 w 1501443"/>
                  <a:gd name="connsiteY208" fmla="*/ 212688 h 1065176"/>
                  <a:gd name="connsiteX209" fmla="*/ 910893 w 1501443"/>
                  <a:gd name="connsiteY209" fmla="*/ 226976 h 1065176"/>
                  <a:gd name="connsiteX210" fmla="*/ 901368 w 1501443"/>
                  <a:gd name="connsiteY210" fmla="*/ 241263 h 1065176"/>
                  <a:gd name="connsiteX211" fmla="*/ 896605 w 1501443"/>
                  <a:gd name="connsiteY211" fmla="*/ 248407 h 1065176"/>
                  <a:gd name="connsiteX212" fmla="*/ 889461 w 1501443"/>
                  <a:gd name="connsiteY212" fmla="*/ 250788 h 1065176"/>
                  <a:gd name="connsiteX213" fmla="*/ 882318 w 1501443"/>
                  <a:gd name="connsiteY213" fmla="*/ 255551 h 1065176"/>
                  <a:gd name="connsiteX214" fmla="*/ 877555 w 1501443"/>
                  <a:gd name="connsiteY214" fmla="*/ 276982 h 1065176"/>
                  <a:gd name="connsiteX215" fmla="*/ 868030 w 1501443"/>
                  <a:gd name="connsiteY215" fmla="*/ 291270 h 1065176"/>
                  <a:gd name="connsiteX216" fmla="*/ 851361 w 1501443"/>
                  <a:gd name="connsiteY216" fmla="*/ 300795 h 1065176"/>
                  <a:gd name="connsiteX217" fmla="*/ 844218 w 1501443"/>
                  <a:gd name="connsiteY217" fmla="*/ 305557 h 1065176"/>
                  <a:gd name="connsiteX218" fmla="*/ 820405 w 1501443"/>
                  <a:gd name="connsiteY218" fmla="*/ 312701 h 1065176"/>
                  <a:gd name="connsiteX219" fmla="*/ 813261 w 1501443"/>
                  <a:gd name="connsiteY219" fmla="*/ 315082 h 1065176"/>
                  <a:gd name="connsiteX220" fmla="*/ 798974 w 1501443"/>
                  <a:gd name="connsiteY220" fmla="*/ 317463 h 1065176"/>
                  <a:gd name="connsiteX221" fmla="*/ 782305 w 1501443"/>
                  <a:gd name="connsiteY221" fmla="*/ 322226 h 1065176"/>
                  <a:gd name="connsiteX222" fmla="*/ 770399 w 1501443"/>
                  <a:gd name="connsiteY222" fmla="*/ 324607 h 1065176"/>
                  <a:gd name="connsiteX223" fmla="*/ 763255 w 1501443"/>
                  <a:gd name="connsiteY223" fmla="*/ 326988 h 1065176"/>
                  <a:gd name="connsiteX224" fmla="*/ 746586 w 1501443"/>
                  <a:gd name="connsiteY224" fmla="*/ 329370 h 1065176"/>
                  <a:gd name="connsiteX225" fmla="*/ 732299 w 1501443"/>
                  <a:gd name="connsiteY225" fmla="*/ 331751 h 1065176"/>
                  <a:gd name="connsiteX226" fmla="*/ 722774 w 1501443"/>
                  <a:gd name="connsiteY226" fmla="*/ 334132 h 1065176"/>
                  <a:gd name="connsiteX227" fmla="*/ 708486 w 1501443"/>
                  <a:gd name="connsiteY227" fmla="*/ 336513 h 1065176"/>
                  <a:gd name="connsiteX228" fmla="*/ 698961 w 1501443"/>
                  <a:gd name="connsiteY228" fmla="*/ 341276 h 1065176"/>
                  <a:gd name="connsiteX229" fmla="*/ 684674 w 1501443"/>
                  <a:gd name="connsiteY229" fmla="*/ 348420 h 1065176"/>
                  <a:gd name="connsiteX230" fmla="*/ 677530 w 1501443"/>
                  <a:gd name="connsiteY230" fmla="*/ 355563 h 1065176"/>
                  <a:gd name="connsiteX231" fmla="*/ 653718 w 1501443"/>
                  <a:gd name="connsiteY231" fmla="*/ 360326 h 1065176"/>
                  <a:gd name="connsiteX232" fmla="*/ 637049 w 1501443"/>
                  <a:gd name="connsiteY232" fmla="*/ 362707 h 1065176"/>
                  <a:gd name="connsiteX233" fmla="*/ 603711 w 1501443"/>
                  <a:gd name="connsiteY233" fmla="*/ 365088 h 1065176"/>
                  <a:gd name="connsiteX234" fmla="*/ 582280 w 1501443"/>
                  <a:gd name="connsiteY234" fmla="*/ 367470 h 1065176"/>
                  <a:gd name="connsiteX235" fmla="*/ 513224 w 1501443"/>
                  <a:gd name="connsiteY235" fmla="*/ 365088 h 1065176"/>
                  <a:gd name="connsiteX236" fmla="*/ 498936 w 1501443"/>
                  <a:gd name="connsiteY236" fmla="*/ 355563 h 1065176"/>
                  <a:gd name="connsiteX237" fmla="*/ 472743 w 1501443"/>
                  <a:gd name="connsiteY237" fmla="*/ 341276 h 1065176"/>
                  <a:gd name="connsiteX238" fmla="*/ 458455 w 1501443"/>
                  <a:gd name="connsiteY238" fmla="*/ 336513 h 1065176"/>
                  <a:gd name="connsiteX239" fmla="*/ 451311 w 1501443"/>
                  <a:gd name="connsiteY239" fmla="*/ 334132 h 1065176"/>
                  <a:gd name="connsiteX240" fmla="*/ 432261 w 1501443"/>
                  <a:gd name="connsiteY240" fmla="*/ 329370 h 1065176"/>
                  <a:gd name="connsiteX241" fmla="*/ 425118 w 1501443"/>
                  <a:gd name="connsiteY241" fmla="*/ 324607 h 1065176"/>
                  <a:gd name="connsiteX242" fmla="*/ 417974 w 1501443"/>
                  <a:gd name="connsiteY242" fmla="*/ 322226 h 1065176"/>
                  <a:gd name="connsiteX243" fmla="*/ 406068 w 1501443"/>
                  <a:gd name="connsiteY243" fmla="*/ 307938 h 1065176"/>
                  <a:gd name="connsiteX244" fmla="*/ 398924 w 1501443"/>
                  <a:gd name="connsiteY244" fmla="*/ 286507 h 1065176"/>
                  <a:gd name="connsiteX245" fmla="*/ 389399 w 1501443"/>
                  <a:gd name="connsiteY245" fmla="*/ 269838 h 1065176"/>
                  <a:gd name="connsiteX246" fmla="*/ 375111 w 1501443"/>
                  <a:gd name="connsiteY246" fmla="*/ 260313 h 1065176"/>
                  <a:gd name="connsiteX247" fmla="*/ 367968 w 1501443"/>
                  <a:gd name="connsiteY247" fmla="*/ 257932 h 1065176"/>
                  <a:gd name="connsiteX248" fmla="*/ 351299 w 1501443"/>
                  <a:gd name="connsiteY248" fmla="*/ 260313 h 1065176"/>
                  <a:gd name="connsiteX249" fmla="*/ 337011 w 1501443"/>
                  <a:gd name="connsiteY249" fmla="*/ 272220 h 1065176"/>
                  <a:gd name="connsiteX250" fmla="*/ 329868 w 1501443"/>
                  <a:gd name="connsiteY250" fmla="*/ 286507 h 1065176"/>
                  <a:gd name="connsiteX251" fmla="*/ 315580 w 1501443"/>
                  <a:gd name="connsiteY251" fmla="*/ 300795 h 1065176"/>
                  <a:gd name="connsiteX252" fmla="*/ 308436 w 1501443"/>
                  <a:gd name="connsiteY252" fmla="*/ 307938 h 1065176"/>
                  <a:gd name="connsiteX253" fmla="*/ 301293 w 1501443"/>
                  <a:gd name="connsiteY253" fmla="*/ 310320 h 1065176"/>
                  <a:gd name="connsiteX254" fmla="*/ 294149 w 1501443"/>
                  <a:gd name="connsiteY254" fmla="*/ 315082 h 1065176"/>
                  <a:gd name="connsiteX255" fmla="*/ 284624 w 1501443"/>
                  <a:gd name="connsiteY255" fmla="*/ 317463 h 1065176"/>
                  <a:gd name="connsiteX256" fmla="*/ 277480 w 1501443"/>
                  <a:gd name="connsiteY256" fmla="*/ 319845 h 1065176"/>
                  <a:gd name="connsiteX257" fmla="*/ 267955 w 1501443"/>
                  <a:gd name="connsiteY257" fmla="*/ 322226 h 1065176"/>
                  <a:gd name="connsiteX258" fmla="*/ 260811 w 1501443"/>
                  <a:gd name="connsiteY258" fmla="*/ 324607 h 1065176"/>
                  <a:gd name="connsiteX259" fmla="*/ 244143 w 1501443"/>
                  <a:gd name="connsiteY259" fmla="*/ 329370 h 1065176"/>
                  <a:gd name="connsiteX260" fmla="*/ 220330 w 1501443"/>
                  <a:gd name="connsiteY260" fmla="*/ 326988 h 1065176"/>
                  <a:gd name="connsiteX261" fmla="*/ 217949 w 1501443"/>
                  <a:gd name="connsiteY261" fmla="*/ 319845 h 1065176"/>
                  <a:gd name="connsiteX262" fmla="*/ 213186 w 1501443"/>
                  <a:gd name="connsiteY262" fmla="*/ 312701 h 1065176"/>
                  <a:gd name="connsiteX263" fmla="*/ 191755 w 1501443"/>
                  <a:gd name="connsiteY263" fmla="*/ 305557 h 1065176"/>
                  <a:gd name="connsiteX264" fmla="*/ 170324 w 1501443"/>
                  <a:gd name="connsiteY264" fmla="*/ 300795 h 1065176"/>
                  <a:gd name="connsiteX265" fmla="*/ 139368 w 1501443"/>
                  <a:gd name="connsiteY265" fmla="*/ 303176 h 1065176"/>
                  <a:gd name="connsiteX266" fmla="*/ 115555 w 1501443"/>
                  <a:gd name="connsiteY266" fmla="*/ 312701 h 1065176"/>
                  <a:gd name="connsiteX267" fmla="*/ 103649 w 1501443"/>
                  <a:gd name="connsiteY267" fmla="*/ 317463 h 1065176"/>
                  <a:gd name="connsiteX268" fmla="*/ 91743 w 1501443"/>
                  <a:gd name="connsiteY268" fmla="*/ 319845 h 1065176"/>
                  <a:gd name="connsiteX269" fmla="*/ 77455 w 1501443"/>
                  <a:gd name="connsiteY269" fmla="*/ 324607 h 1065176"/>
                  <a:gd name="connsiteX270" fmla="*/ 75074 w 1501443"/>
                  <a:gd name="connsiteY270" fmla="*/ 331751 h 1065176"/>
                  <a:gd name="connsiteX271" fmla="*/ 70311 w 1501443"/>
                  <a:gd name="connsiteY271" fmla="*/ 338895 h 1065176"/>
                  <a:gd name="connsiteX272" fmla="*/ 65549 w 1501443"/>
                  <a:gd name="connsiteY272" fmla="*/ 353182 h 1065176"/>
                  <a:gd name="connsiteX273" fmla="*/ 63168 w 1501443"/>
                  <a:gd name="connsiteY273" fmla="*/ 360326 h 1065176"/>
                  <a:gd name="connsiteX274" fmla="*/ 60786 w 1501443"/>
                  <a:gd name="connsiteY274" fmla="*/ 367470 h 1065176"/>
                  <a:gd name="connsiteX275" fmla="*/ 67930 w 1501443"/>
                  <a:gd name="connsiteY275" fmla="*/ 369851 h 1065176"/>
                  <a:gd name="connsiteX276" fmla="*/ 72693 w 1501443"/>
                  <a:gd name="connsiteY276" fmla="*/ 384138 h 1065176"/>
                  <a:gd name="connsiteX277" fmla="*/ 65549 w 1501443"/>
                  <a:gd name="connsiteY277" fmla="*/ 407951 h 1065176"/>
                  <a:gd name="connsiteX278" fmla="*/ 58405 w 1501443"/>
                  <a:gd name="connsiteY278" fmla="*/ 410332 h 1065176"/>
                  <a:gd name="connsiteX279" fmla="*/ 41736 w 1501443"/>
                  <a:gd name="connsiteY279" fmla="*/ 412713 h 1065176"/>
                  <a:gd name="connsiteX280" fmla="*/ 1255 w 1501443"/>
                  <a:gd name="connsiteY280" fmla="*/ 431763 h 106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1501443" h="1065176">
                    <a:moveTo>
                      <a:pt x="1255" y="431763"/>
                    </a:moveTo>
                    <a:cubicBezTo>
                      <a:pt x="-3904" y="436922"/>
                      <a:pt x="8346" y="439208"/>
                      <a:pt x="10780" y="443670"/>
                    </a:cubicBezTo>
                    <a:cubicBezTo>
                      <a:pt x="13184" y="448077"/>
                      <a:pt x="13955" y="453195"/>
                      <a:pt x="15543" y="457957"/>
                    </a:cubicBezTo>
                    <a:lnTo>
                      <a:pt x="22686" y="479388"/>
                    </a:lnTo>
                    <a:cubicBezTo>
                      <a:pt x="23480" y="481769"/>
                      <a:pt x="24576" y="484071"/>
                      <a:pt x="25068" y="486532"/>
                    </a:cubicBezTo>
                    <a:cubicBezTo>
                      <a:pt x="25862" y="490501"/>
                      <a:pt x="25441" y="494924"/>
                      <a:pt x="27449" y="498438"/>
                    </a:cubicBezTo>
                    <a:cubicBezTo>
                      <a:pt x="29622" y="502240"/>
                      <a:pt x="38069" y="504360"/>
                      <a:pt x="41736" y="505582"/>
                    </a:cubicBezTo>
                    <a:cubicBezTo>
                      <a:pt x="42530" y="507963"/>
                      <a:pt x="43458" y="510304"/>
                      <a:pt x="44118" y="512726"/>
                    </a:cubicBezTo>
                    <a:cubicBezTo>
                      <a:pt x="48424" y="528514"/>
                      <a:pt x="48485" y="529802"/>
                      <a:pt x="51261" y="543682"/>
                    </a:cubicBezTo>
                    <a:cubicBezTo>
                      <a:pt x="50467" y="565907"/>
                      <a:pt x="50312" y="588164"/>
                      <a:pt x="48880" y="610357"/>
                    </a:cubicBezTo>
                    <a:cubicBezTo>
                      <a:pt x="48718" y="612862"/>
                      <a:pt x="48067" y="615541"/>
                      <a:pt x="46499" y="617501"/>
                    </a:cubicBezTo>
                    <a:cubicBezTo>
                      <a:pt x="44711" y="619736"/>
                      <a:pt x="41736" y="620676"/>
                      <a:pt x="39355" y="622263"/>
                    </a:cubicBezTo>
                    <a:cubicBezTo>
                      <a:pt x="34002" y="621498"/>
                      <a:pt x="21840" y="617226"/>
                      <a:pt x="15543" y="622263"/>
                    </a:cubicBezTo>
                    <a:cubicBezTo>
                      <a:pt x="13308" y="624051"/>
                      <a:pt x="12368" y="627026"/>
                      <a:pt x="10780" y="629407"/>
                    </a:cubicBezTo>
                    <a:cubicBezTo>
                      <a:pt x="11574" y="631788"/>
                      <a:pt x="11386" y="634776"/>
                      <a:pt x="13161" y="636551"/>
                    </a:cubicBezTo>
                    <a:cubicBezTo>
                      <a:pt x="23552" y="646942"/>
                      <a:pt x="25681" y="645231"/>
                      <a:pt x="36974" y="648457"/>
                    </a:cubicBezTo>
                    <a:cubicBezTo>
                      <a:pt x="39388" y="649147"/>
                      <a:pt x="41737" y="650044"/>
                      <a:pt x="44118" y="650838"/>
                    </a:cubicBezTo>
                    <a:cubicBezTo>
                      <a:pt x="46499" y="652426"/>
                      <a:pt x="49237" y="653577"/>
                      <a:pt x="51261" y="655601"/>
                    </a:cubicBezTo>
                    <a:cubicBezTo>
                      <a:pt x="55436" y="659776"/>
                      <a:pt x="56855" y="664464"/>
                      <a:pt x="58405" y="669888"/>
                    </a:cubicBezTo>
                    <a:cubicBezTo>
                      <a:pt x="60645" y="677729"/>
                      <a:pt x="61532" y="683143"/>
                      <a:pt x="63168" y="691320"/>
                    </a:cubicBezTo>
                    <a:cubicBezTo>
                      <a:pt x="64600" y="715669"/>
                      <a:pt x="62547" y="723384"/>
                      <a:pt x="67930" y="741326"/>
                    </a:cubicBezTo>
                    <a:cubicBezTo>
                      <a:pt x="69373" y="746134"/>
                      <a:pt x="71105" y="750851"/>
                      <a:pt x="72693" y="755613"/>
                    </a:cubicBezTo>
                    <a:lnTo>
                      <a:pt x="75074" y="762757"/>
                    </a:lnTo>
                    <a:cubicBezTo>
                      <a:pt x="64820" y="793524"/>
                      <a:pt x="70975" y="772312"/>
                      <a:pt x="75074" y="846101"/>
                    </a:cubicBezTo>
                    <a:cubicBezTo>
                      <a:pt x="75314" y="850423"/>
                      <a:pt x="81571" y="867973"/>
                      <a:pt x="82218" y="869913"/>
                    </a:cubicBezTo>
                    <a:lnTo>
                      <a:pt x="84599" y="877057"/>
                    </a:lnTo>
                    <a:cubicBezTo>
                      <a:pt x="86079" y="890382"/>
                      <a:pt x="86329" y="898270"/>
                      <a:pt x="89361" y="910395"/>
                    </a:cubicBezTo>
                    <a:cubicBezTo>
                      <a:pt x="89970" y="912830"/>
                      <a:pt x="90949" y="915157"/>
                      <a:pt x="91743" y="917538"/>
                    </a:cubicBezTo>
                    <a:cubicBezTo>
                      <a:pt x="95712" y="916744"/>
                      <a:pt x="100282" y="917402"/>
                      <a:pt x="103649" y="915157"/>
                    </a:cubicBezTo>
                    <a:cubicBezTo>
                      <a:pt x="105738" y="913765"/>
                      <a:pt x="104255" y="909788"/>
                      <a:pt x="106030" y="908013"/>
                    </a:cubicBezTo>
                    <a:cubicBezTo>
                      <a:pt x="110077" y="903966"/>
                      <a:pt x="115555" y="901663"/>
                      <a:pt x="120318" y="898488"/>
                    </a:cubicBezTo>
                    <a:lnTo>
                      <a:pt x="120318" y="898488"/>
                    </a:lnTo>
                    <a:cubicBezTo>
                      <a:pt x="132786" y="894332"/>
                      <a:pt x="124976" y="896462"/>
                      <a:pt x="144130" y="893726"/>
                    </a:cubicBezTo>
                    <a:cubicBezTo>
                      <a:pt x="150480" y="894520"/>
                      <a:pt x="156884" y="894962"/>
                      <a:pt x="163180" y="896107"/>
                    </a:cubicBezTo>
                    <a:cubicBezTo>
                      <a:pt x="165650" y="896556"/>
                      <a:pt x="167910" y="897798"/>
                      <a:pt x="170324" y="898488"/>
                    </a:cubicBezTo>
                    <a:cubicBezTo>
                      <a:pt x="191255" y="904469"/>
                      <a:pt x="169864" y="897542"/>
                      <a:pt x="186993" y="903251"/>
                    </a:cubicBezTo>
                    <a:cubicBezTo>
                      <a:pt x="189393" y="906851"/>
                      <a:pt x="195847" y="915894"/>
                      <a:pt x="196518" y="919920"/>
                    </a:cubicBezTo>
                    <a:cubicBezTo>
                      <a:pt x="205907" y="976251"/>
                      <a:pt x="193838" y="938071"/>
                      <a:pt x="201280" y="960401"/>
                    </a:cubicBezTo>
                    <a:cubicBezTo>
                      <a:pt x="206043" y="959607"/>
                      <a:pt x="211902" y="961162"/>
                      <a:pt x="215568" y="958020"/>
                    </a:cubicBezTo>
                    <a:cubicBezTo>
                      <a:pt x="218641" y="955386"/>
                      <a:pt x="216884" y="950018"/>
                      <a:pt x="217949" y="946113"/>
                    </a:cubicBezTo>
                    <a:cubicBezTo>
                      <a:pt x="222393" y="929815"/>
                      <a:pt x="218504" y="933228"/>
                      <a:pt x="229855" y="929445"/>
                    </a:cubicBezTo>
                    <a:cubicBezTo>
                      <a:pt x="247802" y="935426"/>
                      <a:pt x="225689" y="927361"/>
                      <a:pt x="244143" y="936588"/>
                    </a:cubicBezTo>
                    <a:cubicBezTo>
                      <a:pt x="246388" y="937711"/>
                      <a:pt x="249041" y="937847"/>
                      <a:pt x="251286" y="938970"/>
                    </a:cubicBezTo>
                    <a:cubicBezTo>
                      <a:pt x="253846" y="940250"/>
                      <a:pt x="255815" y="942570"/>
                      <a:pt x="258430" y="943732"/>
                    </a:cubicBezTo>
                    <a:cubicBezTo>
                      <a:pt x="263018" y="945771"/>
                      <a:pt x="272718" y="948495"/>
                      <a:pt x="272718" y="948495"/>
                    </a:cubicBezTo>
                    <a:cubicBezTo>
                      <a:pt x="279068" y="947701"/>
                      <a:pt x="285741" y="948266"/>
                      <a:pt x="291768" y="946113"/>
                    </a:cubicBezTo>
                    <a:cubicBezTo>
                      <a:pt x="297158" y="944188"/>
                      <a:pt x="301293" y="939763"/>
                      <a:pt x="306055" y="936588"/>
                    </a:cubicBezTo>
                    <a:cubicBezTo>
                      <a:pt x="308436" y="935001"/>
                      <a:pt x="310484" y="932731"/>
                      <a:pt x="313199" y="931826"/>
                    </a:cubicBezTo>
                    <a:lnTo>
                      <a:pt x="334630" y="924682"/>
                    </a:lnTo>
                    <a:lnTo>
                      <a:pt x="341774" y="922301"/>
                    </a:lnTo>
                    <a:cubicBezTo>
                      <a:pt x="352886" y="923095"/>
                      <a:pt x="364047" y="923380"/>
                      <a:pt x="375111" y="924682"/>
                    </a:cubicBezTo>
                    <a:cubicBezTo>
                      <a:pt x="377604" y="924975"/>
                      <a:pt x="379805" y="926518"/>
                      <a:pt x="382255" y="927063"/>
                    </a:cubicBezTo>
                    <a:cubicBezTo>
                      <a:pt x="392952" y="929440"/>
                      <a:pt x="407643" y="930678"/>
                      <a:pt x="417974" y="931826"/>
                    </a:cubicBezTo>
                    <a:cubicBezTo>
                      <a:pt x="419561" y="934207"/>
                      <a:pt x="419984" y="938184"/>
                      <a:pt x="422736" y="938970"/>
                    </a:cubicBezTo>
                    <a:cubicBezTo>
                      <a:pt x="433447" y="942030"/>
                      <a:pt x="435227" y="935712"/>
                      <a:pt x="439405" y="929445"/>
                    </a:cubicBezTo>
                    <a:cubicBezTo>
                      <a:pt x="440199" y="927064"/>
                      <a:pt x="440011" y="924076"/>
                      <a:pt x="441786" y="922301"/>
                    </a:cubicBezTo>
                    <a:cubicBezTo>
                      <a:pt x="447169" y="916918"/>
                      <a:pt x="466406" y="922104"/>
                      <a:pt x="467980" y="922301"/>
                    </a:cubicBezTo>
                    <a:cubicBezTo>
                      <a:pt x="474331" y="926534"/>
                      <a:pt x="477331" y="927859"/>
                      <a:pt x="482268" y="934207"/>
                    </a:cubicBezTo>
                    <a:cubicBezTo>
                      <a:pt x="485782" y="938725"/>
                      <a:pt x="491793" y="948495"/>
                      <a:pt x="491793" y="948495"/>
                    </a:cubicBezTo>
                    <a:cubicBezTo>
                      <a:pt x="497375" y="965241"/>
                      <a:pt x="491793" y="945169"/>
                      <a:pt x="491793" y="977070"/>
                    </a:cubicBezTo>
                    <a:cubicBezTo>
                      <a:pt x="491793" y="1006449"/>
                      <a:pt x="493380" y="1035807"/>
                      <a:pt x="494174" y="1065176"/>
                    </a:cubicBezTo>
                    <a:cubicBezTo>
                      <a:pt x="506080" y="1064382"/>
                      <a:pt x="518123" y="1064757"/>
                      <a:pt x="529893" y="1062795"/>
                    </a:cubicBezTo>
                    <a:cubicBezTo>
                      <a:pt x="537294" y="1061561"/>
                      <a:pt x="539540" y="1052373"/>
                      <a:pt x="544180" y="1048507"/>
                    </a:cubicBezTo>
                    <a:cubicBezTo>
                      <a:pt x="546108" y="1046900"/>
                      <a:pt x="548943" y="1046920"/>
                      <a:pt x="551324" y="1046126"/>
                    </a:cubicBezTo>
                    <a:cubicBezTo>
                      <a:pt x="568147" y="1034910"/>
                      <a:pt x="547336" y="1048976"/>
                      <a:pt x="567993" y="1034220"/>
                    </a:cubicBezTo>
                    <a:cubicBezTo>
                      <a:pt x="570322" y="1032557"/>
                      <a:pt x="572506" y="1030584"/>
                      <a:pt x="575136" y="1029457"/>
                    </a:cubicBezTo>
                    <a:cubicBezTo>
                      <a:pt x="578144" y="1028168"/>
                      <a:pt x="581486" y="1027870"/>
                      <a:pt x="584661" y="1027076"/>
                    </a:cubicBezTo>
                    <a:cubicBezTo>
                      <a:pt x="588274" y="1024667"/>
                      <a:pt x="594018" y="1019932"/>
                      <a:pt x="598949" y="1019932"/>
                    </a:cubicBezTo>
                    <a:cubicBezTo>
                      <a:pt x="603777" y="1019932"/>
                      <a:pt x="608474" y="1021519"/>
                      <a:pt x="613236" y="1022313"/>
                    </a:cubicBezTo>
                    <a:cubicBezTo>
                      <a:pt x="615617" y="1023107"/>
                      <a:pt x="617966" y="1024005"/>
                      <a:pt x="620380" y="1024695"/>
                    </a:cubicBezTo>
                    <a:cubicBezTo>
                      <a:pt x="628355" y="1026974"/>
                      <a:pt x="636649" y="1028066"/>
                      <a:pt x="644193" y="1031838"/>
                    </a:cubicBezTo>
                    <a:cubicBezTo>
                      <a:pt x="647368" y="1033426"/>
                      <a:pt x="650422" y="1035283"/>
                      <a:pt x="653718" y="1036601"/>
                    </a:cubicBezTo>
                    <a:cubicBezTo>
                      <a:pt x="658379" y="1038465"/>
                      <a:pt x="663243" y="1039776"/>
                      <a:pt x="668005" y="1041363"/>
                    </a:cubicBezTo>
                    <a:lnTo>
                      <a:pt x="675149" y="1043745"/>
                    </a:lnTo>
                    <a:cubicBezTo>
                      <a:pt x="686261" y="1042951"/>
                      <a:pt x="697422" y="1042665"/>
                      <a:pt x="708486" y="1041363"/>
                    </a:cubicBezTo>
                    <a:cubicBezTo>
                      <a:pt x="710979" y="1041070"/>
                      <a:pt x="713541" y="1040374"/>
                      <a:pt x="715630" y="1038982"/>
                    </a:cubicBezTo>
                    <a:cubicBezTo>
                      <a:pt x="733468" y="1027091"/>
                      <a:pt x="712931" y="1035118"/>
                      <a:pt x="729918" y="1029457"/>
                    </a:cubicBezTo>
                    <a:cubicBezTo>
                      <a:pt x="734211" y="1025164"/>
                      <a:pt x="738401" y="1020038"/>
                      <a:pt x="744205" y="1017551"/>
                    </a:cubicBezTo>
                    <a:cubicBezTo>
                      <a:pt x="747213" y="1016262"/>
                      <a:pt x="750595" y="1016110"/>
                      <a:pt x="753730" y="1015170"/>
                    </a:cubicBezTo>
                    <a:cubicBezTo>
                      <a:pt x="758539" y="1013727"/>
                      <a:pt x="763255" y="1011995"/>
                      <a:pt x="768018" y="1010407"/>
                    </a:cubicBezTo>
                    <a:lnTo>
                      <a:pt x="775161" y="1008026"/>
                    </a:lnTo>
                    <a:cubicBezTo>
                      <a:pt x="778954" y="1005497"/>
                      <a:pt x="787520" y="1000460"/>
                      <a:pt x="789449" y="996120"/>
                    </a:cubicBezTo>
                    <a:cubicBezTo>
                      <a:pt x="791410" y="991708"/>
                      <a:pt x="790783" y="986545"/>
                      <a:pt x="791830" y="981832"/>
                    </a:cubicBezTo>
                    <a:cubicBezTo>
                      <a:pt x="792374" y="979382"/>
                      <a:pt x="793417" y="977069"/>
                      <a:pt x="794211" y="974688"/>
                    </a:cubicBezTo>
                    <a:cubicBezTo>
                      <a:pt x="795005" y="966751"/>
                      <a:pt x="795603" y="958791"/>
                      <a:pt x="796593" y="950876"/>
                    </a:cubicBezTo>
                    <a:cubicBezTo>
                      <a:pt x="797192" y="946085"/>
                      <a:pt x="796578" y="940780"/>
                      <a:pt x="798974" y="936588"/>
                    </a:cubicBezTo>
                    <a:cubicBezTo>
                      <a:pt x="800219" y="934409"/>
                      <a:pt x="803737" y="935001"/>
                      <a:pt x="806118" y="934207"/>
                    </a:cubicBezTo>
                    <a:cubicBezTo>
                      <a:pt x="810880" y="935001"/>
                      <a:pt x="815993" y="934627"/>
                      <a:pt x="820405" y="936588"/>
                    </a:cubicBezTo>
                    <a:cubicBezTo>
                      <a:pt x="829072" y="940440"/>
                      <a:pt x="826106" y="945447"/>
                      <a:pt x="832311" y="950876"/>
                    </a:cubicBezTo>
                    <a:cubicBezTo>
                      <a:pt x="836619" y="954645"/>
                      <a:pt x="846599" y="960401"/>
                      <a:pt x="846599" y="960401"/>
                    </a:cubicBezTo>
                    <a:cubicBezTo>
                      <a:pt x="847393" y="962782"/>
                      <a:pt x="847761" y="965351"/>
                      <a:pt x="848980" y="967545"/>
                    </a:cubicBezTo>
                    <a:cubicBezTo>
                      <a:pt x="851760" y="972548"/>
                      <a:pt x="855330" y="977070"/>
                      <a:pt x="858505" y="981832"/>
                    </a:cubicBezTo>
                    <a:cubicBezTo>
                      <a:pt x="860093" y="984213"/>
                      <a:pt x="861244" y="986952"/>
                      <a:pt x="863268" y="988976"/>
                    </a:cubicBezTo>
                    <a:lnTo>
                      <a:pt x="870411" y="996120"/>
                    </a:lnTo>
                    <a:cubicBezTo>
                      <a:pt x="872792" y="994532"/>
                      <a:pt x="875767" y="993592"/>
                      <a:pt x="877555" y="991357"/>
                    </a:cubicBezTo>
                    <a:cubicBezTo>
                      <a:pt x="885225" y="981769"/>
                      <a:pt x="873545" y="985993"/>
                      <a:pt x="884699" y="977070"/>
                    </a:cubicBezTo>
                    <a:cubicBezTo>
                      <a:pt x="886659" y="975502"/>
                      <a:pt x="889408" y="975297"/>
                      <a:pt x="891843" y="974688"/>
                    </a:cubicBezTo>
                    <a:cubicBezTo>
                      <a:pt x="895769" y="973706"/>
                      <a:pt x="899798" y="973185"/>
                      <a:pt x="903749" y="972307"/>
                    </a:cubicBezTo>
                    <a:cubicBezTo>
                      <a:pt x="906944" y="971597"/>
                      <a:pt x="910099" y="970720"/>
                      <a:pt x="913274" y="969926"/>
                    </a:cubicBezTo>
                    <a:cubicBezTo>
                      <a:pt x="929308" y="971707"/>
                      <a:pt x="933999" y="966691"/>
                      <a:pt x="939468" y="979451"/>
                    </a:cubicBezTo>
                    <a:cubicBezTo>
                      <a:pt x="940757" y="982459"/>
                      <a:pt x="941055" y="985801"/>
                      <a:pt x="941849" y="988976"/>
                    </a:cubicBezTo>
                    <a:cubicBezTo>
                      <a:pt x="942643" y="998501"/>
                      <a:pt x="942967" y="1008077"/>
                      <a:pt x="944230" y="1017551"/>
                    </a:cubicBezTo>
                    <a:cubicBezTo>
                      <a:pt x="944562" y="1020039"/>
                      <a:pt x="945043" y="1022735"/>
                      <a:pt x="946611" y="1024695"/>
                    </a:cubicBezTo>
                    <a:cubicBezTo>
                      <a:pt x="948399" y="1026930"/>
                      <a:pt x="951374" y="1027870"/>
                      <a:pt x="953755" y="1029457"/>
                    </a:cubicBezTo>
                    <a:cubicBezTo>
                      <a:pt x="960121" y="1028396"/>
                      <a:pt x="973295" y="1026359"/>
                      <a:pt x="979949" y="1024695"/>
                    </a:cubicBezTo>
                    <a:cubicBezTo>
                      <a:pt x="982384" y="1024086"/>
                      <a:pt x="984712" y="1023107"/>
                      <a:pt x="987093" y="1022313"/>
                    </a:cubicBezTo>
                    <a:cubicBezTo>
                      <a:pt x="1001707" y="1024140"/>
                      <a:pt x="1008582" y="1024887"/>
                      <a:pt x="1022811" y="1027076"/>
                    </a:cubicBezTo>
                    <a:cubicBezTo>
                      <a:pt x="1065744" y="1033680"/>
                      <a:pt x="1005457" y="1024937"/>
                      <a:pt x="1053768" y="1031838"/>
                    </a:cubicBezTo>
                    <a:cubicBezTo>
                      <a:pt x="1059324" y="1031044"/>
                      <a:pt x="1064933" y="1030558"/>
                      <a:pt x="1070436" y="1029457"/>
                    </a:cubicBezTo>
                    <a:cubicBezTo>
                      <a:pt x="1072897" y="1028965"/>
                      <a:pt x="1075166" y="1027766"/>
                      <a:pt x="1077580" y="1027076"/>
                    </a:cubicBezTo>
                    <a:cubicBezTo>
                      <a:pt x="1080727" y="1026177"/>
                      <a:pt x="1083970" y="1025635"/>
                      <a:pt x="1087105" y="1024695"/>
                    </a:cubicBezTo>
                    <a:cubicBezTo>
                      <a:pt x="1091914" y="1023252"/>
                      <a:pt x="1096423" y="1020642"/>
                      <a:pt x="1101393" y="1019932"/>
                    </a:cubicBezTo>
                    <a:lnTo>
                      <a:pt x="1118061" y="1017551"/>
                    </a:lnTo>
                    <a:cubicBezTo>
                      <a:pt x="1119678" y="1015395"/>
                      <a:pt x="1128228" y="1004363"/>
                      <a:pt x="1129968" y="1000882"/>
                    </a:cubicBezTo>
                    <a:cubicBezTo>
                      <a:pt x="1131091" y="998637"/>
                      <a:pt x="1131360" y="996045"/>
                      <a:pt x="1132349" y="993738"/>
                    </a:cubicBezTo>
                    <a:cubicBezTo>
                      <a:pt x="1135975" y="985276"/>
                      <a:pt x="1137089" y="984246"/>
                      <a:pt x="1141874" y="977070"/>
                    </a:cubicBezTo>
                    <a:cubicBezTo>
                      <a:pt x="1142668" y="973101"/>
                      <a:pt x="1143273" y="969090"/>
                      <a:pt x="1144255" y="965163"/>
                    </a:cubicBezTo>
                    <a:cubicBezTo>
                      <a:pt x="1144864" y="962728"/>
                      <a:pt x="1146254" y="960501"/>
                      <a:pt x="1146636" y="958020"/>
                    </a:cubicBezTo>
                    <a:cubicBezTo>
                      <a:pt x="1147849" y="950136"/>
                      <a:pt x="1147346" y="942007"/>
                      <a:pt x="1149018" y="934207"/>
                    </a:cubicBezTo>
                    <a:cubicBezTo>
                      <a:pt x="1149762" y="930736"/>
                      <a:pt x="1152338" y="927926"/>
                      <a:pt x="1153780" y="924682"/>
                    </a:cubicBezTo>
                    <a:cubicBezTo>
                      <a:pt x="1155516" y="920776"/>
                      <a:pt x="1156631" y="916599"/>
                      <a:pt x="1158543" y="912776"/>
                    </a:cubicBezTo>
                    <a:cubicBezTo>
                      <a:pt x="1160481" y="908899"/>
                      <a:pt x="1168556" y="898811"/>
                      <a:pt x="1170449" y="896107"/>
                    </a:cubicBezTo>
                    <a:cubicBezTo>
                      <a:pt x="1174691" y="890048"/>
                      <a:pt x="1183594" y="875228"/>
                      <a:pt x="1189499" y="869913"/>
                    </a:cubicBezTo>
                    <a:cubicBezTo>
                      <a:pt x="1196684" y="863446"/>
                      <a:pt x="1204903" y="859830"/>
                      <a:pt x="1213311" y="855626"/>
                    </a:cubicBezTo>
                    <a:cubicBezTo>
                      <a:pt x="1215692" y="853245"/>
                      <a:pt x="1217868" y="850638"/>
                      <a:pt x="1220455" y="848482"/>
                    </a:cubicBezTo>
                    <a:cubicBezTo>
                      <a:pt x="1222654" y="846650"/>
                      <a:pt x="1225575" y="845744"/>
                      <a:pt x="1227599" y="843720"/>
                    </a:cubicBezTo>
                    <a:cubicBezTo>
                      <a:pt x="1230405" y="840914"/>
                      <a:pt x="1232362" y="837370"/>
                      <a:pt x="1234743" y="834195"/>
                    </a:cubicBezTo>
                    <a:cubicBezTo>
                      <a:pt x="1234993" y="832946"/>
                      <a:pt x="1237471" y="817993"/>
                      <a:pt x="1239505" y="815145"/>
                    </a:cubicBezTo>
                    <a:cubicBezTo>
                      <a:pt x="1247206" y="804364"/>
                      <a:pt x="1248441" y="806636"/>
                      <a:pt x="1258555" y="800857"/>
                    </a:cubicBezTo>
                    <a:cubicBezTo>
                      <a:pt x="1261040" y="799437"/>
                      <a:pt x="1263318" y="797682"/>
                      <a:pt x="1265699" y="796095"/>
                    </a:cubicBezTo>
                    <a:cubicBezTo>
                      <a:pt x="1266493" y="779426"/>
                      <a:pt x="1266237" y="762674"/>
                      <a:pt x="1268080" y="746088"/>
                    </a:cubicBezTo>
                    <a:cubicBezTo>
                      <a:pt x="1268189" y="745105"/>
                      <a:pt x="1273228" y="726846"/>
                      <a:pt x="1277605" y="724657"/>
                    </a:cubicBezTo>
                    <a:cubicBezTo>
                      <a:pt x="1281924" y="722498"/>
                      <a:pt x="1287081" y="722677"/>
                      <a:pt x="1291893" y="722276"/>
                    </a:cubicBezTo>
                    <a:cubicBezTo>
                      <a:pt x="1306153" y="721088"/>
                      <a:pt x="1320468" y="720689"/>
                      <a:pt x="1334755" y="719895"/>
                    </a:cubicBezTo>
                    <a:cubicBezTo>
                      <a:pt x="1337136" y="719101"/>
                      <a:pt x="1339971" y="719120"/>
                      <a:pt x="1341899" y="717513"/>
                    </a:cubicBezTo>
                    <a:cubicBezTo>
                      <a:pt x="1344948" y="714972"/>
                      <a:pt x="1346237" y="710794"/>
                      <a:pt x="1349043" y="707988"/>
                    </a:cubicBezTo>
                    <a:cubicBezTo>
                      <a:pt x="1351066" y="705965"/>
                      <a:pt x="1353805" y="704813"/>
                      <a:pt x="1356186" y="703226"/>
                    </a:cubicBezTo>
                    <a:cubicBezTo>
                      <a:pt x="1357774" y="700845"/>
                      <a:pt x="1359117" y="698281"/>
                      <a:pt x="1360949" y="696082"/>
                    </a:cubicBezTo>
                    <a:cubicBezTo>
                      <a:pt x="1363105" y="693495"/>
                      <a:pt x="1366225" y="691740"/>
                      <a:pt x="1368093" y="688938"/>
                    </a:cubicBezTo>
                    <a:cubicBezTo>
                      <a:pt x="1369485" y="686850"/>
                      <a:pt x="1369272" y="683998"/>
                      <a:pt x="1370474" y="681795"/>
                    </a:cubicBezTo>
                    <a:cubicBezTo>
                      <a:pt x="1371780" y="679401"/>
                      <a:pt x="1384620" y="658124"/>
                      <a:pt x="1389524" y="653220"/>
                    </a:cubicBezTo>
                    <a:cubicBezTo>
                      <a:pt x="1391548" y="651196"/>
                      <a:pt x="1394287" y="650045"/>
                      <a:pt x="1396668" y="648457"/>
                    </a:cubicBezTo>
                    <a:cubicBezTo>
                      <a:pt x="1399843" y="643695"/>
                      <a:pt x="1404383" y="639600"/>
                      <a:pt x="1406193" y="634170"/>
                    </a:cubicBezTo>
                    <a:cubicBezTo>
                      <a:pt x="1409479" y="624311"/>
                      <a:pt x="1407182" y="629115"/>
                      <a:pt x="1413336" y="619882"/>
                    </a:cubicBezTo>
                    <a:cubicBezTo>
                      <a:pt x="1414098" y="616835"/>
                      <a:pt x="1416393" y="606626"/>
                      <a:pt x="1418099" y="603213"/>
                    </a:cubicBezTo>
                    <a:cubicBezTo>
                      <a:pt x="1419379" y="600653"/>
                      <a:pt x="1421344" y="598497"/>
                      <a:pt x="1422861" y="596070"/>
                    </a:cubicBezTo>
                    <a:cubicBezTo>
                      <a:pt x="1425314" y="592145"/>
                      <a:pt x="1427935" y="588303"/>
                      <a:pt x="1430005" y="584163"/>
                    </a:cubicBezTo>
                    <a:cubicBezTo>
                      <a:pt x="1431127" y="581918"/>
                      <a:pt x="1431726" y="579441"/>
                      <a:pt x="1432386" y="577020"/>
                    </a:cubicBezTo>
                    <a:cubicBezTo>
                      <a:pt x="1434108" y="570705"/>
                      <a:pt x="1435079" y="564180"/>
                      <a:pt x="1437149" y="557970"/>
                    </a:cubicBezTo>
                    <a:cubicBezTo>
                      <a:pt x="1439530" y="550826"/>
                      <a:pt x="1438968" y="541863"/>
                      <a:pt x="1444293" y="536538"/>
                    </a:cubicBezTo>
                    <a:cubicBezTo>
                      <a:pt x="1448583" y="532248"/>
                      <a:pt x="1452779" y="527118"/>
                      <a:pt x="1458580" y="524632"/>
                    </a:cubicBezTo>
                    <a:cubicBezTo>
                      <a:pt x="1461588" y="523343"/>
                      <a:pt x="1464958" y="523150"/>
                      <a:pt x="1468105" y="522251"/>
                    </a:cubicBezTo>
                    <a:cubicBezTo>
                      <a:pt x="1485196" y="517368"/>
                      <a:pt x="1462940" y="522333"/>
                      <a:pt x="1487155" y="517488"/>
                    </a:cubicBezTo>
                    <a:cubicBezTo>
                      <a:pt x="1509100" y="495546"/>
                      <a:pt x="1493036" y="514707"/>
                      <a:pt x="1499061" y="448432"/>
                    </a:cubicBezTo>
                    <a:cubicBezTo>
                      <a:pt x="1499569" y="442842"/>
                      <a:pt x="1500649" y="437319"/>
                      <a:pt x="1501443" y="431763"/>
                    </a:cubicBezTo>
                    <a:cubicBezTo>
                      <a:pt x="1496388" y="411551"/>
                      <a:pt x="1504050" y="431944"/>
                      <a:pt x="1480011" y="412713"/>
                    </a:cubicBezTo>
                    <a:cubicBezTo>
                      <a:pt x="1472771" y="406921"/>
                      <a:pt x="1462046" y="397777"/>
                      <a:pt x="1453818" y="393663"/>
                    </a:cubicBezTo>
                    <a:cubicBezTo>
                      <a:pt x="1446272" y="389890"/>
                      <a:pt x="1437981" y="388799"/>
                      <a:pt x="1430005" y="386520"/>
                    </a:cubicBezTo>
                    <a:cubicBezTo>
                      <a:pt x="1427591" y="385830"/>
                      <a:pt x="1425275" y="384828"/>
                      <a:pt x="1422861" y="384138"/>
                    </a:cubicBezTo>
                    <a:cubicBezTo>
                      <a:pt x="1410579" y="380628"/>
                      <a:pt x="1413200" y="382656"/>
                      <a:pt x="1399049" y="376995"/>
                    </a:cubicBezTo>
                    <a:cubicBezTo>
                      <a:pt x="1395753" y="375677"/>
                      <a:pt x="1392699" y="373820"/>
                      <a:pt x="1389524" y="372232"/>
                    </a:cubicBezTo>
                    <a:cubicBezTo>
                      <a:pt x="1386349" y="367470"/>
                      <a:pt x="1382779" y="362948"/>
                      <a:pt x="1379999" y="357945"/>
                    </a:cubicBezTo>
                    <a:cubicBezTo>
                      <a:pt x="1378448" y="355153"/>
                      <a:pt x="1375795" y="343513"/>
                      <a:pt x="1375236" y="341276"/>
                    </a:cubicBezTo>
                    <a:cubicBezTo>
                      <a:pt x="1379254" y="321195"/>
                      <a:pt x="1378167" y="332487"/>
                      <a:pt x="1375236" y="303176"/>
                    </a:cubicBezTo>
                    <a:cubicBezTo>
                      <a:pt x="1373995" y="290767"/>
                      <a:pt x="1371974" y="269571"/>
                      <a:pt x="1368093" y="257932"/>
                    </a:cubicBezTo>
                    <a:lnTo>
                      <a:pt x="1365711" y="250788"/>
                    </a:lnTo>
                    <a:cubicBezTo>
                      <a:pt x="1366505" y="243644"/>
                      <a:pt x="1367143" y="236482"/>
                      <a:pt x="1368093" y="229357"/>
                    </a:cubicBezTo>
                    <a:cubicBezTo>
                      <a:pt x="1369312" y="220216"/>
                      <a:pt x="1371059" y="212143"/>
                      <a:pt x="1372855" y="203163"/>
                    </a:cubicBezTo>
                    <a:cubicBezTo>
                      <a:pt x="1370657" y="178987"/>
                      <a:pt x="1378111" y="178643"/>
                      <a:pt x="1360949" y="172207"/>
                    </a:cubicBezTo>
                    <a:cubicBezTo>
                      <a:pt x="1357885" y="171058"/>
                      <a:pt x="1354599" y="170620"/>
                      <a:pt x="1351424" y="169826"/>
                    </a:cubicBezTo>
                    <a:cubicBezTo>
                      <a:pt x="1348249" y="170620"/>
                      <a:pt x="1344455" y="170163"/>
                      <a:pt x="1341899" y="172207"/>
                    </a:cubicBezTo>
                    <a:cubicBezTo>
                      <a:pt x="1339939" y="173775"/>
                      <a:pt x="1340208" y="176937"/>
                      <a:pt x="1339518" y="179351"/>
                    </a:cubicBezTo>
                    <a:cubicBezTo>
                      <a:pt x="1338113" y="184269"/>
                      <a:pt x="1337490" y="192609"/>
                      <a:pt x="1332374" y="196020"/>
                    </a:cubicBezTo>
                    <a:cubicBezTo>
                      <a:pt x="1329651" y="197835"/>
                      <a:pt x="1325954" y="197366"/>
                      <a:pt x="1322849" y="198401"/>
                    </a:cubicBezTo>
                    <a:cubicBezTo>
                      <a:pt x="1318794" y="199753"/>
                      <a:pt x="1314912" y="201576"/>
                      <a:pt x="1310943" y="203163"/>
                    </a:cubicBezTo>
                    <a:cubicBezTo>
                      <a:pt x="1303799" y="202369"/>
                      <a:pt x="1294286" y="206154"/>
                      <a:pt x="1289511" y="200782"/>
                    </a:cubicBezTo>
                    <a:cubicBezTo>
                      <a:pt x="1284316" y="194937"/>
                      <a:pt x="1291891" y="179881"/>
                      <a:pt x="1296655" y="174588"/>
                    </a:cubicBezTo>
                    <a:cubicBezTo>
                      <a:pt x="1301911" y="168748"/>
                      <a:pt x="1313324" y="157920"/>
                      <a:pt x="1313324" y="157920"/>
                    </a:cubicBezTo>
                    <a:cubicBezTo>
                      <a:pt x="1314118" y="154745"/>
                      <a:pt x="1314765" y="151530"/>
                      <a:pt x="1315705" y="148395"/>
                    </a:cubicBezTo>
                    <a:cubicBezTo>
                      <a:pt x="1317148" y="143586"/>
                      <a:pt x="1319484" y="139030"/>
                      <a:pt x="1320468" y="134107"/>
                    </a:cubicBezTo>
                    <a:lnTo>
                      <a:pt x="1322849" y="122201"/>
                    </a:lnTo>
                    <a:cubicBezTo>
                      <a:pt x="1322055" y="112676"/>
                      <a:pt x="1321654" y="103110"/>
                      <a:pt x="1320468" y="93626"/>
                    </a:cubicBezTo>
                    <a:cubicBezTo>
                      <a:pt x="1320062" y="90379"/>
                      <a:pt x="1318086" y="87374"/>
                      <a:pt x="1318086" y="84101"/>
                    </a:cubicBezTo>
                    <a:cubicBezTo>
                      <a:pt x="1318086" y="70584"/>
                      <a:pt x="1319674" y="57114"/>
                      <a:pt x="1320468" y="43620"/>
                    </a:cubicBezTo>
                    <a:cubicBezTo>
                      <a:pt x="1319674" y="32507"/>
                      <a:pt x="1320788" y="21090"/>
                      <a:pt x="1318086" y="10282"/>
                    </a:cubicBezTo>
                    <a:cubicBezTo>
                      <a:pt x="1317392" y="7506"/>
                      <a:pt x="1313766" y="5990"/>
                      <a:pt x="1310943" y="5520"/>
                    </a:cubicBezTo>
                    <a:cubicBezTo>
                      <a:pt x="1299173" y="3558"/>
                      <a:pt x="1287130" y="3932"/>
                      <a:pt x="1275224" y="3138"/>
                    </a:cubicBezTo>
                    <a:cubicBezTo>
                      <a:pt x="1253360" y="15"/>
                      <a:pt x="1247377" y="-1990"/>
                      <a:pt x="1220455" y="3138"/>
                    </a:cubicBezTo>
                    <a:cubicBezTo>
                      <a:pt x="1215908" y="4004"/>
                      <a:pt x="1212595" y="8034"/>
                      <a:pt x="1208549" y="10282"/>
                    </a:cubicBezTo>
                    <a:cubicBezTo>
                      <a:pt x="1205446" y="12006"/>
                      <a:pt x="1201913" y="12982"/>
                      <a:pt x="1199024" y="15045"/>
                    </a:cubicBezTo>
                    <a:cubicBezTo>
                      <a:pt x="1189792" y="21639"/>
                      <a:pt x="1194737" y="22506"/>
                      <a:pt x="1184736" y="26951"/>
                    </a:cubicBezTo>
                    <a:cubicBezTo>
                      <a:pt x="1180149" y="28990"/>
                      <a:pt x="1170449" y="31713"/>
                      <a:pt x="1170449" y="31713"/>
                    </a:cubicBezTo>
                    <a:cubicBezTo>
                      <a:pt x="1136318" y="30919"/>
                      <a:pt x="1102196" y="29332"/>
                      <a:pt x="1068055" y="29332"/>
                    </a:cubicBezTo>
                    <a:cubicBezTo>
                      <a:pt x="1004390" y="29332"/>
                      <a:pt x="1040746" y="28602"/>
                      <a:pt x="1013286" y="34095"/>
                    </a:cubicBezTo>
                    <a:cubicBezTo>
                      <a:pt x="1008552" y="35042"/>
                      <a:pt x="1003733" y="35529"/>
                      <a:pt x="998999" y="36476"/>
                    </a:cubicBezTo>
                    <a:cubicBezTo>
                      <a:pt x="991524" y="37971"/>
                      <a:pt x="989139" y="38969"/>
                      <a:pt x="982330" y="41238"/>
                    </a:cubicBezTo>
                    <a:cubicBezTo>
                      <a:pt x="977057" y="44753"/>
                      <a:pt x="971711" y="47643"/>
                      <a:pt x="968043" y="53145"/>
                    </a:cubicBezTo>
                    <a:cubicBezTo>
                      <a:pt x="966651" y="55233"/>
                      <a:pt x="966880" y="58094"/>
                      <a:pt x="965661" y="60288"/>
                    </a:cubicBezTo>
                    <a:cubicBezTo>
                      <a:pt x="962879" y="65294"/>
                      <a:pt x="955117" y="77637"/>
                      <a:pt x="948993" y="81720"/>
                    </a:cubicBezTo>
                    <a:cubicBezTo>
                      <a:pt x="946904" y="83112"/>
                      <a:pt x="944230" y="83307"/>
                      <a:pt x="941849" y="84101"/>
                    </a:cubicBezTo>
                    <a:cubicBezTo>
                      <a:pt x="940261" y="88863"/>
                      <a:pt x="939871" y="94211"/>
                      <a:pt x="937086" y="98388"/>
                    </a:cubicBezTo>
                    <a:lnTo>
                      <a:pt x="927561" y="112676"/>
                    </a:lnTo>
                    <a:cubicBezTo>
                      <a:pt x="925974" y="117438"/>
                      <a:pt x="924016" y="122093"/>
                      <a:pt x="922799" y="126963"/>
                    </a:cubicBezTo>
                    <a:cubicBezTo>
                      <a:pt x="922005" y="130138"/>
                      <a:pt x="921707" y="133480"/>
                      <a:pt x="920418" y="136488"/>
                    </a:cubicBezTo>
                    <a:cubicBezTo>
                      <a:pt x="919291" y="139119"/>
                      <a:pt x="917075" y="141147"/>
                      <a:pt x="915655" y="143632"/>
                    </a:cubicBezTo>
                    <a:cubicBezTo>
                      <a:pt x="913894" y="146714"/>
                      <a:pt x="912480" y="149982"/>
                      <a:pt x="910893" y="153157"/>
                    </a:cubicBezTo>
                    <a:cubicBezTo>
                      <a:pt x="911770" y="159295"/>
                      <a:pt x="912331" y="170322"/>
                      <a:pt x="915655" y="176970"/>
                    </a:cubicBezTo>
                    <a:cubicBezTo>
                      <a:pt x="916935" y="179530"/>
                      <a:pt x="918830" y="181732"/>
                      <a:pt x="920418" y="184113"/>
                    </a:cubicBezTo>
                    <a:cubicBezTo>
                      <a:pt x="923261" y="195486"/>
                      <a:pt x="925336" y="198917"/>
                      <a:pt x="920418" y="212688"/>
                    </a:cubicBezTo>
                    <a:cubicBezTo>
                      <a:pt x="918493" y="218079"/>
                      <a:pt x="912704" y="221546"/>
                      <a:pt x="910893" y="226976"/>
                    </a:cubicBezTo>
                    <a:cubicBezTo>
                      <a:pt x="906707" y="239531"/>
                      <a:pt x="911277" y="229372"/>
                      <a:pt x="901368" y="241263"/>
                    </a:cubicBezTo>
                    <a:cubicBezTo>
                      <a:pt x="899536" y="243462"/>
                      <a:pt x="898840" y="246619"/>
                      <a:pt x="896605" y="248407"/>
                    </a:cubicBezTo>
                    <a:cubicBezTo>
                      <a:pt x="894645" y="249975"/>
                      <a:pt x="891842" y="249994"/>
                      <a:pt x="889461" y="250788"/>
                    </a:cubicBezTo>
                    <a:cubicBezTo>
                      <a:pt x="887080" y="252376"/>
                      <a:pt x="884106" y="253316"/>
                      <a:pt x="882318" y="255551"/>
                    </a:cubicBezTo>
                    <a:cubicBezTo>
                      <a:pt x="879842" y="258646"/>
                      <a:pt x="877592" y="276816"/>
                      <a:pt x="877555" y="276982"/>
                    </a:cubicBezTo>
                    <a:cubicBezTo>
                      <a:pt x="875821" y="284786"/>
                      <a:pt x="874652" y="285752"/>
                      <a:pt x="868030" y="291270"/>
                    </a:cubicBezTo>
                    <a:cubicBezTo>
                      <a:pt x="861705" y="296541"/>
                      <a:pt x="858766" y="296563"/>
                      <a:pt x="851361" y="300795"/>
                    </a:cubicBezTo>
                    <a:cubicBezTo>
                      <a:pt x="848876" y="302215"/>
                      <a:pt x="846833" y="304395"/>
                      <a:pt x="844218" y="305557"/>
                    </a:cubicBezTo>
                    <a:cubicBezTo>
                      <a:pt x="834029" y="310086"/>
                      <a:pt x="830104" y="309930"/>
                      <a:pt x="820405" y="312701"/>
                    </a:cubicBezTo>
                    <a:cubicBezTo>
                      <a:pt x="817991" y="313391"/>
                      <a:pt x="815711" y="314538"/>
                      <a:pt x="813261" y="315082"/>
                    </a:cubicBezTo>
                    <a:cubicBezTo>
                      <a:pt x="808548" y="316129"/>
                      <a:pt x="803708" y="316516"/>
                      <a:pt x="798974" y="317463"/>
                    </a:cubicBezTo>
                    <a:cubicBezTo>
                      <a:pt x="776710" y="321916"/>
                      <a:pt x="800456" y="317689"/>
                      <a:pt x="782305" y="322226"/>
                    </a:cubicBezTo>
                    <a:cubicBezTo>
                      <a:pt x="778379" y="323208"/>
                      <a:pt x="774325" y="323625"/>
                      <a:pt x="770399" y="324607"/>
                    </a:cubicBezTo>
                    <a:cubicBezTo>
                      <a:pt x="767964" y="325216"/>
                      <a:pt x="765716" y="326496"/>
                      <a:pt x="763255" y="326988"/>
                    </a:cubicBezTo>
                    <a:cubicBezTo>
                      <a:pt x="757751" y="328089"/>
                      <a:pt x="752133" y="328516"/>
                      <a:pt x="746586" y="329370"/>
                    </a:cubicBezTo>
                    <a:cubicBezTo>
                      <a:pt x="741814" y="330104"/>
                      <a:pt x="737033" y="330804"/>
                      <a:pt x="732299" y="331751"/>
                    </a:cubicBezTo>
                    <a:cubicBezTo>
                      <a:pt x="729090" y="332393"/>
                      <a:pt x="725983" y="333490"/>
                      <a:pt x="722774" y="334132"/>
                    </a:cubicBezTo>
                    <a:cubicBezTo>
                      <a:pt x="718039" y="335079"/>
                      <a:pt x="713249" y="335719"/>
                      <a:pt x="708486" y="336513"/>
                    </a:cubicBezTo>
                    <a:cubicBezTo>
                      <a:pt x="705311" y="338101"/>
                      <a:pt x="702224" y="339878"/>
                      <a:pt x="698961" y="341276"/>
                    </a:cubicBezTo>
                    <a:cubicBezTo>
                      <a:pt x="690114" y="345068"/>
                      <a:pt x="692753" y="341688"/>
                      <a:pt x="684674" y="348420"/>
                    </a:cubicBezTo>
                    <a:cubicBezTo>
                      <a:pt x="682087" y="350576"/>
                      <a:pt x="680673" y="354354"/>
                      <a:pt x="677530" y="355563"/>
                    </a:cubicBezTo>
                    <a:cubicBezTo>
                      <a:pt x="669975" y="358469"/>
                      <a:pt x="661731" y="359181"/>
                      <a:pt x="653718" y="360326"/>
                    </a:cubicBezTo>
                    <a:cubicBezTo>
                      <a:pt x="648162" y="361120"/>
                      <a:pt x="642636" y="362175"/>
                      <a:pt x="637049" y="362707"/>
                    </a:cubicBezTo>
                    <a:cubicBezTo>
                      <a:pt x="625958" y="363763"/>
                      <a:pt x="614810" y="364123"/>
                      <a:pt x="603711" y="365088"/>
                    </a:cubicBezTo>
                    <a:cubicBezTo>
                      <a:pt x="596550" y="365711"/>
                      <a:pt x="589424" y="366676"/>
                      <a:pt x="582280" y="367470"/>
                    </a:cubicBezTo>
                    <a:cubicBezTo>
                      <a:pt x="559261" y="366676"/>
                      <a:pt x="536025" y="368345"/>
                      <a:pt x="513224" y="365088"/>
                    </a:cubicBezTo>
                    <a:cubicBezTo>
                      <a:pt x="507558" y="364278"/>
                      <a:pt x="498936" y="355563"/>
                      <a:pt x="498936" y="355563"/>
                    </a:cubicBezTo>
                    <a:cubicBezTo>
                      <a:pt x="489997" y="342155"/>
                      <a:pt x="496888" y="349324"/>
                      <a:pt x="472743" y="341276"/>
                    </a:cubicBezTo>
                    <a:lnTo>
                      <a:pt x="458455" y="336513"/>
                    </a:lnTo>
                    <a:cubicBezTo>
                      <a:pt x="456074" y="335719"/>
                      <a:pt x="453772" y="334624"/>
                      <a:pt x="451311" y="334132"/>
                    </a:cubicBezTo>
                    <a:cubicBezTo>
                      <a:pt x="436944" y="331259"/>
                      <a:pt x="443245" y="333031"/>
                      <a:pt x="432261" y="329370"/>
                    </a:cubicBezTo>
                    <a:cubicBezTo>
                      <a:pt x="429880" y="327782"/>
                      <a:pt x="427678" y="325887"/>
                      <a:pt x="425118" y="324607"/>
                    </a:cubicBezTo>
                    <a:cubicBezTo>
                      <a:pt x="422873" y="323484"/>
                      <a:pt x="420063" y="323618"/>
                      <a:pt x="417974" y="322226"/>
                    </a:cubicBezTo>
                    <a:cubicBezTo>
                      <a:pt x="414431" y="319864"/>
                      <a:pt x="407918" y="312101"/>
                      <a:pt x="406068" y="307938"/>
                    </a:cubicBezTo>
                    <a:cubicBezTo>
                      <a:pt x="406062" y="307924"/>
                      <a:pt x="400117" y="290086"/>
                      <a:pt x="398924" y="286507"/>
                    </a:cubicBezTo>
                    <a:cubicBezTo>
                      <a:pt x="396440" y="279053"/>
                      <a:pt x="396228" y="275908"/>
                      <a:pt x="389399" y="269838"/>
                    </a:cubicBezTo>
                    <a:cubicBezTo>
                      <a:pt x="385121" y="266035"/>
                      <a:pt x="380541" y="262123"/>
                      <a:pt x="375111" y="260313"/>
                    </a:cubicBezTo>
                    <a:lnTo>
                      <a:pt x="367968" y="257932"/>
                    </a:lnTo>
                    <a:cubicBezTo>
                      <a:pt x="362412" y="258726"/>
                      <a:pt x="356675" y="258700"/>
                      <a:pt x="351299" y="260313"/>
                    </a:cubicBezTo>
                    <a:cubicBezTo>
                      <a:pt x="346563" y="261734"/>
                      <a:pt x="340048" y="269183"/>
                      <a:pt x="337011" y="272220"/>
                    </a:cubicBezTo>
                    <a:cubicBezTo>
                      <a:pt x="334805" y="278838"/>
                      <a:pt x="334791" y="280969"/>
                      <a:pt x="329868" y="286507"/>
                    </a:cubicBezTo>
                    <a:cubicBezTo>
                      <a:pt x="325393" y="291541"/>
                      <a:pt x="320343" y="296032"/>
                      <a:pt x="315580" y="300795"/>
                    </a:cubicBezTo>
                    <a:cubicBezTo>
                      <a:pt x="313199" y="303176"/>
                      <a:pt x="311631" y="306873"/>
                      <a:pt x="308436" y="307938"/>
                    </a:cubicBezTo>
                    <a:cubicBezTo>
                      <a:pt x="306055" y="308732"/>
                      <a:pt x="303538" y="309197"/>
                      <a:pt x="301293" y="310320"/>
                    </a:cubicBezTo>
                    <a:cubicBezTo>
                      <a:pt x="298733" y="311600"/>
                      <a:pt x="296780" y="313955"/>
                      <a:pt x="294149" y="315082"/>
                    </a:cubicBezTo>
                    <a:cubicBezTo>
                      <a:pt x="291141" y="316371"/>
                      <a:pt x="287771" y="316564"/>
                      <a:pt x="284624" y="317463"/>
                    </a:cubicBezTo>
                    <a:cubicBezTo>
                      <a:pt x="282210" y="318153"/>
                      <a:pt x="279894" y="319155"/>
                      <a:pt x="277480" y="319845"/>
                    </a:cubicBezTo>
                    <a:cubicBezTo>
                      <a:pt x="274333" y="320744"/>
                      <a:pt x="271102" y="321327"/>
                      <a:pt x="267955" y="322226"/>
                    </a:cubicBezTo>
                    <a:cubicBezTo>
                      <a:pt x="265541" y="322916"/>
                      <a:pt x="263225" y="323917"/>
                      <a:pt x="260811" y="324607"/>
                    </a:cubicBezTo>
                    <a:cubicBezTo>
                      <a:pt x="239916" y="330576"/>
                      <a:pt x="261243" y="323668"/>
                      <a:pt x="244143" y="329370"/>
                    </a:cubicBezTo>
                    <a:cubicBezTo>
                      <a:pt x="236205" y="328576"/>
                      <a:pt x="227827" y="329714"/>
                      <a:pt x="220330" y="326988"/>
                    </a:cubicBezTo>
                    <a:cubicBezTo>
                      <a:pt x="217971" y="326130"/>
                      <a:pt x="219071" y="322090"/>
                      <a:pt x="217949" y="319845"/>
                    </a:cubicBezTo>
                    <a:cubicBezTo>
                      <a:pt x="216669" y="317285"/>
                      <a:pt x="215385" y="314533"/>
                      <a:pt x="213186" y="312701"/>
                    </a:cubicBezTo>
                    <a:cubicBezTo>
                      <a:pt x="206719" y="307312"/>
                      <a:pt x="199528" y="307284"/>
                      <a:pt x="191755" y="305557"/>
                    </a:cubicBezTo>
                    <a:cubicBezTo>
                      <a:pt x="161490" y="298832"/>
                      <a:pt x="206232" y="307976"/>
                      <a:pt x="170324" y="300795"/>
                    </a:cubicBezTo>
                    <a:cubicBezTo>
                      <a:pt x="160005" y="301589"/>
                      <a:pt x="149591" y="301562"/>
                      <a:pt x="139368" y="303176"/>
                    </a:cubicBezTo>
                    <a:cubicBezTo>
                      <a:pt x="128674" y="304864"/>
                      <a:pt x="124648" y="308660"/>
                      <a:pt x="115555" y="312701"/>
                    </a:cubicBezTo>
                    <a:cubicBezTo>
                      <a:pt x="111649" y="314437"/>
                      <a:pt x="107743" y="316235"/>
                      <a:pt x="103649" y="317463"/>
                    </a:cubicBezTo>
                    <a:cubicBezTo>
                      <a:pt x="99772" y="318626"/>
                      <a:pt x="95648" y="318780"/>
                      <a:pt x="91743" y="319845"/>
                    </a:cubicBezTo>
                    <a:cubicBezTo>
                      <a:pt x="86900" y="321166"/>
                      <a:pt x="77455" y="324607"/>
                      <a:pt x="77455" y="324607"/>
                    </a:cubicBezTo>
                    <a:cubicBezTo>
                      <a:pt x="76661" y="326988"/>
                      <a:pt x="76197" y="329506"/>
                      <a:pt x="75074" y="331751"/>
                    </a:cubicBezTo>
                    <a:cubicBezTo>
                      <a:pt x="73794" y="334311"/>
                      <a:pt x="71473" y="336280"/>
                      <a:pt x="70311" y="338895"/>
                    </a:cubicBezTo>
                    <a:cubicBezTo>
                      <a:pt x="68272" y="343482"/>
                      <a:pt x="67136" y="348420"/>
                      <a:pt x="65549" y="353182"/>
                    </a:cubicBezTo>
                    <a:lnTo>
                      <a:pt x="63168" y="360326"/>
                    </a:lnTo>
                    <a:lnTo>
                      <a:pt x="60786" y="367470"/>
                    </a:lnTo>
                    <a:cubicBezTo>
                      <a:pt x="63167" y="368264"/>
                      <a:pt x="66471" y="367809"/>
                      <a:pt x="67930" y="369851"/>
                    </a:cubicBezTo>
                    <a:cubicBezTo>
                      <a:pt x="70848" y="373936"/>
                      <a:pt x="72693" y="384138"/>
                      <a:pt x="72693" y="384138"/>
                    </a:cubicBezTo>
                    <a:cubicBezTo>
                      <a:pt x="71611" y="390627"/>
                      <a:pt x="71085" y="402415"/>
                      <a:pt x="65549" y="407951"/>
                    </a:cubicBezTo>
                    <a:cubicBezTo>
                      <a:pt x="63774" y="409726"/>
                      <a:pt x="60866" y="409840"/>
                      <a:pt x="58405" y="410332"/>
                    </a:cubicBezTo>
                    <a:cubicBezTo>
                      <a:pt x="52901" y="411433"/>
                      <a:pt x="47299" y="411971"/>
                      <a:pt x="41736" y="412713"/>
                    </a:cubicBezTo>
                    <a:cubicBezTo>
                      <a:pt x="22396" y="415292"/>
                      <a:pt x="6414" y="426604"/>
                      <a:pt x="1255" y="43176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2" name="Freeform 251"/>
              <p:cNvSpPr/>
              <p:nvPr/>
            </p:nvSpPr>
            <p:spPr>
              <a:xfrm>
                <a:off x="5114194" y="3427298"/>
                <a:ext cx="570529" cy="742950"/>
              </a:xfrm>
              <a:custGeom>
                <a:avLst/>
                <a:gdLst>
                  <a:gd name="connsiteX0" fmla="*/ 1411 w 570529"/>
                  <a:gd name="connsiteY0" fmla="*/ 554832 h 742950"/>
                  <a:gd name="connsiteX1" fmla="*/ 10936 w 570529"/>
                  <a:gd name="connsiteY1" fmla="*/ 566738 h 742950"/>
                  <a:gd name="connsiteX2" fmla="*/ 15698 w 570529"/>
                  <a:gd name="connsiteY2" fmla="*/ 581025 h 742950"/>
                  <a:gd name="connsiteX3" fmla="*/ 18079 w 570529"/>
                  <a:gd name="connsiteY3" fmla="*/ 588169 h 742950"/>
                  <a:gd name="connsiteX4" fmla="*/ 22842 w 570529"/>
                  <a:gd name="connsiteY4" fmla="*/ 595313 h 742950"/>
                  <a:gd name="connsiteX5" fmla="*/ 29986 w 570529"/>
                  <a:gd name="connsiteY5" fmla="*/ 609600 h 742950"/>
                  <a:gd name="connsiteX6" fmla="*/ 37129 w 570529"/>
                  <a:gd name="connsiteY6" fmla="*/ 638175 h 742950"/>
                  <a:gd name="connsiteX7" fmla="*/ 39511 w 570529"/>
                  <a:gd name="connsiteY7" fmla="*/ 645319 h 742950"/>
                  <a:gd name="connsiteX8" fmla="*/ 44273 w 570529"/>
                  <a:gd name="connsiteY8" fmla="*/ 671513 h 742950"/>
                  <a:gd name="connsiteX9" fmla="*/ 49036 w 570529"/>
                  <a:gd name="connsiteY9" fmla="*/ 685800 h 742950"/>
                  <a:gd name="connsiteX10" fmla="*/ 51417 w 570529"/>
                  <a:gd name="connsiteY10" fmla="*/ 692944 h 742950"/>
                  <a:gd name="connsiteX11" fmla="*/ 53798 w 570529"/>
                  <a:gd name="connsiteY11" fmla="*/ 704850 h 742950"/>
                  <a:gd name="connsiteX12" fmla="*/ 58561 w 570529"/>
                  <a:gd name="connsiteY12" fmla="*/ 733425 h 742950"/>
                  <a:gd name="connsiteX13" fmla="*/ 60942 w 570529"/>
                  <a:gd name="connsiteY13" fmla="*/ 740569 h 742950"/>
                  <a:gd name="connsiteX14" fmla="*/ 68086 w 570529"/>
                  <a:gd name="connsiteY14" fmla="*/ 742950 h 742950"/>
                  <a:gd name="connsiteX15" fmla="*/ 103804 w 570529"/>
                  <a:gd name="connsiteY15" fmla="*/ 740569 h 742950"/>
                  <a:gd name="connsiteX16" fmla="*/ 110948 w 570529"/>
                  <a:gd name="connsiteY16" fmla="*/ 735807 h 742950"/>
                  <a:gd name="connsiteX17" fmla="*/ 127617 w 570529"/>
                  <a:gd name="connsiteY17" fmla="*/ 721519 h 742950"/>
                  <a:gd name="connsiteX18" fmla="*/ 132379 w 570529"/>
                  <a:gd name="connsiteY18" fmla="*/ 714375 h 742950"/>
                  <a:gd name="connsiteX19" fmla="*/ 153811 w 570529"/>
                  <a:gd name="connsiteY19" fmla="*/ 702469 h 742950"/>
                  <a:gd name="connsiteX20" fmla="*/ 160954 w 570529"/>
                  <a:gd name="connsiteY20" fmla="*/ 697707 h 742950"/>
                  <a:gd name="connsiteX21" fmla="*/ 234773 w 570529"/>
                  <a:gd name="connsiteY21" fmla="*/ 690563 h 742950"/>
                  <a:gd name="connsiteX22" fmla="*/ 251442 w 570529"/>
                  <a:gd name="connsiteY22" fmla="*/ 685800 h 742950"/>
                  <a:gd name="connsiteX23" fmla="*/ 260967 w 570529"/>
                  <a:gd name="connsiteY23" fmla="*/ 683419 h 742950"/>
                  <a:gd name="connsiteX24" fmla="*/ 275254 w 570529"/>
                  <a:gd name="connsiteY24" fmla="*/ 678657 h 742950"/>
                  <a:gd name="connsiteX25" fmla="*/ 282398 w 570529"/>
                  <a:gd name="connsiteY25" fmla="*/ 673894 h 742950"/>
                  <a:gd name="connsiteX26" fmla="*/ 289542 w 570529"/>
                  <a:gd name="connsiteY26" fmla="*/ 666750 h 742950"/>
                  <a:gd name="connsiteX27" fmla="*/ 303829 w 570529"/>
                  <a:gd name="connsiteY27" fmla="*/ 661988 h 742950"/>
                  <a:gd name="connsiteX28" fmla="*/ 318117 w 570529"/>
                  <a:gd name="connsiteY28" fmla="*/ 654844 h 742950"/>
                  <a:gd name="connsiteX29" fmla="*/ 325261 w 570529"/>
                  <a:gd name="connsiteY29" fmla="*/ 650082 h 742950"/>
                  <a:gd name="connsiteX30" fmla="*/ 334786 w 570529"/>
                  <a:gd name="connsiteY30" fmla="*/ 647700 h 742950"/>
                  <a:gd name="connsiteX31" fmla="*/ 356217 w 570529"/>
                  <a:gd name="connsiteY31" fmla="*/ 640557 h 742950"/>
                  <a:gd name="connsiteX32" fmla="*/ 363361 w 570529"/>
                  <a:gd name="connsiteY32" fmla="*/ 635794 h 742950"/>
                  <a:gd name="connsiteX33" fmla="*/ 380029 w 570529"/>
                  <a:gd name="connsiteY33" fmla="*/ 626269 h 742950"/>
                  <a:gd name="connsiteX34" fmla="*/ 384792 w 570529"/>
                  <a:gd name="connsiteY34" fmla="*/ 619125 h 742950"/>
                  <a:gd name="connsiteX35" fmla="*/ 387173 w 570529"/>
                  <a:gd name="connsiteY35" fmla="*/ 611982 h 742950"/>
                  <a:gd name="connsiteX36" fmla="*/ 391936 w 570529"/>
                  <a:gd name="connsiteY36" fmla="*/ 604838 h 742950"/>
                  <a:gd name="connsiteX37" fmla="*/ 394317 w 570529"/>
                  <a:gd name="connsiteY37" fmla="*/ 595313 h 742950"/>
                  <a:gd name="connsiteX38" fmla="*/ 396698 w 570529"/>
                  <a:gd name="connsiteY38" fmla="*/ 588169 h 742950"/>
                  <a:gd name="connsiteX39" fmla="*/ 403842 w 570529"/>
                  <a:gd name="connsiteY39" fmla="*/ 559594 h 742950"/>
                  <a:gd name="connsiteX40" fmla="*/ 432417 w 570529"/>
                  <a:gd name="connsiteY40" fmla="*/ 535782 h 742950"/>
                  <a:gd name="connsiteX41" fmla="*/ 439561 w 570529"/>
                  <a:gd name="connsiteY41" fmla="*/ 531019 h 742950"/>
                  <a:gd name="connsiteX42" fmla="*/ 449086 w 570529"/>
                  <a:gd name="connsiteY42" fmla="*/ 504825 h 742950"/>
                  <a:gd name="connsiteX43" fmla="*/ 458611 w 570529"/>
                  <a:gd name="connsiteY43" fmla="*/ 490538 h 742950"/>
                  <a:gd name="connsiteX44" fmla="*/ 465754 w 570529"/>
                  <a:gd name="connsiteY44" fmla="*/ 478632 h 742950"/>
                  <a:gd name="connsiteX45" fmla="*/ 472898 w 570529"/>
                  <a:gd name="connsiteY45" fmla="*/ 473869 h 742950"/>
                  <a:gd name="connsiteX46" fmla="*/ 487186 w 570529"/>
                  <a:gd name="connsiteY46" fmla="*/ 461963 h 742950"/>
                  <a:gd name="connsiteX47" fmla="*/ 496711 w 570529"/>
                  <a:gd name="connsiteY47" fmla="*/ 450057 h 742950"/>
                  <a:gd name="connsiteX48" fmla="*/ 499092 w 570529"/>
                  <a:gd name="connsiteY48" fmla="*/ 442913 h 742950"/>
                  <a:gd name="connsiteX49" fmla="*/ 506236 w 570529"/>
                  <a:gd name="connsiteY49" fmla="*/ 435769 h 742950"/>
                  <a:gd name="connsiteX50" fmla="*/ 510998 w 570529"/>
                  <a:gd name="connsiteY50" fmla="*/ 426244 h 742950"/>
                  <a:gd name="connsiteX51" fmla="*/ 515761 w 570529"/>
                  <a:gd name="connsiteY51" fmla="*/ 419100 h 742950"/>
                  <a:gd name="connsiteX52" fmla="*/ 522904 w 570529"/>
                  <a:gd name="connsiteY52" fmla="*/ 397669 h 742950"/>
                  <a:gd name="connsiteX53" fmla="*/ 525286 w 570529"/>
                  <a:gd name="connsiteY53" fmla="*/ 390525 h 742950"/>
                  <a:gd name="connsiteX54" fmla="*/ 527667 w 570529"/>
                  <a:gd name="connsiteY54" fmla="*/ 371475 h 742950"/>
                  <a:gd name="connsiteX55" fmla="*/ 530048 w 570529"/>
                  <a:gd name="connsiteY55" fmla="*/ 357188 h 742950"/>
                  <a:gd name="connsiteX56" fmla="*/ 537192 w 570529"/>
                  <a:gd name="connsiteY56" fmla="*/ 352425 h 742950"/>
                  <a:gd name="connsiteX57" fmla="*/ 541954 w 570529"/>
                  <a:gd name="connsiteY57" fmla="*/ 345282 h 742950"/>
                  <a:gd name="connsiteX58" fmla="*/ 551479 w 570529"/>
                  <a:gd name="connsiteY58" fmla="*/ 342900 h 742950"/>
                  <a:gd name="connsiteX59" fmla="*/ 558623 w 570529"/>
                  <a:gd name="connsiteY59" fmla="*/ 340519 h 742950"/>
                  <a:gd name="connsiteX60" fmla="*/ 570529 w 570529"/>
                  <a:gd name="connsiteY60" fmla="*/ 304800 h 742950"/>
                  <a:gd name="connsiteX61" fmla="*/ 568148 w 570529"/>
                  <a:gd name="connsiteY61" fmla="*/ 273844 h 742950"/>
                  <a:gd name="connsiteX62" fmla="*/ 561004 w 570529"/>
                  <a:gd name="connsiteY62" fmla="*/ 271463 h 742950"/>
                  <a:gd name="connsiteX63" fmla="*/ 537192 w 570529"/>
                  <a:gd name="connsiteY63" fmla="*/ 269082 h 742950"/>
                  <a:gd name="connsiteX64" fmla="*/ 494329 w 570529"/>
                  <a:gd name="connsiteY64" fmla="*/ 266700 h 742950"/>
                  <a:gd name="connsiteX65" fmla="*/ 472898 w 570529"/>
                  <a:gd name="connsiteY65" fmla="*/ 261938 h 742950"/>
                  <a:gd name="connsiteX66" fmla="*/ 465754 w 570529"/>
                  <a:gd name="connsiteY66" fmla="*/ 259557 h 742950"/>
                  <a:gd name="connsiteX67" fmla="*/ 458611 w 570529"/>
                  <a:gd name="connsiteY67" fmla="*/ 254794 h 742950"/>
                  <a:gd name="connsiteX68" fmla="*/ 451467 w 570529"/>
                  <a:gd name="connsiteY68" fmla="*/ 247650 h 742950"/>
                  <a:gd name="connsiteX69" fmla="*/ 437179 w 570529"/>
                  <a:gd name="connsiteY69" fmla="*/ 238125 h 742950"/>
                  <a:gd name="connsiteX70" fmla="*/ 437179 w 570529"/>
                  <a:gd name="connsiteY70" fmla="*/ 130969 h 742950"/>
                  <a:gd name="connsiteX71" fmla="*/ 444323 w 570529"/>
                  <a:gd name="connsiteY71" fmla="*/ 114300 h 742950"/>
                  <a:gd name="connsiteX72" fmla="*/ 439561 w 570529"/>
                  <a:gd name="connsiteY72" fmla="*/ 45244 h 742950"/>
                  <a:gd name="connsiteX73" fmla="*/ 425273 w 570529"/>
                  <a:gd name="connsiteY73" fmla="*/ 16669 h 742950"/>
                  <a:gd name="connsiteX74" fmla="*/ 410986 w 570529"/>
                  <a:gd name="connsiteY74" fmla="*/ 11907 h 742950"/>
                  <a:gd name="connsiteX75" fmla="*/ 403842 w 570529"/>
                  <a:gd name="connsiteY75" fmla="*/ 9525 h 742950"/>
                  <a:gd name="connsiteX76" fmla="*/ 396698 w 570529"/>
                  <a:gd name="connsiteY76" fmla="*/ 4763 h 742950"/>
                  <a:gd name="connsiteX77" fmla="*/ 382411 w 570529"/>
                  <a:gd name="connsiteY77" fmla="*/ 0 h 742950"/>
                  <a:gd name="connsiteX78" fmla="*/ 375267 w 570529"/>
                  <a:gd name="connsiteY78" fmla="*/ 4763 h 742950"/>
                  <a:gd name="connsiteX79" fmla="*/ 370504 w 570529"/>
                  <a:gd name="connsiteY79" fmla="*/ 19050 h 742950"/>
                  <a:gd name="connsiteX80" fmla="*/ 372886 w 570529"/>
                  <a:gd name="connsiteY80" fmla="*/ 28575 h 742950"/>
                  <a:gd name="connsiteX81" fmla="*/ 372886 w 570529"/>
                  <a:gd name="connsiteY81" fmla="*/ 42863 h 742950"/>
                  <a:gd name="connsiteX82" fmla="*/ 358598 w 570529"/>
                  <a:gd name="connsiteY82" fmla="*/ 52388 h 742950"/>
                  <a:gd name="connsiteX83" fmla="*/ 339548 w 570529"/>
                  <a:gd name="connsiteY83" fmla="*/ 61913 h 742950"/>
                  <a:gd name="connsiteX84" fmla="*/ 325261 w 570529"/>
                  <a:gd name="connsiteY84" fmla="*/ 66675 h 742950"/>
                  <a:gd name="connsiteX85" fmla="*/ 320498 w 570529"/>
                  <a:gd name="connsiteY85" fmla="*/ 73819 h 742950"/>
                  <a:gd name="connsiteX86" fmla="*/ 315736 w 570529"/>
                  <a:gd name="connsiteY86" fmla="*/ 88107 h 742950"/>
                  <a:gd name="connsiteX87" fmla="*/ 313354 w 570529"/>
                  <a:gd name="connsiteY87" fmla="*/ 95250 h 742950"/>
                  <a:gd name="connsiteX88" fmla="*/ 310973 w 570529"/>
                  <a:gd name="connsiteY88" fmla="*/ 102394 h 742950"/>
                  <a:gd name="connsiteX89" fmla="*/ 308592 w 570529"/>
                  <a:gd name="connsiteY89" fmla="*/ 109538 h 742950"/>
                  <a:gd name="connsiteX90" fmla="*/ 303829 w 570529"/>
                  <a:gd name="connsiteY90" fmla="*/ 128588 h 742950"/>
                  <a:gd name="connsiteX91" fmla="*/ 301448 w 570529"/>
                  <a:gd name="connsiteY91" fmla="*/ 135732 h 742950"/>
                  <a:gd name="connsiteX92" fmla="*/ 294304 w 570529"/>
                  <a:gd name="connsiteY92" fmla="*/ 140494 h 742950"/>
                  <a:gd name="connsiteX93" fmla="*/ 284779 w 570529"/>
                  <a:gd name="connsiteY93" fmla="*/ 169069 h 742950"/>
                  <a:gd name="connsiteX94" fmla="*/ 277636 w 570529"/>
                  <a:gd name="connsiteY94" fmla="*/ 183357 h 742950"/>
                  <a:gd name="connsiteX95" fmla="*/ 270492 w 570529"/>
                  <a:gd name="connsiteY95" fmla="*/ 188119 h 742950"/>
                  <a:gd name="connsiteX96" fmla="*/ 258586 w 570529"/>
                  <a:gd name="connsiteY96" fmla="*/ 200025 h 742950"/>
                  <a:gd name="connsiteX97" fmla="*/ 253823 w 570529"/>
                  <a:gd name="connsiteY97" fmla="*/ 207169 h 742950"/>
                  <a:gd name="connsiteX98" fmla="*/ 246679 w 570529"/>
                  <a:gd name="connsiteY98" fmla="*/ 221457 h 742950"/>
                  <a:gd name="connsiteX99" fmla="*/ 239536 w 570529"/>
                  <a:gd name="connsiteY99" fmla="*/ 235744 h 742950"/>
                  <a:gd name="connsiteX100" fmla="*/ 225248 w 570529"/>
                  <a:gd name="connsiteY100" fmla="*/ 245269 h 742950"/>
                  <a:gd name="connsiteX101" fmla="*/ 218104 w 570529"/>
                  <a:gd name="connsiteY101" fmla="*/ 250032 h 742950"/>
                  <a:gd name="connsiteX102" fmla="*/ 203817 w 570529"/>
                  <a:gd name="connsiteY102" fmla="*/ 254794 h 742950"/>
                  <a:gd name="connsiteX103" fmla="*/ 196673 w 570529"/>
                  <a:gd name="connsiteY103" fmla="*/ 257175 h 742950"/>
                  <a:gd name="connsiteX104" fmla="*/ 175242 w 570529"/>
                  <a:gd name="connsiteY104" fmla="*/ 259557 h 742950"/>
                  <a:gd name="connsiteX105" fmla="*/ 160954 w 570529"/>
                  <a:gd name="connsiteY105" fmla="*/ 264319 h 742950"/>
                  <a:gd name="connsiteX106" fmla="*/ 153811 w 570529"/>
                  <a:gd name="connsiteY106" fmla="*/ 266700 h 742950"/>
                  <a:gd name="connsiteX107" fmla="*/ 144286 w 570529"/>
                  <a:gd name="connsiteY107" fmla="*/ 297657 h 742950"/>
                  <a:gd name="connsiteX108" fmla="*/ 139523 w 570529"/>
                  <a:gd name="connsiteY108" fmla="*/ 311944 h 742950"/>
                  <a:gd name="connsiteX109" fmla="*/ 137142 w 570529"/>
                  <a:gd name="connsiteY109" fmla="*/ 338138 h 742950"/>
                  <a:gd name="connsiteX110" fmla="*/ 129998 w 570529"/>
                  <a:gd name="connsiteY110" fmla="*/ 342900 h 742950"/>
                  <a:gd name="connsiteX111" fmla="*/ 115711 w 570529"/>
                  <a:gd name="connsiteY111" fmla="*/ 350044 h 742950"/>
                  <a:gd name="connsiteX112" fmla="*/ 113329 w 570529"/>
                  <a:gd name="connsiteY112" fmla="*/ 357188 h 742950"/>
                  <a:gd name="connsiteX113" fmla="*/ 113329 w 570529"/>
                  <a:gd name="connsiteY113" fmla="*/ 381000 h 742950"/>
                  <a:gd name="connsiteX114" fmla="*/ 99042 w 570529"/>
                  <a:gd name="connsiteY114" fmla="*/ 390525 h 742950"/>
                  <a:gd name="connsiteX115" fmla="*/ 82373 w 570529"/>
                  <a:gd name="connsiteY115" fmla="*/ 397669 h 742950"/>
                  <a:gd name="connsiteX116" fmla="*/ 68086 w 570529"/>
                  <a:gd name="connsiteY116" fmla="*/ 407194 h 742950"/>
                  <a:gd name="connsiteX117" fmla="*/ 56179 w 570529"/>
                  <a:gd name="connsiteY117" fmla="*/ 428625 h 742950"/>
                  <a:gd name="connsiteX118" fmla="*/ 41892 w 570529"/>
                  <a:gd name="connsiteY118" fmla="*/ 442913 h 742950"/>
                  <a:gd name="connsiteX119" fmla="*/ 27604 w 570529"/>
                  <a:gd name="connsiteY119" fmla="*/ 452438 h 742950"/>
                  <a:gd name="connsiteX120" fmla="*/ 22842 w 570529"/>
                  <a:gd name="connsiteY120" fmla="*/ 485775 h 742950"/>
                  <a:gd name="connsiteX121" fmla="*/ 15698 w 570529"/>
                  <a:gd name="connsiteY121" fmla="*/ 526257 h 742950"/>
                  <a:gd name="connsiteX122" fmla="*/ 10936 w 570529"/>
                  <a:gd name="connsiteY122" fmla="*/ 533400 h 742950"/>
                  <a:gd name="connsiteX123" fmla="*/ 3792 w 570529"/>
                  <a:gd name="connsiteY123" fmla="*/ 538163 h 742950"/>
                  <a:gd name="connsiteX124" fmla="*/ 1411 w 570529"/>
                  <a:gd name="connsiteY124" fmla="*/ 554832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570529" h="742950">
                    <a:moveTo>
                      <a:pt x="1411" y="554832"/>
                    </a:moveTo>
                    <a:cubicBezTo>
                      <a:pt x="2602" y="559594"/>
                      <a:pt x="8502" y="562276"/>
                      <a:pt x="10936" y="566738"/>
                    </a:cubicBezTo>
                    <a:cubicBezTo>
                      <a:pt x="13340" y="571145"/>
                      <a:pt x="14111" y="576263"/>
                      <a:pt x="15698" y="581025"/>
                    </a:cubicBezTo>
                    <a:cubicBezTo>
                      <a:pt x="16492" y="583406"/>
                      <a:pt x="16687" y="586081"/>
                      <a:pt x="18079" y="588169"/>
                    </a:cubicBezTo>
                    <a:lnTo>
                      <a:pt x="22842" y="595313"/>
                    </a:lnTo>
                    <a:cubicBezTo>
                      <a:pt x="31526" y="621368"/>
                      <a:pt x="17676" y="581903"/>
                      <a:pt x="29986" y="609600"/>
                    </a:cubicBezTo>
                    <a:cubicBezTo>
                      <a:pt x="36401" y="624034"/>
                      <a:pt x="33801" y="623201"/>
                      <a:pt x="37129" y="638175"/>
                    </a:cubicBezTo>
                    <a:cubicBezTo>
                      <a:pt x="37674" y="640625"/>
                      <a:pt x="38717" y="642938"/>
                      <a:pt x="39511" y="645319"/>
                    </a:cubicBezTo>
                    <a:cubicBezTo>
                      <a:pt x="41187" y="657054"/>
                      <a:pt x="41212" y="661309"/>
                      <a:pt x="44273" y="671513"/>
                    </a:cubicBezTo>
                    <a:cubicBezTo>
                      <a:pt x="45716" y="676321"/>
                      <a:pt x="47448" y="681038"/>
                      <a:pt x="49036" y="685800"/>
                    </a:cubicBezTo>
                    <a:cubicBezTo>
                      <a:pt x="49830" y="688181"/>
                      <a:pt x="50925" y="690483"/>
                      <a:pt x="51417" y="692944"/>
                    </a:cubicBezTo>
                    <a:cubicBezTo>
                      <a:pt x="52211" y="696913"/>
                      <a:pt x="53095" y="700864"/>
                      <a:pt x="53798" y="704850"/>
                    </a:cubicBezTo>
                    <a:cubicBezTo>
                      <a:pt x="55476" y="714359"/>
                      <a:pt x="55508" y="724264"/>
                      <a:pt x="58561" y="733425"/>
                    </a:cubicBezTo>
                    <a:cubicBezTo>
                      <a:pt x="59355" y="735806"/>
                      <a:pt x="59167" y="738794"/>
                      <a:pt x="60942" y="740569"/>
                    </a:cubicBezTo>
                    <a:cubicBezTo>
                      <a:pt x="62717" y="742344"/>
                      <a:pt x="65705" y="742156"/>
                      <a:pt x="68086" y="742950"/>
                    </a:cubicBezTo>
                    <a:cubicBezTo>
                      <a:pt x="79992" y="742156"/>
                      <a:pt x="92034" y="742531"/>
                      <a:pt x="103804" y="740569"/>
                    </a:cubicBezTo>
                    <a:cubicBezTo>
                      <a:pt x="106627" y="740099"/>
                      <a:pt x="108749" y="737639"/>
                      <a:pt x="110948" y="735807"/>
                    </a:cubicBezTo>
                    <a:cubicBezTo>
                      <a:pt x="140822" y="710913"/>
                      <a:pt x="91918" y="748294"/>
                      <a:pt x="127617" y="721519"/>
                    </a:cubicBezTo>
                    <a:cubicBezTo>
                      <a:pt x="129204" y="719138"/>
                      <a:pt x="130225" y="716260"/>
                      <a:pt x="132379" y="714375"/>
                    </a:cubicBezTo>
                    <a:cubicBezTo>
                      <a:pt x="142456" y="705557"/>
                      <a:pt x="143999" y="705739"/>
                      <a:pt x="153811" y="702469"/>
                    </a:cubicBezTo>
                    <a:cubicBezTo>
                      <a:pt x="156192" y="700882"/>
                      <a:pt x="158265" y="698685"/>
                      <a:pt x="160954" y="697707"/>
                    </a:cubicBezTo>
                    <a:cubicBezTo>
                      <a:pt x="184680" y="689079"/>
                      <a:pt x="209902" y="691644"/>
                      <a:pt x="234773" y="690563"/>
                    </a:cubicBezTo>
                    <a:cubicBezTo>
                      <a:pt x="264548" y="683120"/>
                      <a:pt x="227529" y="692633"/>
                      <a:pt x="251442" y="685800"/>
                    </a:cubicBezTo>
                    <a:cubicBezTo>
                      <a:pt x="254589" y="684901"/>
                      <a:pt x="257832" y="684359"/>
                      <a:pt x="260967" y="683419"/>
                    </a:cubicBezTo>
                    <a:cubicBezTo>
                      <a:pt x="265775" y="681977"/>
                      <a:pt x="275254" y="678657"/>
                      <a:pt x="275254" y="678657"/>
                    </a:cubicBezTo>
                    <a:cubicBezTo>
                      <a:pt x="277635" y="677069"/>
                      <a:pt x="280199" y="675726"/>
                      <a:pt x="282398" y="673894"/>
                    </a:cubicBezTo>
                    <a:cubicBezTo>
                      <a:pt x="284985" y="671738"/>
                      <a:pt x="286598" y="668385"/>
                      <a:pt x="289542" y="666750"/>
                    </a:cubicBezTo>
                    <a:cubicBezTo>
                      <a:pt x="293930" y="664312"/>
                      <a:pt x="303829" y="661988"/>
                      <a:pt x="303829" y="661988"/>
                    </a:cubicBezTo>
                    <a:cubicBezTo>
                      <a:pt x="324294" y="648344"/>
                      <a:pt x="298407" y="664698"/>
                      <a:pt x="318117" y="654844"/>
                    </a:cubicBezTo>
                    <a:cubicBezTo>
                      <a:pt x="320677" y="653564"/>
                      <a:pt x="322631" y="651209"/>
                      <a:pt x="325261" y="650082"/>
                    </a:cubicBezTo>
                    <a:cubicBezTo>
                      <a:pt x="328269" y="648793"/>
                      <a:pt x="331722" y="648849"/>
                      <a:pt x="334786" y="647700"/>
                    </a:cubicBezTo>
                    <a:cubicBezTo>
                      <a:pt x="357314" y="639252"/>
                      <a:pt x="330132" y="645774"/>
                      <a:pt x="356217" y="640557"/>
                    </a:cubicBezTo>
                    <a:cubicBezTo>
                      <a:pt x="358598" y="638969"/>
                      <a:pt x="360801" y="637074"/>
                      <a:pt x="363361" y="635794"/>
                    </a:cubicBezTo>
                    <a:cubicBezTo>
                      <a:pt x="374260" y="630344"/>
                      <a:pt x="368511" y="637787"/>
                      <a:pt x="380029" y="626269"/>
                    </a:cubicBezTo>
                    <a:cubicBezTo>
                      <a:pt x="382053" y="624245"/>
                      <a:pt x="383204" y="621506"/>
                      <a:pt x="384792" y="619125"/>
                    </a:cubicBezTo>
                    <a:cubicBezTo>
                      <a:pt x="385586" y="616744"/>
                      <a:pt x="386051" y="614227"/>
                      <a:pt x="387173" y="611982"/>
                    </a:cubicBezTo>
                    <a:cubicBezTo>
                      <a:pt x="388453" y="609422"/>
                      <a:pt x="390809" y="607469"/>
                      <a:pt x="391936" y="604838"/>
                    </a:cubicBezTo>
                    <a:cubicBezTo>
                      <a:pt x="393225" y="601830"/>
                      <a:pt x="393418" y="598460"/>
                      <a:pt x="394317" y="595313"/>
                    </a:cubicBezTo>
                    <a:cubicBezTo>
                      <a:pt x="395007" y="592899"/>
                      <a:pt x="396154" y="590619"/>
                      <a:pt x="396698" y="588169"/>
                    </a:cubicBezTo>
                    <a:cubicBezTo>
                      <a:pt x="397822" y="583108"/>
                      <a:pt x="399717" y="563719"/>
                      <a:pt x="403842" y="559594"/>
                    </a:cubicBezTo>
                    <a:cubicBezTo>
                      <a:pt x="422178" y="541258"/>
                      <a:pt x="412524" y="549044"/>
                      <a:pt x="432417" y="535782"/>
                    </a:cubicBezTo>
                    <a:lnTo>
                      <a:pt x="439561" y="531019"/>
                    </a:lnTo>
                    <a:cubicBezTo>
                      <a:pt x="441229" y="526015"/>
                      <a:pt x="446245" y="510034"/>
                      <a:pt x="449086" y="504825"/>
                    </a:cubicBezTo>
                    <a:cubicBezTo>
                      <a:pt x="451827" y="499800"/>
                      <a:pt x="455666" y="495446"/>
                      <a:pt x="458611" y="490538"/>
                    </a:cubicBezTo>
                    <a:cubicBezTo>
                      <a:pt x="460992" y="486569"/>
                      <a:pt x="462742" y="482146"/>
                      <a:pt x="465754" y="478632"/>
                    </a:cubicBezTo>
                    <a:cubicBezTo>
                      <a:pt x="467617" y="476459"/>
                      <a:pt x="470699" y="475701"/>
                      <a:pt x="472898" y="473869"/>
                    </a:cubicBezTo>
                    <a:cubicBezTo>
                      <a:pt x="491226" y="458596"/>
                      <a:pt x="469456" y="473782"/>
                      <a:pt x="487186" y="461963"/>
                    </a:cubicBezTo>
                    <a:cubicBezTo>
                      <a:pt x="493171" y="444006"/>
                      <a:pt x="484401" y="465444"/>
                      <a:pt x="496711" y="450057"/>
                    </a:cubicBezTo>
                    <a:cubicBezTo>
                      <a:pt x="498279" y="448097"/>
                      <a:pt x="497700" y="445002"/>
                      <a:pt x="499092" y="442913"/>
                    </a:cubicBezTo>
                    <a:cubicBezTo>
                      <a:pt x="500960" y="440111"/>
                      <a:pt x="503855" y="438150"/>
                      <a:pt x="506236" y="435769"/>
                    </a:cubicBezTo>
                    <a:cubicBezTo>
                      <a:pt x="507823" y="432594"/>
                      <a:pt x="509237" y="429326"/>
                      <a:pt x="510998" y="426244"/>
                    </a:cubicBezTo>
                    <a:cubicBezTo>
                      <a:pt x="512418" y="423759"/>
                      <a:pt x="514481" y="421660"/>
                      <a:pt x="515761" y="419100"/>
                    </a:cubicBezTo>
                    <a:cubicBezTo>
                      <a:pt x="521235" y="408152"/>
                      <a:pt x="519872" y="408281"/>
                      <a:pt x="522904" y="397669"/>
                    </a:cubicBezTo>
                    <a:cubicBezTo>
                      <a:pt x="523594" y="395255"/>
                      <a:pt x="524492" y="392906"/>
                      <a:pt x="525286" y="390525"/>
                    </a:cubicBezTo>
                    <a:cubicBezTo>
                      <a:pt x="526080" y="384175"/>
                      <a:pt x="526762" y="377810"/>
                      <a:pt x="527667" y="371475"/>
                    </a:cubicBezTo>
                    <a:cubicBezTo>
                      <a:pt x="528350" y="366696"/>
                      <a:pt x="527889" y="361506"/>
                      <a:pt x="530048" y="357188"/>
                    </a:cubicBezTo>
                    <a:cubicBezTo>
                      <a:pt x="531328" y="354628"/>
                      <a:pt x="534811" y="354013"/>
                      <a:pt x="537192" y="352425"/>
                    </a:cubicBezTo>
                    <a:cubicBezTo>
                      <a:pt x="538779" y="350044"/>
                      <a:pt x="539573" y="346869"/>
                      <a:pt x="541954" y="345282"/>
                    </a:cubicBezTo>
                    <a:cubicBezTo>
                      <a:pt x="544677" y="343467"/>
                      <a:pt x="548332" y="343799"/>
                      <a:pt x="551479" y="342900"/>
                    </a:cubicBezTo>
                    <a:cubicBezTo>
                      <a:pt x="553893" y="342210"/>
                      <a:pt x="556242" y="341313"/>
                      <a:pt x="558623" y="340519"/>
                    </a:cubicBezTo>
                    <a:cubicBezTo>
                      <a:pt x="572135" y="320251"/>
                      <a:pt x="567516" y="331921"/>
                      <a:pt x="570529" y="304800"/>
                    </a:cubicBezTo>
                    <a:cubicBezTo>
                      <a:pt x="569735" y="294481"/>
                      <a:pt x="570991" y="283795"/>
                      <a:pt x="568148" y="273844"/>
                    </a:cubicBezTo>
                    <a:cubicBezTo>
                      <a:pt x="567458" y="271430"/>
                      <a:pt x="563485" y="271845"/>
                      <a:pt x="561004" y="271463"/>
                    </a:cubicBezTo>
                    <a:cubicBezTo>
                      <a:pt x="553120" y="270250"/>
                      <a:pt x="545149" y="269650"/>
                      <a:pt x="537192" y="269082"/>
                    </a:cubicBezTo>
                    <a:cubicBezTo>
                      <a:pt x="522919" y="268062"/>
                      <a:pt x="508617" y="267494"/>
                      <a:pt x="494329" y="266700"/>
                    </a:cubicBezTo>
                    <a:cubicBezTo>
                      <a:pt x="487185" y="265113"/>
                      <a:pt x="479997" y="263713"/>
                      <a:pt x="472898" y="261938"/>
                    </a:cubicBezTo>
                    <a:cubicBezTo>
                      <a:pt x="470463" y="261329"/>
                      <a:pt x="467999" y="260680"/>
                      <a:pt x="465754" y="259557"/>
                    </a:cubicBezTo>
                    <a:cubicBezTo>
                      <a:pt x="463194" y="258277"/>
                      <a:pt x="460809" y="256626"/>
                      <a:pt x="458611" y="254794"/>
                    </a:cubicBezTo>
                    <a:cubicBezTo>
                      <a:pt x="456024" y="252638"/>
                      <a:pt x="454125" y="249718"/>
                      <a:pt x="451467" y="247650"/>
                    </a:cubicBezTo>
                    <a:cubicBezTo>
                      <a:pt x="446949" y="244136"/>
                      <a:pt x="437179" y="238125"/>
                      <a:pt x="437179" y="238125"/>
                    </a:cubicBezTo>
                    <a:cubicBezTo>
                      <a:pt x="424387" y="199749"/>
                      <a:pt x="432954" y="228138"/>
                      <a:pt x="437179" y="130969"/>
                    </a:cubicBezTo>
                    <a:cubicBezTo>
                      <a:pt x="437537" y="122746"/>
                      <a:pt x="440123" y="120601"/>
                      <a:pt x="444323" y="114300"/>
                    </a:cubicBezTo>
                    <a:cubicBezTo>
                      <a:pt x="443156" y="85124"/>
                      <a:pt x="446537" y="68495"/>
                      <a:pt x="439561" y="45244"/>
                    </a:cubicBezTo>
                    <a:cubicBezTo>
                      <a:pt x="437917" y="39766"/>
                      <a:pt x="431962" y="18898"/>
                      <a:pt x="425273" y="16669"/>
                    </a:cubicBezTo>
                    <a:lnTo>
                      <a:pt x="410986" y="11907"/>
                    </a:lnTo>
                    <a:cubicBezTo>
                      <a:pt x="408605" y="11113"/>
                      <a:pt x="405931" y="10917"/>
                      <a:pt x="403842" y="9525"/>
                    </a:cubicBezTo>
                    <a:cubicBezTo>
                      <a:pt x="401461" y="7938"/>
                      <a:pt x="399313" y="5925"/>
                      <a:pt x="396698" y="4763"/>
                    </a:cubicBezTo>
                    <a:cubicBezTo>
                      <a:pt x="392111" y="2724"/>
                      <a:pt x="382411" y="0"/>
                      <a:pt x="382411" y="0"/>
                    </a:cubicBezTo>
                    <a:cubicBezTo>
                      <a:pt x="380030" y="1588"/>
                      <a:pt x="376784" y="2336"/>
                      <a:pt x="375267" y="4763"/>
                    </a:cubicBezTo>
                    <a:cubicBezTo>
                      <a:pt x="372606" y="9020"/>
                      <a:pt x="370504" y="19050"/>
                      <a:pt x="370504" y="19050"/>
                    </a:cubicBezTo>
                    <a:cubicBezTo>
                      <a:pt x="371298" y="22225"/>
                      <a:pt x="371987" y="25428"/>
                      <a:pt x="372886" y="28575"/>
                    </a:cubicBezTo>
                    <a:cubicBezTo>
                      <a:pt x="374297" y="33513"/>
                      <a:pt x="377824" y="37925"/>
                      <a:pt x="372886" y="42863"/>
                    </a:cubicBezTo>
                    <a:cubicBezTo>
                      <a:pt x="368839" y="46910"/>
                      <a:pt x="363718" y="49828"/>
                      <a:pt x="358598" y="52388"/>
                    </a:cubicBezTo>
                    <a:cubicBezTo>
                      <a:pt x="352248" y="55563"/>
                      <a:pt x="346283" y="59668"/>
                      <a:pt x="339548" y="61913"/>
                    </a:cubicBezTo>
                    <a:lnTo>
                      <a:pt x="325261" y="66675"/>
                    </a:lnTo>
                    <a:cubicBezTo>
                      <a:pt x="323673" y="69056"/>
                      <a:pt x="321660" y="71204"/>
                      <a:pt x="320498" y="73819"/>
                    </a:cubicBezTo>
                    <a:cubicBezTo>
                      <a:pt x="318459" y="78407"/>
                      <a:pt x="317324" y="83344"/>
                      <a:pt x="315736" y="88107"/>
                    </a:cubicBezTo>
                    <a:lnTo>
                      <a:pt x="313354" y="95250"/>
                    </a:lnTo>
                    <a:lnTo>
                      <a:pt x="310973" y="102394"/>
                    </a:lnTo>
                    <a:cubicBezTo>
                      <a:pt x="310179" y="104775"/>
                      <a:pt x="309201" y="107103"/>
                      <a:pt x="308592" y="109538"/>
                    </a:cubicBezTo>
                    <a:cubicBezTo>
                      <a:pt x="307004" y="115888"/>
                      <a:pt x="305899" y="122378"/>
                      <a:pt x="303829" y="128588"/>
                    </a:cubicBezTo>
                    <a:cubicBezTo>
                      <a:pt x="303035" y="130969"/>
                      <a:pt x="303016" y="133772"/>
                      <a:pt x="301448" y="135732"/>
                    </a:cubicBezTo>
                    <a:cubicBezTo>
                      <a:pt x="299660" y="137967"/>
                      <a:pt x="296685" y="138907"/>
                      <a:pt x="294304" y="140494"/>
                    </a:cubicBezTo>
                    <a:lnTo>
                      <a:pt x="284779" y="169069"/>
                    </a:lnTo>
                    <a:cubicBezTo>
                      <a:pt x="282842" y="174879"/>
                      <a:pt x="282252" y="178741"/>
                      <a:pt x="277636" y="183357"/>
                    </a:cubicBezTo>
                    <a:cubicBezTo>
                      <a:pt x="275612" y="185381"/>
                      <a:pt x="272873" y="186532"/>
                      <a:pt x="270492" y="188119"/>
                    </a:cubicBezTo>
                    <a:cubicBezTo>
                      <a:pt x="257790" y="207171"/>
                      <a:pt x="274461" y="184150"/>
                      <a:pt x="258586" y="200025"/>
                    </a:cubicBezTo>
                    <a:cubicBezTo>
                      <a:pt x="256562" y="202049"/>
                      <a:pt x="255411" y="204788"/>
                      <a:pt x="253823" y="207169"/>
                    </a:cubicBezTo>
                    <a:cubicBezTo>
                      <a:pt x="247840" y="225122"/>
                      <a:pt x="255910" y="202996"/>
                      <a:pt x="246679" y="221457"/>
                    </a:cubicBezTo>
                    <a:cubicBezTo>
                      <a:pt x="243471" y="227873"/>
                      <a:pt x="245601" y="230437"/>
                      <a:pt x="239536" y="235744"/>
                    </a:cubicBezTo>
                    <a:cubicBezTo>
                      <a:pt x="235228" y="239513"/>
                      <a:pt x="230011" y="242094"/>
                      <a:pt x="225248" y="245269"/>
                    </a:cubicBezTo>
                    <a:cubicBezTo>
                      <a:pt x="222867" y="246857"/>
                      <a:pt x="220819" y="249127"/>
                      <a:pt x="218104" y="250032"/>
                    </a:cubicBezTo>
                    <a:lnTo>
                      <a:pt x="203817" y="254794"/>
                    </a:lnTo>
                    <a:cubicBezTo>
                      <a:pt x="201436" y="255588"/>
                      <a:pt x="199168" y="256898"/>
                      <a:pt x="196673" y="257175"/>
                    </a:cubicBezTo>
                    <a:lnTo>
                      <a:pt x="175242" y="259557"/>
                    </a:lnTo>
                    <a:lnTo>
                      <a:pt x="160954" y="264319"/>
                    </a:lnTo>
                    <a:lnTo>
                      <a:pt x="153811" y="266700"/>
                    </a:lnTo>
                    <a:cubicBezTo>
                      <a:pt x="138453" y="276940"/>
                      <a:pt x="149743" y="266735"/>
                      <a:pt x="144286" y="297657"/>
                    </a:cubicBezTo>
                    <a:cubicBezTo>
                      <a:pt x="143414" y="302601"/>
                      <a:pt x="139523" y="311944"/>
                      <a:pt x="139523" y="311944"/>
                    </a:cubicBezTo>
                    <a:cubicBezTo>
                      <a:pt x="138729" y="320675"/>
                      <a:pt x="139720" y="329758"/>
                      <a:pt x="137142" y="338138"/>
                    </a:cubicBezTo>
                    <a:cubicBezTo>
                      <a:pt x="136300" y="340873"/>
                      <a:pt x="132558" y="341620"/>
                      <a:pt x="129998" y="342900"/>
                    </a:cubicBezTo>
                    <a:cubicBezTo>
                      <a:pt x="110286" y="352756"/>
                      <a:pt x="136175" y="336401"/>
                      <a:pt x="115711" y="350044"/>
                    </a:cubicBezTo>
                    <a:cubicBezTo>
                      <a:pt x="114917" y="352425"/>
                      <a:pt x="113329" y="354678"/>
                      <a:pt x="113329" y="357188"/>
                    </a:cubicBezTo>
                    <a:cubicBezTo>
                      <a:pt x="113329" y="363070"/>
                      <a:pt x="118862" y="374677"/>
                      <a:pt x="113329" y="381000"/>
                    </a:cubicBezTo>
                    <a:cubicBezTo>
                      <a:pt x="109560" y="385307"/>
                      <a:pt x="103804" y="387350"/>
                      <a:pt x="99042" y="390525"/>
                    </a:cubicBezTo>
                    <a:cubicBezTo>
                      <a:pt x="89175" y="397104"/>
                      <a:pt x="94675" y="394594"/>
                      <a:pt x="82373" y="397669"/>
                    </a:cubicBezTo>
                    <a:cubicBezTo>
                      <a:pt x="77611" y="400844"/>
                      <a:pt x="69896" y="401764"/>
                      <a:pt x="68086" y="407194"/>
                    </a:cubicBezTo>
                    <a:cubicBezTo>
                      <a:pt x="65091" y="416177"/>
                      <a:pt x="64367" y="420437"/>
                      <a:pt x="56179" y="428625"/>
                    </a:cubicBezTo>
                    <a:cubicBezTo>
                      <a:pt x="51417" y="433388"/>
                      <a:pt x="47496" y="439177"/>
                      <a:pt x="41892" y="442913"/>
                    </a:cubicBezTo>
                    <a:lnTo>
                      <a:pt x="27604" y="452438"/>
                    </a:lnTo>
                    <a:cubicBezTo>
                      <a:pt x="26017" y="463550"/>
                      <a:pt x="23858" y="474596"/>
                      <a:pt x="22842" y="485775"/>
                    </a:cubicBezTo>
                    <a:cubicBezTo>
                      <a:pt x="22084" y="494115"/>
                      <a:pt x="22044" y="516738"/>
                      <a:pt x="15698" y="526257"/>
                    </a:cubicBezTo>
                    <a:cubicBezTo>
                      <a:pt x="14111" y="528638"/>
                      <a:pt x="12959" y="531377"/>
                      <a:pt x="10936" y="533400"/>
                    </a:cubicBezTo>
                    <a:cubicBezTo>
                      <a:pt x="8912" y="535424"/>
                      <a:pt x="6173" y="536575"/>
                      <a:pt x="3792" y="538163"/>
                    </a:cubicBezTo>
                    <a:cubicBezTo>
                      <a:pt x="-1955" y="546784"/>
                      <a:pt x="220" y="550070"/>
                      <a:pt x="1411" y="55483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3" name="Freeform 252"/>
              <p:cNvSpPr/>
              <p:nvPr/>
            </p:nvSpPr>
            <p:spPr>
              <a:xfrm>
                <a:off x="5538596" y="3939894"/>
                <a:ext cx="72309" cy="211304"/>
              </a:xfrm>
              <a:custGeom>
                <a:avLst/>
                <a:gdLst>
                  <a:gd name="connsiteX0" fmla="*/ 36590 w 72309"/>
                  <a:gd name="connsiteY0" fmla="*/ 1754 h 211304"/>
                  <a:gd name="connsiteX1" fmla="*/ 48496 w 72309"/>
                  <a:gd name="connsiteY1" fmla="*/ 4136 h 211304"/>
                  <a:gd name="connsiteX2" fmla="*/ 60402 w 72309"/>
                  <a:gd name="connsiteY2" fmla="*/ 25567 h 211304"/>
                  <a:gd name="connsiteX3" fmla="*/ 69927 w 72309"/>
                  <a:gd name="connsiteY3" fmla="*/ 51761 h 211304"/>
                  <a:gd name="connsiteX4" fmla="*/ 67546 w 72309"/>
                  <a:gd name="connsiteY4" fmla="*/ 66048 h 211304"/>
                  <a:gd name="connsiteX5" fmla="*/ 72309 w 72309"/>
                  <a:gd name="connsiteY5" fmla="*/ 111292 h 211304"/>
                  <a:gd name="connsiteX6" fmla="*/ 69927 w 72309"/>
                  <a:gd name="connsiteY6" fmla="*/ 139867 h 211304"/>
                  <a:gd name="connsiteX7" fmla="*/ 65165 w 72309"/>
                  <a:gd name="connsiteY7" fmla="*/ 156536 h 211304"/>
                  <a:gd name="connsiteX8" fmla="*/ 62784 w 72309"/>
                  <a:gd name="connsiteY8" fmla="*/ 166061 h 211304"/>
                  <a:gd name="connsiteX9" fmla="*/ 48496 w 72309"/>
                  <a:gd name="connsiteY9" fmla="*/ 175586 h 211304"/>
                  <a:gd name="connsiteX10" fmla="*/ 34209 w 72309"/>
                  <a:gd name="connsiteY10" fmla="*/ 185111 h 211304"/>
                  <a:gd name="connsiteX11" fmla="*/ 27065 w 72309"/>
                  <a:gd name="connsiteY11" fmla="*/ 189873 h 211304"/>
                  <a:gd name="connsiteX12" fmla="*/ 22302 w 72309"/>
                  <a:gd name="connsiteY12" fmla="*/ 197017 h 211304"/>
                  <a:gd name="connsiteX13" fmla="*/ 15159 w 72309"/>
                  <a:gd name="connsiteY13" fmla="*/ 211304 h 211304"/>
                  <a:gd name="connsiteX14" fmla="*/ 871 w 72309"/>
                  <a:gd name="connsiteY14" fmla="*/ 208923 h 211304"/>
                  <a:gd name="connsiteX15" fmla="*/ 3252 w 72309"/>
                  <a:gd name="connsiteY15" fmla="*/ 197017 h 211304"/>
                  <a:gd name="connsiteX16" fmla="*/ 8015 w 72309"/>
                  <a:gd name="connsiteY16" fmla="*/ 182729 h 211304"/>
                  <a:gd name="connsiteX17" fmla="*/ 5634 w 72309"/>
                  <a:gd name="connsiteY17" fmla="*/ 156536 h 211304"/>
                  <a:gd name="connsiteX18" fmla="*/ 871 w 72309"/>
                  <a:gd name="connsiteY18" fmla="*/ 139867 h 211304"/>
                  <a:gd name="connsiteX19" fmla="*/ 3252 w 72309"/>
                  <a:gd name="connsiteY19" fmla="*/ 61286 h 211304"/>
                  <a:gd name="connsiteX20" fmla="*/ 10396 w 72309"/>
                  <a:gd name="connsiteY20" fmla="*/ 56523 h 211304"/>
                  <a:gd name="connsiteX21" fmla="*/ 15159 w 72309"/>
                  <a:gd name="connsiteY21" fmla="*/ 37473 h 211304"/>
                  <a:gd name="connsiteX22" fmla="*/ 17540 w 72309"/>
                  <a:gd name="connsiteY22" fmla="*/ 30329 h 211304"/>
                  <a:gd name="connsiteX23" fmla="*/ 36590 w 72309"/>
                  <a:gd name="connsiteY23" fmla="*/ 1754 h 2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309" h="211304">
                    <a:moveTo>
                      <a:pt x="36590" y="1754"/>
                    </a:moveTo>
                    <a:cubicBezTo>
                      <a:pt x="41749" y="-2612"/>
                      <a:pt x="44876" y="2326"/>
                      <a:pt x="48496" y="4136"/>
                    </a:cubicBezTo>
                    <a:cubicBezTo>
                      <a:pt x="56547" y="8161"/>
                      <a:pt x="58516" y="18024"/>
                      <a:pt x="60402" y="25567"/>
                    </a:cubicBezTo>
                    <a:cubicBezTo>
                      <a:pt x="65859" y="47393"/>
                      <a:pt x="61535" y="39171"/>
                      <a:pt x="69927" y="51761"/>
                    </a:cubicBezTo>
                    <a:cubicBezTo>
                      <a:pt x="69133" y="56523"/>
                      <a:pt x="67546" y="61220"/>
                      <a:pt x="67546" y="66048"/>
                    </a:cubicBezTo>
                    <a:cubicBezTo>
                      <a:pt x="67546" y="99043"/>
                      <a:pt x="66403" y="93578"/>
                      <a:pt x="72309" y="111292"/>
                    </a:cubicBezTo>
                    <a:cubicBezTo>
                      <a:pt x="71515" y="120817"/>
                      <a:pt x="71113" y="130383"/>
                      <a:pt x="69927" y="139867"/>
                    </a:cubicBezTo>
                    <a:cubicBezTo>
                      <a:pt x="69100" y="146484"/>
                      <a:pt x="66922" y="150385"/>
                      <a:pt x="65165" y="156536"/>
                    </a:cubicBezTo>
                    <a:cubicBezTo>
                      <a:pt x="64266" y="159683"/>
                      <a:pt x="64408" y="163220"/>
                      <a:pt x="62784" y="166061"/>
                    </a:cubicBezTo>
                    <a:cubicBezTo>
                      <a:pt x="56886" y="176382"/>
                      <a:pt x="56582" y="171093"/>
                      <a:pt x="48496" y="175586"/>
                    </a:cubicBezTo>
                    <a:cubicBezTo>
                      <a:pt x="43493" y="178366"/>
                      <a:pt x="38971" y="181936"/>
                      <a:pt x="34209" y="185111"/>
                    </a:cubicBezTo>
                    <a:lnTo>
                      <a:pt x="27065" y="189873"/>
                    </a:lnTo>
                    <a:cubicBezTo>
                      <a:pt x="25477" y="192254"/>
                      <a:pt x="23582" y="194457"/>
                      <a:pt x="22302" y="197017"/>
                    </a:cubicBezTo>
                    <a:cubicBezTo>
                      <a:pt x="12442" y="216737"/>
                      <a:pt x="28808" y="190830"/>
                      <a:pt x="15159" y="211304"/>
                    </a:cubicBezTo>
                    <a:cubicBezTo>
                      <a:pt x="10396" y="210510"/>
                      <a:pt x="3962" y="212632"/>
                      <a:pt x="871" y="208923"/>
                    </a:cubicBezTo>
                    <a:cubicBezTo>
                      <a:pt x="-1720" y="205814"/>
                      <a:pt x="2187" y="200922"/>
                      <a:pt x="3252" y="197017"/>
                    </a:cubicBezTo>
                    <a:cubicBezTo>
                      <a:pt x="4573" y="192174"/>
                      <a:pt x="8015" y="182729"/>
                      <a:pt x="8015" y="182729"/>
                    </a:cubicBezTo>
                    <a:cubicBezTo>
                      <a:pt x="7221" y="173998"/>
                      <a:pt x="6793" y="165226"/>
                      <a:pt x="5634" y="156536"/>
                    </a:cubicBezTo>
                    <a:cubicBezTo>
                      <a:pt x="4970" y="151559"/>
                      <a:pt x="2502" y="144760"/>
                      <a:pt x="871" y="139867"/>
                    </a:cubicBezTo>
                    <a:cubicBezTo>
                      <a:pt x="1665" y="113673"/>
                      <a:pt x="276" y="87322"/>
                      <a:pt x="3252" y="61286"/>
                    </a:cubicBezTo>
                    <a:cubicBezTo>
                      <a:pt x="3577" y="58442"/>
                      <a:pt x="8608" y="58758"/>
                      <a:pt x="10396" y="56523"/>
                    </a:cubicBezTo>
                    <a:cubicBezTo>
                      <a:pt x="12374" y="54051"/>
                      <a:pt x="14998" y="38117"/>
                      <a:pt x="15159" y="37473"/>
                    </a:cubicBezTo>
                    <a:cubicBezTo>
                      <a:pt x="15768" y="35038"/>
                      <a:pt x="15765" y="32104"/>
                      <a:pt x="17540" y="30329"/>
                    </a:cubicBezTo>
                    <a:cubicBezTo>
                      <a:pt x="32253" y="15616"/>
                      <a:pt x="31431" y="6120"/>
                      <a:pt x="36590" y="175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4" name="Freeform 253"/>
              <p:cNvSpPr/>
              <p:nvPr/>
            </p:nvSpPr>
            <p:spPr>
              <a:xfrm>
                <a:off x="5012417" y="2049857"/>
                <a:ext cx="1281084" cy="1657213"/>
              </a:xfrm>
              <a:custGeom>
                <a:avLst/>
                <a:gdLst>
                  <a:gd name="connsiteX0" fmla="*/ 85725 w 1281084"/>
                  <a:gd name="connsiteY0" fmla="*/ 724185 h 1657213"/>
                  <a:gd name="connsiteX1" fmla="*/ 142875 w 1281084"/>
                  <a:gd name="connsiteY1" fmla="*/ 721010 h 1657213"/>
                  <a:gd name="connsiteX2" fmla="*/ 171450 w 1281084"/>
                  <a:gd name="connsiteY2" fmla="*/ 730535 h 1657213"/>
                  <a:gd name="connsiteX3" fmla="*/ 184150 w 1281084"/>
                  <a:gd name="connsiteY3" fmla="*/ 711485 h 1657213"/>
                  <a:gd name="connsiteX4" fmla="*/ 187325 w 1281084"/>
                  <a:gd name="connsiteY4" fmla="*/ 686085 h 1657213"/>
                  <a:gd name="connsiteX5" fmla="*/ 193675 w 1281084"/>
                  <a:gd name="connsiteY5" fmla="*/ 657510 h 1657213"/>
                  <a:gd name="connsiteX6" fmla="*/ 206375 w 1281084"/>
                  <a:gd name="connsiteY6" fmla="*/ 638460 h 1657213"/>
                  <a:gd name="connsiteX7" fmla="*/ 215900 w 1281084"/>
                  <a:gd name="connsiteY7" fmla="*/ 632110 h 1657213"/>
                  <a:gd name="connsiteX8" fmla="*/ 225425 w 1281084"/>
                  <a:gd name="connsiteY8" fmla="*/ 613060 h 1657213"/>
                  <a:gd name="connsiteX9" fmla="*/ 219075 w 1281084"/>
                  <a:gd name="connsiteY9" fmla="*/ 578135 h 1657213"/>
                  <a:gd name="connsiteX10" fmla="*/ 222250 w 1281084"/>
                  <a:gd name="connsiteY10" fmla="*/ 546385 h 1657213"/>
                  <a:gd name="connsiteX11" fmla="*/ 231775 w 1281084"/>
                  <a:gd name="connsiteY11" fmla="*/ 536860 h 1657213"/>
                  <a:gd name="connsiteX12" fmla="*/ 254000 w 1281084"/>
                  <a:gd name="connsiteY12" fmla="*/ 508285 h 1657213"/>
                  <a:gd name="connsiteX13" fmla="*/ 273050 w 1281084"/>
                  <a:gd name="connsiteY13" fmla="*/ 501935 h 1657213"/>
                  <a:gd name="connsiteX14" fmla="*/ 292100 w 1281084"/>
                  <a:gd name="connsiteY14" fmla="*/ 495585 h 1657213"/>
                  <a:gd name="connsiteX15" fmla="*/ 301625 w 1281084"/>
                  <a:gd name="connsiteY15" fmla="*/ 492410 h 1657213"/>
                  <a:gd name="connsiteX16" fmla="*/ 311150 w 1281084"/>
                  <a:gd name="connsiteY16" fmla="*/ 489235 h 1657213"/>
                  <a:gd name="connsiteX17" fmla="*/ 317500 w 1281084"/>
                  <a:gd name="connsiteY17" fmla="*/ 479710 h 1657213"/>
                  <a:gd name="connsiteX18" fmla="*/ 314325 w 1281084"/>
                  <a:gd name="connsiteY18" fmla="*/ 444785 h 1657213"/>
                  <a:gd name="connsiteX19" fmla="*/ 304800 w 1281084"/>
                  <a:gd name="connsiteY19" fmla="*/ 435260 h 1657213"/>
                  <a:gd name="connsiteX20" fmla="*/ 301625 w 1281084"/>
                  <a:gd name="connsiteY20" fmla="*/ 425735 h 1657213"/>
                  <a:gd name="connsiteX21" fmla="*/ 304800 w 1281084"/>
                  <a:gd name="connsiteY21" fmla="*/ 400335 h 1657213"/>
                  <a:gd name="connsiteX22" fmla="*/ 314325 w 1281084"/>
                  <a:gd name="connsiteY22" fmla="*/ 365410 h 1657213"/>
                  <a:gd name="connsiteX23" fmla="*/ 323850 w 1281084"/>
                  <a:gd name="connsiteY23" fmla="*/ 346360 h 1657213"/>
                  <a:gd name="connsiteX24" fmla="*/ 355600 w 1281084"/>
                  <a:gd name="connsiteY24" fmla="*/ 336835 h 1657213"/>
                  <a:gd name="connsiteX25" fmla="*/ 384175 w 1281084"/>
                  <a:gd name="connsiteY25" fmla="*/ 320960 h 1657213"/>
                  <a:gd name="connsiteX26" fmla="*/ 393700 w 1281084"/>
                  <a:gd name="connsiteY26" fmla="*/ 311435 h 1657213"/>
                  <a:gd name="connsiteX27" fmla="*/ 403225 w 1281084"/>
                  <a:gd name="connsiteY27" fmla="*/ 305085 h 1657213"/>
                  <a:gd name="connsiteX28" fmla="*/ 412750 w 1281084"/>
                  <a:gd name="connsiteY28" fmla="*/ 292385 h 1657213"/>
                  <a:gd name="connsiteX29" fmla="*/ 415925 w 1281084"/>
                  <a:gd name="connsiteY29" fmla="*/ 282860 h 1657213"/>
                  <a:gd name="connsiteX30" fmla="*/ 422275 w 1281084"/>
                  <a:gd name="connsiteY30" fmla="*/ 244760 h 1657213"/>
                  <a:gd name="connsiteX31" fmla="*/ 425450 w 1281084"/>
                  <a:gd name="connsiteY31" fmla="*/ 225710 h 1657213"/>
                  <a:gd name="connsiteX32" fmla="*/ 434975 w 1281084"/>
                  <a:gd name="connsiteY32" fmla="*/ 133635 h 1657213"/>
                  <a:gd name="connsiteX33" fmla="*/ 441325 w 1281084"/>
                  <a:gd name="connsiteY33" fmla="*/ 89185 h 1657213"/>
                  <a:gd name="connsiteX34" fmla="*/ 444500 w 1281084"/>
                  <a:gd name="connsiteY34" fmla="*/ 79660 h 1657213"/>
                  <a:gd name="connsiteX35" fmla="*/ 447675 w 1281084"/>
                  <a:gd name="connsiteY35" fmla="*/ 60610 h 1657213"/>
                  <a:gd name="connsiteX36" fmla="*/ 450850 w 1281084"/>
                  <a:gd name="connsiteY36" fmla="*/ 51085 h 1657213"/>
                  <a:gd name="connsiteX37" fmla="*/ 479425 w 1281084"/>
                  <a:gd name="connsiteY37" fmla="*/ 35210 h 1657213"/>
                  <a:gd name="connsiteX38" fmla="*/ 488950 w 1281084"/>
                  <a:gd name="connsiteY38" fmla="*/ 16160 h 1657213"/>
                  <a:gd name="connsiteX39" fmla="*/ 498475 w 1281084"/>
                  <a:gd name="connsiteY39" fmla="*/ 9810 h 1657213"/>
                  <a:gd name="connsiteX40" fmla="*/ 504825 w 1281084"/>
                  <a:gd name="connsiteY40" fmla="*/ 285 h 1657213"/>
                  <a:gd name="connsiteX41" fmla="*/ 533400 w 1281084"/>
                  <a:gd name="connsiteY41" fmla="*/ 6635 h 1657213"/>
                  <a:gd name="connsiteX42" fmla="*/ 549275 w 1281084"/>
                  <a:gd name="connsiteY42" fmla="*/ 3460 h 1657213"/>
                  <a:gd name="connsiteX43" fmla="*/ 558800 w 1281084"/>
                  <a:gd name="connsiteY43" fmla="*/ 285 h 1657213"/>
                  <a:gd name="connsiteX44" fmla="*/ 628650 w 1281084"/>
                  <a:gd name="connsiteY44" fmla="*/ 3460 h 1657213"/>
                  <a:gd name="connsiteX45" fmla="*/ 685800 w 1281084"/>
                  <a:gd name="connsiteY45" fmla="*/ 19335 h 1657213"/>
                  <a:gd name="connsiteX46" fmla="*/ 704850 w 1281084"/>
                  <a:gd name="connsiteY46" fmla="*/ 12985 h 1657213"/>
                  <a:gd name="connsiteX47" fmla="*/ 723900 w 1281084"/>
                  <a:gd name="connsiteY47" fmla="*/ 3460 h 1657213"/>
                  <a:gd name="connsiteX48" fmla="*/ 765175 w 1281084"/>
                  <a:gd name="connsiteY48" fmla="*/ 285 h 1657213"/>
                  <a:gd name="connsiteX49" fmla="*/ 815975 w 1281084"/>
                  <a:gd name="connsiteY49" fmla="*/ 3460 h 1657213"/>
                  <a:gd name="connsiteX50" fmla="*/ 825500 w 1281084"/>
                  <a:gd name="connsiteY50" fmla="*/ 6635 h 1657213"/>
                  <a:gd name="connsiteX51" fmla="*/ 844550 w 1281084"/>
                  <a:gd name="connsiteY51" fmla="*/ 19335 h 1657213"/>
                  <a:gd name="connsiteX52" fmla="*/ 854075 w 1281084"/>
                  <a:gd name="connsiteY52" fmla="*/ 28860 h 1657213"/>
                  <a:gd name="connsiteX53" fmla="*/ 860425 w 1281084"/>
                  <a:gd name="connsiteY53" fmla="*/ 38385 h 1657213"/>
                  <a:gd name="connsiteX54" fmla="*/ 879475 w 1281084"/>
                  <a:gd name="connsiteY54" fmla="*/ 47910 h 1657213"/>
                  <a:gd name="connsiteX55" fmla="*/ 889000 w 1281084"/>
                  <a:gd name="connsiteY55" fmla="*/ 57435 h 1657213"/>
                  <a:gd name="connsiteX56" fmla="*/ 898525 w 1281084"/>
                  <a:gd name="connsiteY56" fmla="*/ 63785 h 1657213"/>
                  <a:gd name="connsiteX57" fmla="*/ 908050 w 1281084"/>
                  <a:gd name="connsiteY57" fmla="*/ 76485 h 1657213"/>
                  <a:gd name="connsiteX58" fmla="*/ 917575 w 1281084"/>
                  <a:gd name="connsiteY58" fmla="*/ 98710 h 1657213"/>
                  <a:gd name="connsiteX59" fmla="*/ 920750 w 1281084"/>
                  <a:gd name="connsiteY59" fmla="*/ 108235 h 1657213"/>
                  <a:gd name="connsiteX60" fmla="*/ 933450 w 1281084"/>
                  <a:gd name="connsiteY60" fmla="*/ 127285 h 1657213"/>
                  <a:gd name="connsiteX61" fmla="*/ 939800 w 1281084"/>
                  <a:gd name="connsiteY61" fmla="*/ 136810 h 1657213"/>
                  <a:gd name="connsiteX62" fmla="*/ 971550 w 1281084"/>
                  <a:gd name="connsiteY62" fmla="*/ 146335 h 1657213"/>
                  <a:gd name="connsiteX63" fmla="*/ 981075 w 1281084"/>
                  <a:gd name="connsiteY63" fmla="*/ 149510 h 1657213"/>
                  <a:gd name="connsiteX64" fmla="*/ 987425 w 1281084"/>
                  <a:gd name="connsiteY64" fmla="*/ 159035 h 1657213"/>
                  <a:gd name="connsiteX65" fmla="*/ 965200 w 1281084"/>
                  <a:gd name="connsiteY65" fmla="*/ 181260 h 1657213"/>
                  <a:gd name="connsiteX66" fmla="*/ 866775 w 1281084"/>
                  <a:gd name="connsiteY66" fmla="*/ 184435 h 1657213"/>
                  <a:gd name="connsiteX67" fmla="*/ 847725 w 1281084"/>
                  <a:gd name="connsiteY67" fmla="*/ 190785 h 1657213"/>
                  <a:gd name="connsiteX68" fmla="*/ 838200 w 1281084"/>
                  <a:gd name="connsiteY68" fmla="*/ 193960 h 1657213"/>
                  <a:gd name="connsiteX69" fmla="*/ 835025 w 1281084"/>
                  <a:gd name="connsiteY69" fmla="*/ 203485 h 1657213"/>
                  <a:gd name="connsiteX70" fmla="*/ 879475 w 1281084"/>
                  <a:gd name="connsiteY70" fmla="*/ 219360 h 1657213"/>
                  <a:gd name="connsiteX71" fmla="*/ 889000 w 1281084"/>
                  <a:gd name="connsiteY71" fmla="*/ 222535 h 1657213"/>
                  <a:gd name="connsiteX72" fmla="*/ 895350 w 1281084"/>
                  <a:gd name="connsiteY72" fmla="*/ 241585 h 1657213"/>
                  <a:gd name="connsiteX73" fmla="*/ 892175 w 1281084"/>
                  <a:gd name="connsiteY73" fmla="*/ 251110 h 1657213"/>
                  <a:gd name="connsiteX74" fmla="*/ 873125 w 1281084"/>
                  <a:gd name="connsiteY74" fmla="*/ 260635 h 1657213"/>
                  <a:gd name="connsiteX75" fmla="*/ 869950 w 1281084"/>
                  <a:gd name="connsiteY75" fmla="*/ 270160 h 1657213"/>
                  <a:gd name="connsiteX76" fmla="*/ 873125 w 1281084"/>
                  <a:gd name="connsiteY76" fmla="*/ 292385 h 1657213"/>
                  <a:gd name="connsiteX77" fmla="*/ 911225 w 1281084"/>
                  <a:gd name="connsiteY77" fmla="*/ 301910 h 1657213"/>
                  <a:gd name="connsiteX78" fmla="*/ 920750 w 1281084"/>
                  <a:gd name="connsiteY78" fmla="*/ 308260 h 1657213"/>
                  <a:gd name="connsiteX79" fmla="*/ 930275 w 1281084"/>
                  <a:gd name="connsiteY79" fmla="*/ 311435 h 1657213"/>
                  <a:gd name="connsiteX80" fmla="*/ 939800 w 1281084"/>
                  <a:gd name="connsiteY80" fmla="*/ 320960 h 1657213"/>
                  <a:gd name="connsiteX81" fmla="*/ 946150 w 1281084"/>
                  <a:gd name="connsiteY81" fmla="*/ 340010 h 1657213"/>
                  <a:gd name="connsiteX82" fmla="*/ 949325 w 1281084"/>
                  <a:gd name="connsiteY82" fmla="*/ 349535 h 1657213"/>
                  <a:gd name="connsiteX83" fmla="*/ 958850 w 1281084"/>
                  <a:gd name="connsiteY83" fmla="*/ 355885 h 1657213"/>
                  <a:gd name="connsiteX84" fmla="*/ 962025 w 1281084"/>
                  <a:gd name="connsiteY84" fmla="*/ 365410 h 1657213"/>
                  <a:gd name="connsiteX85" fmla="*/ 968375 w 1281084"/>
                  <a:gd name="connsiteY85" fmla="*/ 374935 h 1657213"/>
                  <a:gd name="connsiteX86" fmla="*/ 971550 w 1281084"/>
                  <a:gd name="connsiteY86" fmla="*/ 387635 h 1657213"/>
                  <a:gd name="connsiteX87" fmla="*/ 974725 w 1281084"/>
                  <a:gd name="connsiteY87" fmla="*/ 397160 h 1657213"/>
                  <a:gd name="connsiteX88" fmla="*/ 981075 w 1281084"/>
                  <a:gd name="connsiteY88" fmla="*/ 419385 h 1657213"/>
                  <a:gd name="connsiteX89" fmla="*/ 996950 w 1281084"/>
                  <a:gd name="connsiteY89" fmla="*/ 438435 h 1657213"/>
                  <a:gd name="connsiteX90" fmla="*/ 1009650 w 1281084"/>
                  <a:gd name="connsiteY90" fmla="*/ 457485 h 1657213"/>
                  <a:gd name="connsiteX91" fmla="*/ 1016000 w 1281084"/>
                  <a:gd name="connsiteY91" fmla="*/ 467010 h 1657213"/>
                  <a:gd name="connsiteX92" fmla="*/ 1025525 w 1281084"/>
                  <a:gd name="connsiteY92" fmla="*/ 476535 h 1657213"/>
                  <a:gd name="connsiteX93" fmla="*/ 1035050 w 1281084"/>
                  <a:gd name="connsiteY93" fmla="*/ 495585 h 1657213"/>
                  <a:gd name="connsiteX94" fmla="*/ 1038225 w 1281084"/>
                  <a:gd name="connsiteY94" fmla="*/ 505110 h 1657213"/>
                  <a:gd name="connsiteX95" fmla="*/ 1047750 w 1281084"/>
                  <a:gd name="connsiteY95" fmla="*/ 511460 h 1657213"/>
                  <a:gd name="connsiteX96" fmla="*/ 1060450 w 1281084"/>
                  <a:gd name="connsiteY96" fmla="*/ 530510 h 1657213"/>
                  <a:gd name="connsiteX97" fmla="*/ 1041400 w 1281084"/>
                  <a:gd name="connsiteY97" fmla="*/ 536860 h 1657213"/>
                  <a:gd name="connsiteX98" fmla="*/ 1031875 w 1281084"/>
                  <a:gd name="connsiteY98" fmla="*/ 540035 h 1657213"/>
                  <a:gd name="connsiteX99" fmla="*/ 1019175 w 1281084"/>
                  <a:gd name="connsiteY99" fmla="*/ 559085 h 1657213"/>
                  <a:gd name="connsiteX100" fmla="*/ 1012825 w 1281084"/>
                  <a:gd name="connsiteY100" fmla="*/ 578135 h 1657213"/>
                  <a:gd name="connsiteX101" fmla="*/ 1019175 w 1281084"/>
                  <a:gd name="connsiteY101" fmla="*/ 644810 h 1657213"/>
                  <a:gd name="connsiteX102" fmla="*/ 1022350 w 1281084"/>
                  <a:gd name="connsiteY102" fmla="*/ 654335 h 1657213"/>
                  <a:gd name="connsiteX103" fmla="*/ 1041400 w 1281084"/>
                  <a:gd name="connsiteY103" fmla="*/ 673385 h 1657213"/>
                  <a:gd name="connsiteX104" fmla="*/ 1047750 w 1281084"/>
                  <a:gd name="connsiteY104" fmla="*/ 682910 h 1657213"/>
                  <a:gd name="connsiteX105" fmla="*/ 1066800 w 1281084"/>
                  <a:gd name="connsiteY105" fmla="*/ 695610 h 1657213"/>
                  <a:gd name="connsiteX106" fmla="*/ 1076325 w 1281084"/>
                  <a:gd name="connsiteY106" fmla="*/ 705135 h 1657213"/>
                  <a:gd name="connsiteX107" fmla="*/ 1089025 w 1281084"/>
                  <a:gd name="connsiteY107" fmla="*/ 714660 h 1657213"/>
                  <a:gd name="connsiteX108" fmla="*/ 1098550 w 1281084"/>
                  <a:gd name="connsiteY108" fmla="*/ 721010 h 1657213"/>
                  <a:gd name="connsiteX109" fmla="*/ 1127125 w 1281084"/>
                  <a:gd name="connsiteY109" fmla="*/ 743235 h 1657213"/>
                  <a:gd name="connsiteX110" fmla="*/ 1146175 w 1281084"/>
                  <a:gd name="connsiteY110" fmla="*/ 749585 h 1657213"/>
                  <a:gd name="connsiteX111" fmla="*/ 1155700 w 1281084"/>
                  <a:gd name="connsiteY111" fmla="*/ 755935 h 1657213"/>
                  <a:gd name="connsiteX112" fmla="*/ 1177925 w 1281084"/>
                  <a:gd name="connsiteY112" fmla="*/ 759110 h 1657213"/>
                  <a:gd name="connsiteX113" fmla="*/ 1196975 w 1281084"/>
                  <a:gd name="connsiteY113" fmla="*/ 774985 h 1657213"/>
                  <a:gd name="connsiteX114" fmla="*/ 1209675 w 1281084"/>
                  <a:gd name="connsiteY114" fmla="*/ 794035 h 1657213"/>
                  <a:gd name="connsiteX115" fmla="*/ 1216025 w 1281084"/>
                  <a:gd name="connsiteY115" fmla="*/ 803560 h 1657213"/>
                  <a:gd name="connsiteX116" fmla="*/ 1225550 w 1281084"/>
                  <a:gd name="connsiteY116" fmla="*/ 813085 h 1657213"/>
                  <a:gd name="connsiteX117" fmla="*/ 1247775 w 1281084"/>
                  <a:gd name="connsiteY117" fmla="*/ 828960 h 1657213"/>
                  <a:gd name="connsiteX118" fmla="*/ 1266825 w 1281084"/>
                  <a:gd name="connsiteY118" fmla="*/ 835310 h 1657213"/>
                  <a:gd name="connsiteX119" fmla="*/ 1279525 w 1281084"/>
                  <a:gd name="connsiteY119" fmla="*/ 854360 h 1657213"/>
                  <a:gd name="connsiteX120" fmla="*/ 1270000 w 1281084"/>
                  <a:gd name="connsiteY120" fmla="*/ 860710 h 1657213"/>
                  <a:gd name="connsiteX121" fmla="*/ 1247775 w 1281084"/>
                  <a:gd name="connsiteY121" fmla="*/ 863885 h 1657213"/>
                  <a:gd name="connsiteX122" fmla="*/ 1231900 w 1281084"/>
                  <a:gd name="connsiteY122" fmla="*/ 867060 h 1657213"/>
                  <a:gd name="connsiteX123" fmla="*/ 1212850 w 1281084"/>
                  <a:gd name="connsiteY123" fmla="*/ 876585 h 1657213"/>
                  <a:gd name="connsiteX124" fmla="*/ 1146175 w 1281084"/>
                  <a:gd name="connsiteY124" fmla="*/ 882935 h 1657213"/>
                  <a:gd name="connsiteX125" fmla="*/ 1082675 w 1281084"/>
                  <a:gd name="connsiteY125" fmla="*/ 873410 h 1657213"/>
                  <a:gd name="connsiteX126" fmla="*/ 1073150 w 1281084"/>
                  <a:gd name="connsiteY126" fmla="*/ 863885 h 1657213"/>
                  <a:gd name="connsiteX127" fmla="*/ 1054100 w 1281084"/>
                  <a:gd name="connsiteY127" fmla="*/ 851185 h 1657213"/>
                  <a:gd name="connsiteX128" fmla="*/ 1035050 w 1281084"/>
                  <a:gd name="connsiteY128" fmla="*/ 844835 h 1657213"/>
                  <a:gd name="connsiteX129" fmla="*/ 1025525 w 1281084"/>
                  <a:gd name="connsiteY129" fmla="*/ 848010 h 1657213"/>
                  <a:gd name="connsiteX130" fmla="*/ 1019175 w 1281084"/>
                  <a:gd name="connsiteY130" fmla="*/ 870235 h 1657213"/>
                  <a:gd name="connsiteX131" fmla="*/ 1016000 w 1281084"/>
                  <a:gd name="connsiteY131" fmla="*/ 905160 h 1657213"/>
                  <a:gd name="connsiteX132" fmla="*/ 971550 w 1281084"/>
                  <a:gd name="connsiteY132" fmla="*/ 908335 h 1657213"/>
                  <a:gd name="connsiteX133" fmla="*/ 962025 w 1281084"/>
                  <a:gd name="connsiteY133" fmla="*/ 914685 h 1657213"/>
                  <a:gd name="connsiteX134" fmla="*/ 939800 w 1281084"/>
                  <a:gd name="connsiteY134" fmla="*/ 930560 h 1657213"/>
                  <a:gd name="connsiteX135" fmla="*/ 933450 w 1281084"/>
                  <a:gd name="connsiteY135" fmla="*/ 962310 h 1657213"/>
                  <a:gd name="connsiteX136" fmla="*/ 930275 w 1281084"/>
                  <a:gd name="connsiteY136" fmla="*/ 971835 h 1657213"/>
                  <a:gd name="connsiteX137" fmla="*/ 927100 w 1281084"/>
                  <a:gd name="connsiteY137" fmla="*/ 984535 h 1657213"/>
                  <a:gd name="connsiteX138" fmla="*/ 920750 w 1281084"/>
                  <a:gd name="connsiteY138" fmla="*/ 1009935 h 1657213"/>
                  <a:gd name="connsiteX139" fmla="*/ 901700 w 1281084"/>
                  <a:gd name="connsiteY139" fmla="*/ 1022635 h 1657213"/>
                  <a:gd name="connsiteX140" fmla="*/ 892175 w 1281084"/>
                  <a:gd name="connsiteY140" fmla="*/ 1028985 h 1657213"/>
                  <a:gd name="connsiteX141" fmla="*/ 885825 w 1281084"/>
                  <a:gd name="connsiteY141" fmla="*/ 1038510 h 1657213"/>
                  <a:gd name="connsiteX142" fmla="*/ 879475 w 1281084"/>
                  <a:gd name="connsiteY142" fmla="*/ 1057560 h 1657213"/>
                  <a:gd name="connsiteX143" fmla="*/ 882650 w 1281084"/>
                  <a:gd name="connsiteY143" fmla="*/ 1086135 h 1657213"/>
                  <a:gd name="connsiteX144" fmla="*/ 889000 w 1281084"/>
                  <a:gd name="connsiteY144" fmla="*/ 1105185 h 1657213"/>
                  <a:gd name="connsiteX145" fmla="*/ 892175 w 1281084"/>
                  <a:gd name="connsiteY145" fmla="*/ 1114710 h 1657213"/>
                  <a:gd name="connsiteX146" fmla="*/ 898525 w 1281084"/>
                  <a:gd name="connsiteY146" fmla="*/ 1171860 h 1657213"/>
                  <a:gd name="connsiteX147" fmla="*/ 901700 w 1281084"/>
                  <a:gd name="connsiteY147" fmla="*/ 1187735 h 1657213"/>
                  <a:gd name="connsiteX148" fmla="*/ 911225 w 1281084"/>
                  <a:gd name="connsiteY148" fmla="*/ 1216310 h 1657213"/>
                  <a:gd name="connsiteX149" fmla="*/ 914400 w 1281084"/>
                  <a:gd name="connsiteY149" fmla="*/ 1225835 h 1657213"/>
                  <a:gd name="connsiteX150" fmla="*/ 917575 w 1281084"/>
                  <a:gd name="connsiteY150" fmla="*/ 1235360 h 1657213"/>
                  <a:gd name="connsiteX151" fmla="*/ 914400 w 1281084"/>
                  <a:gd name="connsiteY151" fmla="*/ 1260760 h 1657213"/>
                  <a:gd name="connsiteX152" fmla="*/ 895350 w 1281084"/>
                  <a:gd name="connsiteY152" fmla="*/ 1270285 h 1657213"/>
                  <a:gd name="connsiteX153" fmla="*/ 885825 w 1281084"/>
                  <a:gd name="connsiteY153" fmla="*/ 1276635 h 1657213"/>
                  <a:gd name="connsiteX154" fmla="*/ 866775 w 1281084"/>
                  <a:gd name="connsiteY154" fmla="*/ 1286160 h 1657213"/>
                  <a:gd name="connsiteX155" fmla="*/ 860425 w 1281084"/>
                  <a:gd name="connsiteY155" fmla="*/ 1295685 h 1657213"/>
                  <a:gd name="connsiteX156" fmla="*/ 841375 w 1281084"/>
                  <a:gd name="connsiteY156" fmla="*/ 1305210 h 1657213"/>
                  <a:gd name="connsiteX157" fmla="*/ 825500 w 1281084"/>
                  <a:gd name="connsiteY157" fmla="*/ 1311560 h 1657213"/>
                  <a:gd name="connsiteX158" fmla="*/ 796925 w 1281084"/>
                  <a:gd name="connsiteY158" fmla="*/ 1333785 h 1657213"/>
                  <a:gd name="connsiteX159" fmla="*/ 787400 w 1281084"/>
                  <a:gd name="connsiteY159" fmla="*/ 1365535 h 1657213"/>
                  <a:gd name="connsiteX160" fmla="*/ 768350 w 1281084"/>
                  <a:gd name="connsiteY160" fmla="*/ 1378235 h 1657213"/>
                  <a:gd name="connsiteX161" fmla="*/ 758825 w 1281084"/>
                  <a:gd name="connsiteY161" fmla="*/ 1384585 h 1657213"/>
                  <a:gd name="connsiteX162" fmla="*/ 746125 w 1281084"/>
                  <a:gd name="connsiteY162" fmla="*/ 1403635 h 1657213"/>
                  <a:gd name="connsiteX163" fmla="*/ 739775 w 1281084"/>
                  <a:gd name="connsiteY163" fmla="*/ 1413160 h 1657213"/>
                  <a:gd name="connsiteX164" fmla="*/ 736600 w 1281084"/>
                  <a:gd name="connsiteY164" fmla="*/ 1422685 h 1657213"/>
                  <a:gd name="connsiteX165" fmla="*/ 727075 w 1281084"/>
                  <a:gd name="connsiteY165" fmla="*/ 1425860 h 1657213"/>
                  <a:gd name="connsiteX166" fmla="*/ 717550 w 1281084"/>
                  <a:gd name="connsiteY166" fmla="*/ 1432210 h 1657213"/>
                  <a:gd name="connsiteX167" fmla="*/ 688975 w 1281084"/>
                  <a:gd name="connsiteY167" fmla="*/ 1438560 h 1657213"/>
                  <a:gd name="connsiteX168" fmla="*/ 669925 w 1281084"/>
                  <a:gd name="connsiteY168" fmla="*/ 1444910 h 1657213"/>
                  <a:gd name="connsiteX169" fmla="*/ 666750 w 1281084"/>
                  <a:gd name="connsiteY169" fmla="*/ 1454435 h 1657213"/>
                  <a:gd name="connsiteX170" fmla="*/ 663575 w 1281084"/>
                  <a:gd name="connsiteY170" fmla="*/ 1470310 h 1657213"/>
                  <a:gd name="connsiteX171" fmla="*/ 654050 w 1281084"/>
                  <a:gd name="connsiteY171" fmla="*/ 1476660 h 1657213"/>
                  <a:gd name="connsiteX172" fmla="*/ 635000 w 1281084"/>
                  <a:gd name="connsiteY172" fmla="*/ 1479835 h 1657213"/>
                  <a:gd name="connsiteX173" fmla="*/ 619125 w 1281084"/>
                  <a:gd name="connsiteY173" fmla="*/ 1483010 h 1657213"/>
                  <a:gd name="connsiteX174" fmla="*/ 609600 w 1281084"/>
                  <a:gd name="connsiteY174" fmla="*/ 1489360 h 1657213"/>
                  <a:gd name="connsiteX175" fmla="*/ 590550 w 1281084"/>
                  <a:gd name="connsiteY175" fmla="*/ 1495710 h 1657213"/>
                  <a:gd name="connsiteX176" fmla="*/ 581025 w 1281084"/>
                  <a:gd name="connsiteY176" fmla="*/ 1502060 h 1657213"/>
                  <a:gd name="connsiteX177" fmla="*/ 584200 w 1281084"/>
                  <a:gd name="connsiteY177" fmla="*/ 1511585 h 1657213"/>
                  <a:gd name="connsiteX178" fmla="*/ 600075 w 1281084"/>
                  <a:gd name="connsiteY178" fmla="*/ 1514760 h 1657213"/>
                  <a:gd name="connsiteX179" fmla="*/ 612775 w 1281084"/>
                  <a:gd name="connsiteY179" fmla="*/ 1517935 h 1657213"/>
                  <a:gd name="connsiteX180" fmla="*/ 631825 w 1281084"/>
                  <a:gd name="connsiteY180" fmla="*/ 1524285 h 1657213"/>
                  <a:gd name="connsiteX181" fmla="*/ 631825 w 1281084"/>
                  <a:gd name="connsiteY181" fmla="*/ 1597310 h 1657213"/>
                  <a:gd name="connsiteX182" fmla="*/ 619125 w 1281084"/>
                  <a:gd name="connsiteY182" fmla="*/ 1616360 h 1657213"/>
                  <a:gd name="connsiteX183" fmla="*/ 647700 w 1281084"/>
                  <a:gd name="connsiteY183" fmla="*/ 1632235 h 1657213"/>
                  <a:gd name="connsiteX184" fmla="*/ 657225 w 1281084"/>
                  <a:gd name="connsiteY184" fmla="*/ 1638585 h 1657213"/>
                  <a:gd name="connsiteX185" fmla="*/ 654050 w 1281084"/>
                  <a:gd name="connsiteY185" fmla="*/ 1651285 h 1657213"/>
                  <a:gd name="connsiteX186" fmla="*/ 600075 w 1281084"/>
                  <a:gd name="connsiteY186" fmla="*/ 1641760 h 1657213"/>
                  <a:gd name="connsiteX187" fmla="*/ 584200 w 1281084"/>
                  <a:gd name="connsiteY187" fmla="*/ 1638585 h 1657213"/>
                  <a:gd name="connsiteX188" fmla="*/ 565150 w 1281084"/>
                  <a:gd name="connsiteY188" fmla="*/ 1629060 h 1657213"/>
                  <a:gd name="connsiteX189" fmla="*/ 549275 w 1281084"/>
                  <a:gd name="connsiteY189" fmla="*/ 1584610 h 1657213"/>
                  <a:gd name="connsiteX190" fmla="*/ 542925 w 1281084"/>
                  <a:gd name="connsiteY190" fmla="*/ 1565560 h 1657213"/>
                  <a:gd name="connsiteX191" fmla="*/ 539750 w 1281084"/>
                  <a:gd name="connsiteY191" fmla="*/ 1556035 h 1657213"/>
                  <a:gd name="connsiteX192" fmla="*/ 546100 w 1281084"/>
                  <a:gd name="connsiteY192" fmla="*/ 1517935 h 1657213"/>
                  <a:gd name="connsiteX193" fmla="*/ 552450 w 1281084"/>
                  <a:gd name="connsiteY193" fmla="*/ 1489360 h 1657213"/>
                  <a:gd name="connsiteX194" fmla="*/ 555625 w 1281084"/>
                  <a:gd name="connsiteY194" fmla="*/ 1473485 h 1657213"/>
                  <a:gd name="connsiteX195" fmla="*/ 552450 w 1281084"/>
                  <a:gd name="connsiteY195" fmla="*/ 1454435 h 1657213"/>
                  <a:gd name="connsiteX196" fmla="*/ 542925 w 1281084"/>
                  <a:gd name="connsiteY196" fmla="*/ 1425860 h 1657213"/>
                  <a:gd name="connsiteX197" fmla="*/ 539750 w 1281084"/>
                  <a:gd name="connsiteY197" fmla="*/ 1416335 h 1657213"/>
                  <a:gd name="connsiteX198" fmla="*/ 536575 w 1281084"/>
                  <a:gd name="connsiteY198" fmla="*/ 1397285 h 1657213"/>
                  <a:gd name="connsiteX199" fmla="*/ 517525 w 1281084"/>
                  <a:gd name="connsiteY199" fmla="*/ 1390935 h 1657213"/>
                  <a:gd name="connsiteX200" fmla="*/ 508000 w 1281084"/>
                  <a:gd name="connsiteY200" fmla="*/ 1384585 h 1657213"/>
                  <a:gd name="connsiteX201" fmla="*/ 498475 w 1281084"/>
                  <a:gd name="connsiteY201" fmla="*/ 1381410 h 1657213"/>
                  <a:gd name="connsiteX202" fmla="*/ 488950 w 1281084"/>
                  <a:gd name="connsiteY202" fmla="*/ 1371885 h 1657213"/>
                  <a:gd name="connsiteX203" fmla="*/ 479425 w 1281084"/>
                  <a:gd name="connsiteY203" fmla="*/ 1340135 h 1657213"/>
                  <a:gd name="connsiteX204" fmla="*/ 476250 w 1281084"/>
                  <a:gd name="connsiteY204" fmla="*/ 1330610 h 1657213"/>
                  <a:gd name="connsiteX205" fmla="*/ 466725 w 1281084"/>
                  <a:gd name="connsiteY205" fmla="*/ 1321085 h 1657213"/>
                  <a:gd name="connsiteX206" fmla="*/ 450850 w 1281084"/>
                  <a:gd name="connsiteY206" fmla="*/ 1302035 h 1657213"/>
                  <a:gd name="connsiteX207" fmla="*/ 441325 w 1281084"/>
                  <a:gd name="connsiteY207" fmla="*/ 1298860 h 1657213"/>
                  <a:gd name="connsiteX208" fmla="*/ 431800 w 1281084"/>
                  <a:gd name="connsiteY208" fmla="*/ 1292510 h 1657213"/>
                  <a:gd name="connsiteX209" fmla="*/ 412750 w 1281084"/>
                  <a:gd name="connsiteY209" fmla="*/ 1286160 h 1657213"/>
                  <a:gd name="connsiteX210" fmla="*/ 403225 w 1281084"/>
                  <a:gd name="connsiteY210" fmla="*/ 1279810 h 1657213"/>
                  <a:gd name="connsiteX211" fmla="*/ 374650 w 1281084"/>
                  <a:gd name="connsiteY211" fmla="*/ 1267110 h 1657213"/>
                  <a:gd name="connsiteX212" fmla="*/ 371475 w 1281084"/>
                  <a:gd name="connsiteY212" fmla="*/ 1257585 h 1657213"/>
                  <a:gd name="connsiteX213" fmla="*/ 365125 w 1281084"/>
                  <a:gd name="connsiteY213" fmla="*/ 1213135 h 1657213"/>
                  <a:gd name="connsiteX214" fmla="*/ 358775 w 1281084"/>
                  <a:gd name="connsiteY214" fmla="*/ 1194085 h 1657213"/>
                  <a:gd name="connsiteX215" fmla="*/ 349250 w 1281084"/>
                  <a:gd name="connsiteY215" fmla="*/ 1165510 h 1657213"/>
                  <a:gd name="connsiteX216" fmla="*/ 346075 w 1281084"/>
                  <a:gd name="connsiteY216" fmla="*/ 1155985 h 1657213"/>
                  <a:gd name="connsiteX217" fmla="*/ 349250 w 1281084"/>
                  <a:gd name="connsiteY217" fmla="*/ 1140110 h 1657213"/>
                  <a:gd name="connsiteX218" fmla="*/ 355600 w 1281084"/>
                  <a:gd name="connsiteY218" fmla="*/ 1121060 h 1657213"/>
                  <a:gd name="connsiteX219" fmla="*/ 352425 w 1281084"/>
                  <a:gd name="connsiteY219" fmla="*/ 1089310 h 1657213"/>
                  <a:gd name="connsiteX220" fmla="*/ 346075 w 1281084"/>
                  <a:gd name="connsiteY220" fmla="*/ 1079785 h 1657213"/>
                  <a:gd name="connsiteX221" fmla="*/ 320675 w 1281084"/>
                  <a:gd name="connsiteY221" fmla="*/ 1082960 h 1657213"/>
                  <a:gd name="connsiteX222" fmla="*/ 307975 w 1281084"/>
                  <a:gd name="connsiteY222" fmla="*/ 1102010 h 1657213"/>
                  <a:gd name="connsiteX223" fmla="*/ 301625 w 1281084"/>
                  <a:gd name="connsiteY223" fmla="*/ 1111535 h 1657213"/>
                  <a:gd name="connsiteX224" fmla="*/ 292100 w 1281084"/>
                  <a:gd name="connsiteY224" fmla="*/ 1114710 h 1657213"/>
                  <a:gd name="connsiteX225" fmla="*/ 273050 w 1281084"/>
                  <a:gd name="connsiteY225" fmla="*/ 1111535 h 1657213"/>
                  <a:gd name="connsiteX226" fmla="*/ 269875 w 1281084"/>
                  <a:gd name="connsiteY226" fmla="*/ 1102010 h 1657213"/>
                  <a:gd name="connsiteX227" fmla="*/ 282575 w 1281084"/>
                  <a:gd name="connsiteY227" fmla="*/ 1082960 h 1657213"/>
                  <a:gd name="connsiteX228" fmla="*/ 292100 w 1281084"/>
                  <a:gd name="connsiteY228" fmla="*/ 1054385 h 1657213"/>
                  <a:gd name="connsiteX229" fmla="*/ 295275 w 1281084"/>
                  <a:gd name="connsiteY229" fmla="*/ 1044860 h 1657213"/>
                  <a:gd name="connsiteX230" fmla="*/ 298450 w 1281084"/>
                  <a:gd name="connsiteY230" fmla="*/ 1035335 h 1657213"/>
                  <a:gd name="connsiteX231" fmla="*/ 301625 w 1281084"/>
                  <a:gd name="connsiteY231" fmla="*/ 997235 h 1657213"/>
                  <a:gd name="connsiteX232" fmla="*/ 301625 w 1281084"/>
                  <a:gd name="connsiteY232" fmla="*/ 924210 h 1657213"/>
                  <a:gd name="connsiteX233" fmla="*/ 292100 w 1281084"/>
                  <a:gd name="connsiteY233" fmla="*/ 917860 h 1657213"/>
                  <a:gd name="connsiteX234" fmla="*/ 273050 w 1281084"/>
                  <a:gd name="connsiteY234" fmla="*/ 911510 h 1657213"/>
                  <a:gd name="connsiteX235" fmla="*/ 196850 w 1281084"/>
                  <a:gd name="connsiteY235" fmla="*/ 914685 h 1657213"/>
                  <a:gd name="connsiteX236" fmla="*/ 177800 w 1281084"/>
                  <a:gd name="connsiteY236" fmla="*/ 924210 h 1657213"/>
                  <a:gd name="connsiteX237" fmla="*/ 139700 w 1281084"/>
                  <a:gd name="connsiteY237" fmla="*/ 933735 h 1657213"/>
                  <a:gd name="connsiteX238" fmla="*/ 47625 w 1281084"/>
                  <a:gd name="connsiteY238" fmla="*/ 927385 h 1657213"/>
                  <a:gd name="connsiteX239" fmla="*/ 28575 w 1281084"/>
                  <a:gd name="connsiteY239" fmla="*/ 921035 h 1657213"/>
                  <a:gd name="connsiteX240" fmla="*/ 19050 w 1281084"/>
                  <a:gd name="connsiteY240" fmla="*/ 917860 h 1657213"/>
                  <a:gd name="connsiteX241" fmla="*/ 9525 w 1281084"/>
                  <a:gd name="connsiteY241" fmla="*/ 914685 h 1657213"/>
                  <a:gd name="connsiteX242" fmla="*/ 6350 w 1281084"/>
                  <a:gd name="connsiteY242" fmla="*/ 886110 h 1657213"/>
                  <a:gd name="connsiteX243" fmla="*/ 3175 w 1281084"/>
                  <a:gd name="connsiteY243" fmla="*/ 870235 h 1657213"/>
                  <a:gd name="connsiteX244" fmla="*/ 0 w 1281084"/>
                  <a:gd name="connsiteY244" fmla="*/ 844835 h 1657213"/>
                  <a:gd name="connsiteX245" fmla="*/ 3175 w 1281084"/>
                  <a:gd name="connsiteY245" fmla="*/ 825785 h 1657213"/>
                  <a:gd name="connsiteX246" fmla="*/ 22225 w 1281084"/>
                  <a:gd name="connsiteY246" fmla="*/ 813085 h 1657213"/>
                  <a:gd name="connsiteX247" fmla="*/ 31750 w 1281084"/>
                  <a:gd name="connsiteY247" fmla="*/ 806735 h 1657213"/>
                  <a:gd name="connsiteX248" fmla="*/ 50800 w 1281084"/>
                  <a:gd name="connsiteY248" fmla="*/ 800385 h 1657213"/>
                  <a:gd name="connsiteX249" fmla="*/ 60325 w 1281084"/>
                  <a:gd name="connsiteY249" fmla="*/ 781335 h 1657213"/>
                  <a:gd name="connsiteX250" fmla="*/ 69850 w 1281084"/>
                  <a:gd name="connsiteY250" fmla="*/ 774985 h 1657213"/>
                  <a:gd name="connsiteX251" fmla="*/ 82550 w 1281084"/>
                  <a:gd name="connsiteY251" fmla="*/ 746410 h 1657213"/>
                  <a:gd name="connsiteX252" fmla="*/ 85725 w 1281084"/>
                  <a:gd name="connsiteY252" fmla="*/ 724185 h 16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281084" h="1657213">
                    <a:moveTo>
                      <a:pt x="85725" y="724185"/>
                    </a:moveTo>
                    <a:cubicBezTo>
                      <a:pt x="95779" y="719952"/>
                      <a:pt x="106765" y="716496"/>
                      <a:pt x="142875" y="721010"/>
                    </a:cubicBezTo>
                    <a:cubicBezTo>
                      <a:pt x="164710" y="735566"/>
                      <a:pt x="154685" y="736123"/>
                      <a:pt x="171450" y="730535"/>
                    </a:cubicBezTo>
                    <a:cubicBezTo>
                      <a:pt x="175683" y="724185"/>
                      <a:pt x="183203" y="719058"/>
                      <a:pt x="184150" y="711485"/>
                    </a:cubicBezTo>
                    <a:cubicBezTo>
                      <a:pt x="185208" y="703018"/>
                      <a:pt x="186118" y="694532"/>
                      <a:pt x="187325" y="686085"/>
                    </a:cubicBezTo>
                    <a:cubicBezTo>
                      <a:pt x="188021" y="681214"/>
                      <a:pt x="190039" y="664055"/>
                      <a:pt x="193675" y="657510"/>
                    </a:cubicBezTo>
                    <a:cubicBezTo>
                      <a:pt x="197381" y="650839"/>
                      <a:pt x="200025" y="642693"/>
                      <a:pt x="206375" y="638460"/>
                    </a:cubicBezTo>
                    <a:lnTo>
                      <a:pt x="215900" y="632110"/>
                    </a:lnTo>
                    <a:cubicBezTo>
                      <a:pt x="219111" y="627294"/>
                      <a:pt x="225425" y="619633"/>
                      <a:pt x="225425" y="613060"/>
                    </a:cubicBezTo>
                    <a:cubicBezTo>
                      <a:pt x="225425" y="608998"/>
                      <a:pt x="220107" y="583297"/>
                      <a:pt x="219075" y="578135"/>
                    </a:cubicBezTo>
                    <a:cubicBezTo>
                      <a:pt x="220133" y="567552"/>
                      <a:pt x="219122" y="556551"/>
                      <a:pt x="222250" y="546385"/>
                    </a:cubicBezTo>
                    <a:cubicBezTo>
                      <a:pt x="223570" y="542093"/>
                      <a:pt x="229018" y="540404"/>
                      <a:pt x="231775" y="536860"/>
                    </a:cubicBezTo>
                    <a:cubicBezTo>
                      <a:pt x="235986" y="531445"/>
                      <a:pt x="245538" y="512986"/>
                      <a:pt x="254000" y="508285"/>
                    </a:cubicBezTo>
                    <a:cubicBezTo>
                      <a:pt x="259851" y="505034"/>
                      <a:pt x="266700" y="504052"/>
                      <a:pt x="273050" y="501935"/>
                    </a:cubicBezTo>
                    <a:lnTo>
                      <a:pt x="292100" y="495585"/>
                    </a:lnTo>
                    <a:lnTo>
                      <a:pt x="301625" y="492410"/>
                    </a:lnTo>
                    <a:lnTo>
                      <a:pt x="311150" y="489235"/>
                    </a:lnTo>
                    <a:cubicBezTo>
                      <a:pt x="313267" y="486060"/>
                      <a:pt x="316160" y="483283"/>
                      <a:pt x="317500" y="479710"/>
                    </a:cubicBezTo>
                    <a:cubicBezTo>
                      <a:pt x="321301" y="469575"/>
                      <a:pt x="323234" y="453694"/>
                      <a:pt x="314325" y="444785"/>
                    </a:cubicBezTo>
                    <a:lnTo>
                      <a:pt x="304800" y="435260"/>
                    </a:lnTo>
                    <a:cubicBezTo>
                      <a:pt x="303742" y="432085"/>
                      <a:pt x="301625" y="429082"/>
                      <a:pt x="301625" y="425735"/>
                    </a:cubicBezTo>
                    <a:cubicBezTo>
                      <a:pt x="301625" y="417202"/>
                      <a:pt x="303503" y="408768"/>
                      <a:pt x="304800" y="400335"/>
                    </a:cubicBezTo>
                    <a:cubicBezTo>
                      <a:pt x="307364" y="383666"/>
                      <a:pt x="308654" y="382423"/>
                      <a:pt x="314325" y="365410"/>
                    </a:cubicBezTo>
                    <a:cubicBezTo>
                      <a:pt x="316055" y="360220"/>
                      <a:pt x="318667" y="349599"/>
                      <a:pt x="323850" y="346360"/>
                    </a:cubicBezTo>
                    <a:cubicBezTo>
                      <a:pt x="329003" y="343139"/>
                      <a:pt x="348165" y="338694"/>
                      <a:pt x="355600" y="336835"/>
                    </a:cubicBezTo>
                    <a:cubicBezTo>
                      <a:pt x="377435" y="322279"/>
                      <a:pt x="367410" y="326548"/>
                      <a:pt x="384175" y="320960"/>
                    </a:cubicBezTo>
                    <a:cubicBezTo>
                      <a:pt x="387350" y="317785"/>
                      <a:pt x="390251" y="314310"/>
                      <a:pt x="393700" y="311435"/>
                    </a:cubicBezTo>
                    <a:cubicBezTo>
                      <a:pt x="396631" y="308992"/>
                      <a:pt x="400527" y="307783"/>
                      <a:pt x="403225" y="305085"/>
                    </a:cubicBezTo>
                    <a:cubicBezTo>
                      <a:pt x="406967" y="301343"/>
                      <a:pt x="409575" y="296618"/>
                      <a:pt x="412750" y="292385"/>
                    </a:cubicBezTo>
                    <a:cubicBezTo>
                      <a:pt x="413808" y="289210"/>
                      <a:pt x="415113" y="286107"/>
                      <a:pt x="415925" y="282860"/>
                    </a:cubicBezTo>
                    <a:cubicBezTo>
                      <a:pt x="419279" y="269446"/>
                      <a:pt x="420124" y="258738"/>
                      <a:pt x="422275" y="244760"/>
                    </a:cubicBezTo>
                    <a:cubicBezTo>
                      <a:pt x="423254" y="238397"/>
                      <a:pt x="424392" y="232060"/>
                      <a:pt x="425450" y="225710"/>
                    </a:cubicBezTo>
                    <a:cubicBezTo>
                      <a:pt x="430927" y="143561"/>
                      <a:pt x="425146" y="212264"/>
                      <a:pt x="434975" y="133635"/>
                    </a:cubicBezTo>
                    <a:cubicBezTo>
                      <a:pt x="436348" y="122650"/>
                      <a:pt x="438709" y="100956"/>
                      <a:pt x="441325" y="89185"/>
                    </a:cubicBezTo>
                    <a:cubicBezTo>
                      <a:pt x="442051" y="85918"/>
                      <a:pt x="443774" y="82927"/>
                      <a:pt x="444500" y="79660"/>
                    </a:cubicBezTo>
                    <a:cubicBezTo>
                      <a:pt x="445897" y="73376"/>
                      <a:pt x="446278" y="66894"/>
                      <a:pt x="447675" y="60610"/>
                    </a:cubicBezTo>
                    <a:cubicBezTo>
                      <a:pt x="448401" y="57343"/>
                      <a:pt x="448483" y="53452"/>
                      <a:pt x="450850" y="51085"/>
                    </a:cubicBezTo>
                    <a:cubicBezTo>
                      <a:pt x="461767" y="40168"/>
                      <a:pt x="467447" y="39203"/>
                      <a:pt x="479425" y="35210"/>
                    </a:cubicBezTo>
                    <a:cubicBezTo>
                      <a:pt x="482007" y="27463"/>
                      <a:pt x="482795" y="22315"/>
                      <a:pt x="488950" y="16160"/>
                    </a:cubicBezTo>
                    <a:cubicBezTo>
                      <a:pt x="491648" y="13462"/>
                      <a:pt x="495300" y="11927"/>
                      <a:pt x="498475" y="9810"/>
                    </a:cubicBezTo>
                    <a:cubicBezTo>
                      <a:pt x="500592" y="6635"/>
                      <a:pt x="501123" y="1210"/>
                      <a:pt x="504825" y="285"/>
                    </a:cubicBezTo>
                    <a:cubicBezTo>
                      <a:pt x="511211" y="-1312"/>
                      <a:pt x="526068" y="4191"/>
                      <a:pt x="533400" y="6635"/>
                    </a:cubicBezTo>
                    <a:cubicBezTo>
                      <a:pt x="538692" y="5577"/>
                      <a:pt x="544040" y="4769"/>
                      <a:pt x="549275" y="3460"/>
                    </a:cubicBezTo>
                    <a:cubicBezTo>
                      <a:pt x="552522" y="2648"/>
                      <a:pt x="555453" y="285"/>
                      <a:pt x="558800" y="285"/>
                    </a:cubicBezTo>
                    <a:cubicBezTo>
                      <a:pt x="582107" y="285"/>
                      <a:pt x="605367" y="2402"/>
                      <a:pt x="628650" y="3460"/>
                    </a:cubicBezTo>
                    <a:cubicBezTo>
                      <a:pt x="656711" y="31521"/>
                      <a:pt x="638751" y="23256"/>
                      <a:pt x="685800" y="19335"/>
                    </a:cubicBezTo>
                    <a:cubicBezTo>
                      <a:pt x="692150" y="17218"/>
                      <a:pt x="699281" y="16698"/>
                      <a:pt x="704850" y="12985"/>
                    </a:cubicBezTo>
                    <a:cubicBezTo>
                      <a:pt x="711395" y="8622"/>
                      <a:pt x="715811" y="4471"/>
                      <a:pt x="723900" y="3460"/>
                    </a:cubicBezTo>
                    <a:cubicBezTo>
                      <a:pt x="737592" y="1748"/>
                      <a:pt x="751417" y="1343"/>
                      <a:pt x="765175" y="285"/>
                    </a:cubicBezTo>
                    <a:cubicBezTo>
                      <a:pt x="782108" y="1343"/>
                      <a:pt x="799102" y="1684"/>
                      <a:pt x="815975" y="3460"/>
                    </a:cubicBezTo>
                    <a:cubicBezTo>
                      <a:pt x="819303" y="3810"/>
                      <a:pt x="822574" y="5010"/>
                      <a:pt x="825500" y="6635"/>
                    </a:cubicBezTo>
                    <a:cubicBezTo>
                      <a:pt x="832171" y="10341"/>
                      <a:pt x="839154" y="13939"/>
                      <a:pt x="844550" y="19335"/>
                    </a:cubicBezTo>
                    <a:cubicBezTo>
                      <a:pt x="847725" y="22510"/>
                      <a:pt x="851200" y="25411"/>
                      <a:pt x="854075" y="28860"/>
                    </a:cubicBezTo>
                    <a:cubicBezTo>
                      <a:pt x="856518" y="31791"/>
                      <a:pt x="857727" y="35687"/>
                      <a:pt x="860425" y="38385"/>
                    </a:cubicBezTo>
                    <a:cubicBezTo>
                      <a:pt x="866580" y="44540"/>
                      <a:pt x="871728" y="45328"/>
                      <a:pt x="879475" y="47910"/>
                    </a:cubicBezTo>
                    <a:cubicBezTo>
                      <a:pt x="882650" y="51085"/>
                      <a:pt x="885551" y="54560"/>
                      <a:pt x="889000" y="57435"/>
                    </a:cubicBezTo>
                    <a:cubicBezTo>
                      <a:pt x="891931" y="59878"/>
                      <a:pt x="895827" y="61087"/>
                      <a:pt x="898525" y="63785"/>
                    </a:cubicBezTo>
                    <a:cubicBezTo>
                      <a:pt x="902267" y="67527"/>
                      <a:pt x="904875" y="72252"/>
                      <a:pt x="908050" y="76485"/>
                    </a:cubicBezTo>
                    <a:cubicBezTo>
                      <a:pt x="915496" y="98823"/>
                      <a:pt x="905805" y="71247"/>
                      <a:pt x="917575" y="98710"/>
                    </a:cubicBezTo>
                    <a:cubicBezTo>
                      <a:pt x="918893" y="101786"/>
                      <a:pt x="919125" y="105309"/>
                      <a:pt x="920750" y="108235"/>
                    </a:cubicBezTo>
                    <a:cubicBezTo>
                      <a:pt x="924456" y="114906"/>
                      <a:pt x="929217" y="120935"/>
                      <a:pt x="933450" y="127285"/>
                    </a:cubicBezTo>
                    <a:cubicBezTo>
                      <a:pt x="935567" y="130460"/>
                      <a:pt x="936098" y="135885"/>
                      <a:pt x="939800" y="136810"/>
                    </a:cubicBezTo>
                    <a:cubicBezTo>
                      <a:pt x="958994" y="141608"/>
                      <a:pt x="948360" y="138605"/>
                      <a:pt x="971550" y="146335"/>
                    </a:cubicBezTo>
                    <a:lnTo>
                      <a:pt x="981075" y="149510"/>
                    </a:lnTo>
                    <a:cubicBezTo>
                      <a:pt x="983192" y="152685"/>
                      <a:pt x="986952" y="155249"/>
                      <a:pt x="987425" y="159035"/>
                    </a:cubicBezTo>
                    <a:cubicBezTo>
                      <a:pt x="989470" y="175396"/>
                      <a:pt x="981267" y="180742"/>
                      <a:pt x="965200" y="181260"/>
                    </a:cubicBezTo>
                    <a:lnTo>
                      <a:pt x="866775" y="184435"/>
                    </a:lnTo>
                    <a:lnTo>
                      <a:pt x="847725" y="190785"/>
                    </a:lnTo>
                    <a:lnTo>
                      <a:pt x="838200" y="193960"/>
                    </a:lnTo>
                    <a:cubicBezTo>
                      <a:pt x="837142" y="197135"/>
                      <a:pt x="835025" y="200138"/>
                      <a:pt x="835025" y="203485"/>
                    </a:cubicBezTo>
                    <a:cubicBezTo>
                      <a:pt x="835025" y="229070"/>
                      <a:pt x="854473" y="217437"/>
                      <a:pt x="879475" y="219360"/>
                    </a:cubicBezTo>
                    <a:cubicBezTo>
                      <a:pt x="882650" y="220418"/>
                      <a:pt x="887055" y="219812"/>
                      <a:pt x="889000" y="222535"/>
                    </a:cubicBezTo>
                    <a:cubicBezTo>
                      <a:pt x="892891" y="227982"/>
                      <a:pt x="895350" y="241585"/>
                      <a:pt x="895350" y="241585"/>
                    </a:cubicBezTo>
                    <a:cubicBezTo>
                      <a:pt x="894292" y="244760"/>
                      <a:pt x="894266" y="248497"/>
                      <a:pt x="892175" y="251110"/>
                    </a:cubicBezTo>
                    <a:cubicBezTo>
                      <a:pt x="887699" y="256705"/>
                      <a:pt x="879400" y="258543"/>
                      <a:pt x="873125" y="260635"/>
                    </a:cubicBezTo>
                    <a:cubicBezTo>
                      <a:pt x="872067" y="263810"/>
                      <a:pt x="869950" y="266813"/>
                      <a:pt x="869950" y="270160"/>
                    </a:cubicBezTo>
                    <a:cubicBezTo>
                      <a:pt x="869950" y="277644"/>
                      <a:pt x="868531" y="286478"/>
                      <a:pt x="873125" y="292385"/>
                    </a:cubicBezTo>
                    <a:cubicBezTo>
                      <a:pt x="876872" y="297202"/>
                      <a:pt x="906164" y="301067"/>
                      <a:pt x="911225" y="301910"/>
                    </a:cubicBezTo>
                    <a:cubicBezTo>
                      <a:pt x="914400" y="304027"/>
                      <a:pt x="917337" y="306553"/>
                      <a:pt x="920750" y="308260"/>
                    </a:cubicBezTo>
                    <a:cubicBezTo>
                      <a:pt x="923743" y="309757"/>
                      <a:pt x="927490" y="309579"/>
                      <a:pt x="930275" y="311435"/>
                    </a:cubicBezTo>
                    <a:cubicBezTo>
                      <a:pt x="934011" y="313926"/>
                      <a:pt x="936625" y="317785"/>
                      <a:pt x="939800" y="320960"/>
                    </a:cubicBezTo>
                    <a:lnTo>
                      <a:pt x="946150" y="340010"/>
                    </a:lnTo>
                    <a:cubicBezTo>
                      <a:pt x="947208" y="343185"/>
                      <a:pt x="946540" y="347679"/>
                      <a:pt x="949325" y="349535"/>
                    </a:cubicBezTo>
                    <a:lnTo>
                      <a:pt x="958850" y="355885"/>
                    </a:lnTo>
                    <a:cubicBezTo>
                      <a:pt x="959908" y="359060"/>
                      <a:pt x="960528" y="362417"/>
                      <a:pt x="962025" y="365410"/>
                    </a:cubicBezTo>
                    <a:cubicBezTo>
                      <a:pt x="963732" y="368823"/>
                      <a:pt x="966872" y="371428"/>
                      <a:pt x="968375" y="374935"/>
                    </a:cubicBezTo>
                    <a:cubicBezTo>
                      <a:pt x="970094" y="378946"/>
                      <a:pt x="970351" y="383439"/>
                      <a:pt x="971550" y="387635"/>
                    </a:cubicBezTo>
                    <a:cubicBezTo>
                      <a:pt x="972469" y="390853"/>
                      <a:pt x="973806" y="393942"/>
                      <a:pt x="974725" y="397160"/>
                    </a:cubicBezTo>
                    <a:cubicBezTo>
                      <a:pt x="976081" y="401907"/>
                      <a:pt x="978537" y="414310"/>
                      <a:pt x="981075" y="419385"/>
                    </a:cubicBezTo>
                    <a:cubicBezTo>
                      <a:pt x="987882" y="433000"/>
                      <a:pt x="987119" y="425796"/>
                      <a:pt x="996950" y="438435"/>
                    </a:cubicBezTo>
                    <a:cubicBezTo>
                      <a:pt x="1001635" y="444459"/>
                      <a:pt x="1005417" y="451135"/>
                      <a:pt x="1009650" y="457485"/>
                    </a:cubicBezTo>
                    <a:cubicBezTo>
                      <a:pt x="1011767" y="460660"/>
                      <a:pt x="1013302" y="464312"/>
                      <a:pt x="1016000" y="467010"/>
                    </a:cubicBezTo>
                    <a:lnTo>
                      <a:pt x="1025525" y="476535"/>
                    </a:lnTo>
                    <a:cubicBezTo>
                      <a:pt x="1033505" y="500476"/>
                      <a:pt x="1022740" y="470966"/>
                      <a:pt x="1035050" y="495585"/>
                    </a:cubicBezTo>
                    <a:cubicBezTo>
                      <a:pt x="1036547" y="498578"/>
                      <a:pt x="1036134" y="502497"/>
                      <a:pt x="1038225" y="505110"/>
                    </a:cubicBezTo>
                    <a:cubicBezTo>
                      <a:pt x="1040609" y="508090"/>
                      <a:pt x="1044575" y="509343"/>
                      <a:pt x="1047750" y="511460"/>
                    </a:cubicBezTo>
                    <a:cubicBezTo>
                      <a:pt x="1051983" y="517810"/>
                      <a:pt x="1067690" y="528097"/>
                      <a:pt x="1060450" y="530510"/>
                    </a:cubicBezTo>
                    <a:lnTo>
                      <a:pt x="1041400" y="536860"/>
                    </a:lnTo>
                    <a:lnTo>
                      <a:pt x="1031875" y="540035"/>
                    </a:lnTo>
                    <a:cubicBezTo>
                      <a:pt x="1027642" y="546385"/>
                      <a:pt x="1021588" y="551845"/>
                      <a:pt x="1019175" y="559085"/>
                    </a:cubicBezTo>
                    <a:lnTo>
                      <a:pt x="1012825" y="578135"/>
                    </a:lnTo>
                    <a:cubicBezTo>
                      <a:pt x="1015102" y="616842"/>
                      <a:pt x="1011908" y="619377"/>
                      <a:pt x="1019175" y="644810"/>
                    </a:cubicBezTo>
                    <a:cubicBezTo>
                      <a:pt x="1020094" y="648028"/>
                      <a:pt x="1020295" y="651693"/>
                      <a:pt x="1022350" y="654335"/>
                    </a:cubicBezTo>
                    <a:cubicBezTo>
                      <a:pt x="1027863" y="661424"/>
                      <a:pt x="1036419" y="665913"/>
                      <a:pt x="1041400" y="673385"/>
                    </a:cubicBezTo>
                    <a:cubicBezTo>
                      <a:pt x="1043517" y="676560"/>
                      <a:pt x="1044878" y="680397"/>
                      <a:pt x="1047750" y="682910"/>
                    </a:cubicBezTo>
                    <a:cubicBezTo>
                      <a:pt x="1053493" y="687936"/>
                      <a:pt x="1061404" y="690214"/>
                      <a:pt x="1066800" y="695610"/>
                    </a:cubicBezTo>
                    <a:cubicBezTo>
                      <a:pt x="1069975" y="698785"/>
                      <a:pt x="1072916" y="702213"/>
                      <a:pt x="1076325" y="705135"/>
                    </a:cubicBezTo>
                    <a:cubicBezTo>
                      <a:pt x="1080343" y="708579"/>
                      <a:pt x="1084719" y="711584"/>
                      <a:pt x="1089025" y="714660"/>
                    </a:cubicBezTo>
                    <a:cubicBezTo>
                      <a:pt x="1092130" y="716878"/>
                      <a:pt x="1095619" y="718567"/>
                      <a:pt x="1098550" y="721010"/>
                    </a:cubicBezTo>
                    <a:cubicBezTo>
                      <a:pt x="1109508" y="730142"/>
                      <a:pt x="1111076" y="737885"/>
                      <a:pt x="1127125" y="743235"/>
                    </a:cubicBezTo>
                    <a:cubicBezTo>
                      <a:pt x="1133475" y="745352"/>
                      <a:pt x="1140606" y="745872"/>
                      <a:pt x="1146175" y="749585"/>
                    </a:cubicBezTo>
                    <a:cubicBezTo>
                      <a:pt x="1149350" y="751702"/>
                      <a:pt x="1152045" y="754839"/>
                      <a:pt x="1155700" y="755935"/>
                    </a:cubicBezTo>
                    <a:cubicBezTo>
                      <a:pt x="1162868" y="758085"/>
                      <a:pt x="1170517" y="758052"/>
                      <a:pt x="1177925" y="759110"/>
                    </a:cubicBezTo>
                    <a:cubicBezTo>
                      <a:pt x="1186392" y="764754"/>
                      <a:pt x="1190393" y="766523"/>
                      <a:pt x="1196975" y="774985"/>
                    </a:cubicBezTo>
                    <a:cubicBezTo>
                      <a:pt x="1201660" y="781009"/>
                      <a:pt x="1205442" y="787685"/>
                      <a:pt x="1209675" y="794035"/>
                    </a:cubicBezTo>
                    <a:cubicBezTo>
                      <a:pt x="1211792" y="797210"/>
                      <a:pt x="1213327" y="800862"/>
                      <a:pt x="1216025" y="803560"/>
                    </a:cubicBezTo>
                    <a:cubicBezTo>
                      <a:pt x="1219200" y="806735"/>
                      <a:pt x="1222141" y="810163"/>
                      <a:pt x="1225550" y="813085"/>
                    </a:cubicBezTo>
                    <a:cubicBezTo>
                      <a:pt x="1226813" y="814167"/>
                      <a:pt x="1244296" y="827414"/>
                      <a:pt x="1247775" y="828960"/>
                    </a:cubicBezTo>
                    <a:cubicBezTo>
                      <a:pt x="1253892" y="831678"/>
                      <a:pt x="1266825" y="835310"/>
                      <a:pt x="1266825" y="835310"/>
                    </a:cubicBezTo>
                    <a:cubicBezTo>
                      <a:pt x="1271058" y="841660"/>
                      <a:pt x="1285875" y="850127"/>
                      <a:pt x="1279525" y="854360"/>
                    </a:cubicBezTo>
                    <a:cubicBezTo>
                      <a:pt x="1276350" y="856477"/>
                      <a:pt x="1273655" y="859614"/>
                      <a:pt x="1270000" y="860710"/>
                    </a:cubicBezTo>
                    <a:cubicBezTo>
                      <a:pt x="1262832" y="862860"/>
                      <a:pt x="1255157" y="862655"/>
                      <a:pt x="1247775" y="863885"/>
                    </a:cubicBezTo>
                    <a:cubicBezTo>
                      <a:pt x="1242452" y="864772"/>
                      <a:pt x="1237135" y="865751"/>
                      <a:pt x="1231900" y="867060"/>
                    </a:cubicBezTo>
                    <a:cubicBezTo>
                      <a:pt x="1188715" y="877856"/>
                      <a:pt x="1259411" y="861065"/>
                      <a:pt x="1212850" y="876585"/>
                    </a:cubicBezTo>
                    <a:cubicBezTo>
                      <a:pt x="1199821" y="880928"/>
                      <a:pt x="1146556" y="882910"/>
                      <a:pt x="1146175" y="882935"/>
                    </a:cubicBezTo>
                    <a:cubicBezTo>
                      <a:pt x="1113313" y="881002"/>
                      <a:pt x="1101919" y="889447"/>
                      <a:pt x="1082675" y="873410"/>
                    </a:cubicBezTo>
                    <a:cubicBezTo>
                      <a:pt x="1079226" y="870535"/>
                      <a:pt x="1076694" y="866642"/>
                      <a:pt x="1073150" y="863885"/>
                    </a:cubicBezTo>
                    <a:cubicBezTo>
                      <a:pt x="1067126" y="859200"/>
                      <a:pt x="1061340" y="853598"/>
                      <a:pt x="1054100" y="851185"/>
                    </a:cubicBezTo>
                    <a:lnTo>
                      <a:pt x="1035050" y="844835"/>
                    </a:lnTo>
                    <a:cubicBezTo>
                      <a:pt x="1031875" y="845893"/>
                      <a:pt x="1027892" y="845643"/>
                      <a:pt x="1025525" y="848010"/>
                    </a:cubicBezTo>
                    <a:cubicBezTo>
                      <a:pt x="1024007" y="849528"/>
                      <a:pt x="1019202" y="870125"/>
                      <a:pt x="1019175" y="870235"/>
                    </a:cubicBezTo>
                    <a:cubicBezTo>
                      <a:pt x="1018117" y="881877"/>
                      <a:pt x="1025128" y="897858"/>
                      <a:pt x="1016000" y="905160"/>
                    </a:cubicBezTo>
                    <a:cubicBezTo>
                      <a:pt x="1004401" y="914439"/>
                      <a:pt x="986178" y="905754"/>
                      <a:pt x="971550" y="908335"/>
                    </a:cubicBezTo>
                    <a:cubicBezTo>
                      <a:pt x="967792" y="908998"/>
                      <a:pt x="965130" y="912467"/>
                      <a:pt x="962025" y="914685"/>
                    </a:cubicBezTo>
                    <a:cubicBezTo>
                      <a:pt x="934458" y="934376"/>
                      <a:pt x="962248" y="915595"/>
                      <a:pt x="939800" y="930560"/>
                    </a:cubicBezTo>
                    <a:cubicBezTo>
                      <a:pt x="932627" y="952079"/>
                      <a:pt x="940747" y="925827"/>
                      <a:pt x="933450" y="962310"/>
                    </a:cubicBezTo>
                    <a:cubicBezTo>
                      <a:pt x="932794" y="965592"/>
                      <a:pt x="931194" y="968617"/>
                      <a:pt x="930275" y="971835"/>
                    </a:cubicBezTo>
                    <a:cubicBezTo>
                      <a:pt x="929076" y="976031"/>
                      <a:pt x="928047" y="980275"/>
                      <a:pt x="927100" y="984535"/>
                    </a:cubicBezTo>
                    <a:cubicBezTo>
                      <a:pt x="926566" y="986939"/>
                      <a:pt x="923587" y="1005680"/>
                      <a:pt x="920750" y="1009935"/>
                    </a:cubicBezTo>
                    <a:cubicBezTo>
                      <a:pt x="911722" y="1023477"/>
                      <a:pt x="913350" y="1016810"/>
                      <a:pt x="901700" y="1022635"/>
                    </a:cubicBezTo>
                    <a:cubicBezTo>
                      <a:pt x="898287" y="1024342"/>
                      <a:pt x="895350" y="1026868"/>
                      <a:pt x="892175" y="1028985"/>
                    </a:cubicBezTo>
                    <a:cubicBezTo>
                      <a:pt x="890058" y="1032160"/>
                      <a:pt x="887375" y="1035023"/>
                      <a:pt x="885825" y="1038510"/>
                    </a:cubicBezTo>
                    <a:cubicBezTo>
                      <a:pt x="883107" y="1044627"/>
                      <a:pt x="879475" y="1057560"/>
                      <a:pt x="879475" y="1057560"/>
                    </a:cubicBezTo>
                    <a:cubicBezTo>
                      <a:pt x="880533" y="1067085"/>
                      <a:pt x="880770" y="1076737"/>
                      <a:pt x="882650" y="1086135"/>
                    </a:cubicBezTo>
                    <a:cubicBezTo>
                      <a:pt x="883963" y="1092699"/>
                      <a:pt x="886883" y="1098835"/>
                      <a:pt x="889000" y="1105185"/>
                    </a:cubicBezTo>
                    <a:lnTo>
                      <a:pt x="892175" y="1114710"/>
                    </a:lnTo>
                    <a:cubicBezTo>
                      <a:pt x="895082" y="1149595"/>
                      <a:pt x="893660" y="1145104"/>
                      <a:pt x="898525" y="1171860"/>
                    </a:cubicBezTo>
                    <a:cubicBezTo>
                      <a:pt x="899490" y="1177169"/>
                      <a:pt x="900280" y="1182529"/>
                      <a:pt x="901700" y="1187735"/>
                    </a:cubicBezTo>
                    <a:lnTo>
                      <a:pt x="911225" y="1216310"/>
                    </a:lnTo>
                    <a:lnTo>
                      <a:pt x="914400" y="1225835"/>
                    </a:lnTo>
                    <a:lnTo>
                      <a:pt x="917575" y="1235360"/>
                    </a:lnTo>
                    <a:cubicBezTo>
                      <a:pt x="916517" y="1243827"/>
                      <a:pt x="917569" y="1252838"/>
                      <a:pt x="914400" y="1260760"/>
                    </a:cubicBezTo>
                    <a:cubicBezTo>
                      <a:pt x="912125" y="1266447"/>
                      <a:pt x="899694" y="1268113"/>
                      <a:pt x="895350" y="1270285"/>
                    </a:cubicBezTo>
                    <a:cubicBezTo>
                      <a:pt x="891937" y="1271992"/>
                      <a:pt x="889238" y="1274928"/>
                      <a:pt x="885825" y="1276635"/>
                    </a:cubicBezTo>
                    <a:cubicBezTo>
                      <a:pt x="859535" y="1289780"/>
                      <a:pt x="894072" y="1267962"/>
                      <a:pt x="866775" y="1286160"/>
                    </a:cubicBezTo>
                    <a:cubicBezTo>
                      <a:pt x="864658" y="1289335"/>
                      <a:pt x="863123" y="1292987"/>
                      <a:pt x="860425" y="1295685"/>
                    </a:cubicBezTo>
                    <a:cubicBezTo>
                      <a:pt x="853681" y="1302429"/>
                      <a:pt x="849638" y="1302111"/>
                      <a:pt x="841375" y="1305210"/>
                    </a:cubicBezTo>
                    <a:cubicBezTo>
                      <a:pt x="836039" y="1307211"/>
                      <a:pt x="830503" y="1308831"/>
                      <a:pt x="825500" y="1311560"/>
                    </a:cubicBezTo>
                    <a:cubicBezTo>
                      <a:pt x="808790" y="1320674"/>
                      <a:pt x="808271" y="1322439"/>
                      <a:pt x="796925" y="1333785"/>
                    </a:cubicBezTo>
                    <a:cubicBezTo>
                      <a:pt x="795312" y="1345077"/>
                      <a:pt x="796830" y="1357284"/>
                      <a:pt x="787400" y="1365535"/>
                    </a:cubicBezTo>
                    <a:cubicBezTo>
                      <a:pt x="781657" y="1370561"/>
                      <a:pt x="774700" y="1374002"/>
                      <a:pt x="768350" y="1378235"/>
                    </a:cubicBezTo>
                    <a:lnTo>
                      <a:pt x="758825" y="1384585"/>
                    </a:lnTo>
                    <a:lnTo>
                      <a:pt x="746125" y="1403635"/>
                    </a:lnTo>
                    <a:cubicBezTo>
                      <a:pt x="744008" y="1406810"/>
                      <a:pt x="740982" y="1409540"/>
                      <a:pt x="739775" y="1413160"/>
                    </a:cubicBezTo>
                    <a:cubicBezTo>
                      <a:pt x="738717" y="1416335"/>
                      <a:pt x="738967" y="1420318"/>
                      <a:pt x="736600" y="1422685"/>
                    </a:cubicBezTo>
                    <a:cubicBezTo>
                      <a:pt x="734233" y="1425052"/>
                      <a:pt x="730068" y="1424363"/>
                      <a:pt x="727075" y="1425860"/>
                    </a:cubicBezTo>
                    <a:cubicBezTo>
                      <a:pt x="723662" y="1427567"/>
                      <a:pt x="720963" y="1430503"/>
                      <a:pt x="717550" y="1432210"/>
                    </a:cubicBezTo>
                    <a:cubicBezTo>
                      <a:pt x="708466" y="1436752"/>
                      <a:pt x="698730" y="1436121"/>
                      <a:pt x="688975" y="1438560"/>
                    </a:cubicBezTo>
                    <a:cubicBezTo>
                      <a:pt x="682481" y="1440183"/>
                      <a:pt x="669925" y="1444910"/>
                      <a:pt x="669925" y="1444910"/>
                    </a:cubicBezTo>
                    <a:cubicBezTo>
                      <a:pt x="668867" y="1448085"/>
                      <a:pt x="667562" y="1451188"/>
                      <a:pt x="666750" y="1454435"/>
                    </a:cubicBezTo>
                    <a:cubicBezTo>
                      <a:pt x="665441" y="1459670"/>
                      <a:pt x="666252" y="1465625"/>
                      <a:pt x="663575" y="1470310"/>
                    </a:cubicBezTo>
                    <a:cubicBezTo>
                      <a:pt x="661682" y="1473623"/>
                      <a:pt x="657670" y="1475453"/>
                      <a:pt x="654050" y="1476660"/>
                    </a:cubicBezTo>
                    <a:cubicBezTo>
                      <a:pt x="647943" y="1478696"/>
                      <a:pt x="641334" y="1478683"/>
                      <a:pt x="635000" y="1479835"/>
                    </a:cubicBezTo>
                    <a:cubicBezTo>
                      <a:pt x="629691" y="1480800"/>
                      <a:pt x="624417" y="1481952"/>
                      <a:pt x="619125" y="1483010"/>
                    </a:cubicBezTo>
                    <a:cubicBezTo>
                      <a:pt x="615950" y="1485127"/>
                      <a:pt x="613087" y="1487810"/>
                      <a:pt x="609600" y="1489360"/>
                    </a:cubicBezTo>
                    <a:cubicBezTo>
                      <a:pt x="603483" y="1492078"/>
                      <a:pt x="596119" y="1491997"/>
                      <a:pt x="590550" y="1495710"/>
                    </a:cubicBezTo>
                    <a:lnTo>
                      <a:pt x="581025" y="1502060"/>
                    </a:lnTo>
                    <a:cubicBezTo>
                      <a:pt x="582083" y="1505235"/>
                      <a:pt x="581415" y="1509729"/>
                      <a:pt x="584200" y="1511585"/>
                    </a:cubicBezTo>
                    <a:cubicBezTo>
                      <a:pt x="588690" y="1514578"/>
                      <a:pt x="594807" y="1513589"/>
                      <a:pt x="600075" y="1514760"/>
                    </a:cubicBezTo>
                    <a:cubicBezTo>
                      <a:pt x="604335" y="1515707"/>
                      <a:pt x="608595" y="1516681"/>
                      <a:pt x="612775" y="1517935"/>
                    </a:cubicBezTo>
                    <a:cubicBezTo>
                      <a:pt x="619186" y="1519858"/>
                      <a:pt x="631825" y="1524285"/>
                      <a:pt x="631825" y="1524285"/>
                    </a:cubicBezTo>
                    <a:cubicBezTo>
                      <a:pt x="640749" y="1551058"/>
                      <a:pt x="641199" y="1548564"/>
                      <a:pt x="631825" y="1597310"/>
                    </a:cubicBezTo>
                    <a:cubicBezTo>
                      <a:pt x="630384" y="1604804"/>
                      <a:pt x="619125" y="1616360"/>
                      <a:pt x="619125" y="1616360"/>
                    </a:cubicBezTo>
                    <a:cubicBezTo>
                      <a:pt x="635890" y="1621948"/>
                      <a:pt x="625865" y="1617679"/>
                      <a:pt x="647700" y="1632235"/>
                    </a:cubicBezTo>
                    <a:lnTo>
                      <a:pt x="657225" y="1638585"/>
                    </a:lnTo>
                    <a:cubicBezTo>
                      <a:pt x="656167" y="1642818"/>
                      <a:pt x="658329" y="1650429"/>
                      <a:pt x="654050" y="1651285"/>
                    </a:cubicBezTo>
                    <a:cubicBezTo>
                      <a:pt x="585360" y="1665023"/>
                      <a:pt x="627209" y="1651935"/>
                      <a:pt x="600075" y="1641760"/>
                    </a:cubicBezTo>
                    <a:cubicBezTo>
                      <a:pt x="595022" y="1639865"/>
                      <a:pt x="589435" y="1639894"/>
                      <a:pt x="584200" y="1638585"/>
                    </a:cubicBezTo>
                    <a:cubicBezTo>
                      <a:pt x="573684" y="1635956"/>
                      <a:pt x="574462" y="1635268"/>
                      <a:pt x="565150" y="1629060"/>
                    </a:cubicBezTo>
                    <a:cubicBezTo>
                      <a:pt x="543836" y="1597090"/>
                      <a:pt x="557735" y="1624091"/>
                      <a:pt x="549275" y="1584610"/>
                    </a:cubicBezTo>
                    <a:cubicBezTo>
                      <a:pt x="547873" y="1578065"/>
                      <a:pt x="545042" y="1571910"/>
                      <a:pt x="542925" y="1565560"/>
                    </a:cubicBezTo>
                    <a:lnTo>
                      <a:pt x="539750" y="1556035"/>
                    </a:lnTo>
                    <a:cubicBezTo>
                      <a:pt x="541867" y="1543335"/>
                      <a:pt x="543575" y="1530560"/>
                      <a:pt x="546100" y="1517935"/>
                    </a:cubicBezTo>
                    <a:cubicBezTo>
                      <a:pt x="555676" y="1470055"/>
                      <a:pt x="543482" y="1529715"/>
                      <a:pt x="552450" y="1489360"/>
                    </a:cubicBezTo>
                    <a:cubicBezTo>
                      <a:pt x="553621" y="1484092"/>
                      <a:pt x="554567" y="1478777"/>
                      <a:pt x="555625" y="1473485"/>
                    </a:cubicBezTo>
                    <a:cubicBezTo>
                      <a:pt x="554567" y="1467135"/>
                      <a:pt x="554011" y="1460680"/>
                      <a:pt x="552450" y="1454435"/>
                    </a:cubicBezTo>
                    <a:lnTo>
                      <a:pt x="542925" y="1425860"/>
                    </a:lnTo>
                    <a:cubicBezTo>
                      <a:pt x="541867" y="1422685"/>
                      <a:pt x="540300" y="1419636"/>
                      <a:pt x="539750" y="1416335"/>
                    </a:cubicBezTo>
                    <a:cubicBezTo>
                      <a:pt x="538692" y="1409985"/>
                      <a:pt x="540814" y="1402130"/>
                      <a:pt x="536575" y="1397285"/>
                    </a:cubicBezTo>
                    <a:cubicBezTo>
                      <a:pt x="532167" y="1392248"/>
                      <a:pt x="523094" y="1394648"/>
                      <a:pt x="517525" y="1390935"/>
                    </a:cubicBezTo>
                    <a:cubicBezTo>
                      <a:pt x="514350" y="1388818"/>
                      <a:pt x="511413" y="1386292"/>
                      <a:pt x="508000" y="1384585"/>
                    </a:cubicBezTo>
                    <a:cubicBezTo>
                      <a:pt x="505007" y="1383088"/>
                      <a:pt x="501650" y="1382468"/>
                      <a:pt x="498475" y="1381410"/>
                    </a:cubicBezTo>
                    <a:cubicBezTo>
                      <a:pt x="495300" y="1378235"/>
                      <a:pt x="491131" y="1375810"/>
                      <a:pt x="488950" y="1371885"/>
                    </a:cubicBezTo>
                    <a:cubicBezTo>
                      <a:pt x="484512" y="1363896"/>
                      <a:pt x="482078" y="1349419"/>
                      <a:pt x="479425" y="1340135"/>
                    </a:cubicBezTo>
                    <a:cubicBezTo>
                      <a:pt x="478506" y="1336917"/>
                      <a:pt x="478106" y="1333395"/>
                      <a:pt x="476250" y="1330610"/>
                    </a:cubicBezTo>
                    <a:cubicBezTo>
                      <a:pt x="473759" y="1326874"/>
                      <a:pt x="469600" y="1324534"/>
                      <a:pt x="466725" y="1321085"/>
                    </a:cubicBezTo>
                    <a:cubicBezTo>
                      <a:pt x="459404" y="1312300"/>
                      <a:pt x="461285" y="1308992"/>
                      <a:pt x="450850" y="1302035"/>
                    </a:cubicBezTo>
                    <a:cubicBezTo>
                      <a:pt x="448065" y="1300179"/>
                      <a:pt x="444318" y="1300357"/>
                      <a:pt x="441325" y="1298860"/>
                    </a:cubicBezTo>
                    <a:cubicBezTo>
                      <a:pt x="437912" y="1297153"/>
                      <a:pt x="435287" y="1294060"/>
                      <a:pt x="431800" y="1292510"/>
                    </a:cubicBezTo>
                    <a:cubicBezTo>
                      <a:pt x="425683" y="1289792"/>
                      <a:pt x="418319" y="1289873"/>
                      <a:pt x="412750" y="1286160"/>
                    </a:cubicBezTo>
                    <a:cubicBezTo>
                      <a:pt x="409575" y="1284043"/>
                      <a:pt x="406712" y="1281360"/>
                      <a:pt x="403225" y="1279810"/>
                    </a:cubicBezTo>
                    <a:cubicBezTo>
                      <a:pt x="369220" y="1264697"/>
                      <a:pt x="396206" y="1281481"/>
                      <a:pt x="374650" y="1267110"/>
                    </a:cubicBezTo>
                    <a:cubicBezTo>
                      <a:pt x="373592" y="1263935"/>
                      <a:pt x="372074" y="1260878"/>
                      <a:pt x="371475" y="1257585"/>
                    </a:cubicBezTo>
                    <a:cubicBezTo>
                      <a:pt x="368969" y="1243802"/>
                      <a:pt x="368596" y="1227017"/>
                      <a:pt x="365125" y="1213135"/>
                    </a:cubicBezTo>
                    <a:cubicBezTo>
                      <a:pt x="363502" y="1206641"/>
                      <a:pt x="360892" y="1200435"/>
                      <a:pt x="358775" y="1194085"/>
                    </a:cubicBezTo>
                    <a:lnTo>
                      <a:pt x="349250" y="1165510"/>
                    </a:lnTo>
                    <a:lnTo>
                      <a:pt x="346075" y="1155985"/>
                    </a:lnTo>
                    <a:cubicBezTo>
                      <a:pt x="347133" y="1150693"/>
                      <a:pt x="347830" y="1145316"/>
                      <a:pt x="349250" y="1140110"/>
                    </a:cubicBezTo>
                    <a:cubicBezTo>
                      <a:pt x="351011" y="1133652"/>
                      <a:pt x="355600" y="1121060"/>
                      <a:pt x="355600" y="1121060"/>
                    </a:cubicBezTo>
                    <a:cubicBezTo>
                      <a:pt x="354542" y="1110477"/>
                      <a:pt x="354817" y="1099674"/>
                      <a:pt x="352425" y="1089310"/>
                    </a:cubicBezTo>
                    <a:cubicBezTo>
                      <a:pt x="351567" y="1085592"/>
                      <a:pt x="349817" y="1080533"/>
                      <a:pt x="346075" y="1079785"/>
                    </a:cubicBezTo>
                    <a:cubicBezTo>
                      <a:pt x="337708" y="1078112"/>
                      <a:pt x="329142" y="1081902"/>
                      <a:pt x="320675" y="1082960"/>
                    </a:cubicBezTo>
                    <a:lnTo>
                      <a:pt x="307975" y="1102010"/>
                    </a:lnTo>
                    <a:cubicBezTo>
                      <a:pt x="305858" y="1105185"/>
                      <a:pt x="305245" y="1110328"/>
                      <a:pt x="301625" y="1111535"/>
                    </a:cubicBezTo>
                    <a:lnTo>
                      <a:pt x="292100" y="1114710"/>
                    </a:lnTo>
                    <a:cubicBezTo>
                      <a:pt x="285750" y="1113652"/>
                      <a:pt x="278639" y="1114729"/>
                      <a:pt x="273050" y="1111535"/>
                    </a:cubicBezTo>
                    <a:cubicBezTo>
                      <a:pt x="270144" y="1109875"/>
                      <a:pt x="269875" y="1105357"/>
                      <a:pt x="269875" y="1102010"/>
                    </a:cubicBezTo>
                    <a:cubicBezTo>
                      <a:pt x="269875" y="1092820"/>
                      <a:pt x="276848" y="1088687"/>
                      <a:pt x="282575" y="1082960"/>
                    </a:cubicBezTo>
                    <a:lnTo>
                      <a:pt x="292100" y="1054385"/>
                    </a:lnTo>
                    <a:lnTo>
                      <a:pt x="295275" y="1044860"/>
                    </a:lnTo>
                    <a:lnTo>
                      <a:pt x="298450" y="1035335"/>
                    </a:lnTo>
                    <a:cubicBezTo>
                      <a:pt x="299508" y="1022635"/>
                      <a:pt x="300136" y="1009892"/>
                      <a:pt x="301625" y="997235"/>
                    </a:cubicBezTo>
                    <a:cubicBezTo>
                      <a:pt x="305802" y="961728"/>
                      <a:pt x="314785" y="990010"/>
                      <a:pt x="301625" y="924210"/>
                    </a:cubicBezTo>
                    <a:cubicBezTo>
                      <a:pt x="300877" y="920468"/>
                      <a:pt x="295587" y="919410"/>
                      <a:pt x="292100" y="917860"/>
                    </a:cubicBezTo>
                    <a:cubicBezTo>
                      <a:pt x="285983" y="915142"/>
                      <a:pt x="273050" y="911510"/>
                      <a:pt x="273050" y="911510"/>
                    </a:cubicBezTo>
                    <a:cubicBezTo>
                      <a:pt x="247650" y="912568"/>
                      <a:pt x="222203" y="912807"/>
                      <a:pt x="196850" y="914685"/>
                    </a:cubicBezTo>
                    <a:cubicBezTo>
                      <a:pt x="186429" y="915457"/>
                      <a:pt x="187004" y="920119"/>
                      <a:pt x="177800" y="924210"/>
                    </a:cubicBezTo>
                    <a:cubicBezTo>
                      <a:pt x="162706" y="930919"/>
                      <a:pt x="155674" y="931073"/>
                      <a:pt x="139700" y="933735"/>
                    </a:cubicBezTo>
                    <a:cubicBezTo>
                      <a:pt x="131677" y="933334"/>
                      <a:pt x="67848" y="931430"/>
                      <a:pt x="47625" y="927385"/>
                    </a:cubicBezTo>
                    <a:cubicBezTo>
                      <a:pt x="41061" y="926072"/>
                      <a:pt x="34925" y="923152"/>
                      <a:pt x="28575" y="921035"/>
                    </a:cubicBezTo>
                    <a:lnTo>
                      <a:pt x="19050" y="917860"/>
                    </a:lnTo>
                    <a:lnTo>
                      <a:pt x="9525" y="914685"/>
                    </a:lnTo>
                    <a:cubicBezTo>
                      <a:pt x="8467" y="905160"/>
                      <a:pt x="7705" y="895597"/>
                      <a:pt x="6350" y="886110"/>
                    </a:cubicBezTo>
                    <a:cubicBezTo>
                      <a:pt x="5587" y="880768"/>
                      <a:pt x="3996" y="875569"/>
                      <a:pt x="3175" y="870235"/>
                    </a:cubicBezTo>
                    <a:cubicBezTo>
                      <a:pt x="1878" y="861802"/>
                      <a:pt x="1058" y="853302"/>
                      <a:pt x="0" y="844835"/>
                    </a:cubicBezTo>
                    <a:cubicBezTo>
                      <a:pt x="1058" y="838485"/>
                      <a:pt x="-517" y="831059"/>
                      <a:pt x="3175" y="825785"/>
                    </a:cubicBezTo>
                    <a:cubicBezTo>
                      <a:pt x="7552" y="819533"/>
                      <a:pt x="15875" y="817318"/>
                      <a:pt x="22225" y="813085"/>
                    </a:cubicBezTo>
                    <a:cubicBezTo>
                      <a:pt x="25400" y="810968"/>
                      <a:pt x="28130" y="807942"/>
                      <a:pt x="31750" y="806735"/>
                    </a:cubicBezTo>
                    <a:lnTo>
                      <a:pt x="50800" y="800385"/>
                    </a:lnTo>
                    <a:cubicBezTo>
                      <a:pt x="53382" y="792638"/>
                      <a:pt x="54170" y="787490"/>
                      <a:pt x="60325" y="781335"/>
                    </a:cubicBezTo>
                    <a:cubicBezTo>
                      <a:pt x="63023" y="778637"/>
                      <a:pt x="66675" y="777102"/>
                      <a:pt x="69850" y="774985"/>
                    </a:cubicBezTo>
                    <a:cubicBezTo>
                      <a:pt x="75642" y="757610"/>
                      <a:pt x="73493" y="758485"/>
                      <a:pt x="82550" y="746410"/>
                    </a:cubicBezTo>
                    <a:cubicBezTo>
                      <a:pt x="83448" y="745213"/>
                      <a:pt x="75671" y="728418"/>
                      <a:pt x="85725" y="72418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5" name="Freeform 254"/>
              <p:cNvSpPr/>
              <p:nvPr/>
            </p:nvSpPr>
            <p:spPr>
              <a:xfrm>
                <a:off x="4059917" y="5050517"/>
                <a:ext cx="189990" cy="149225"/>
              </a:xfrm>
              <a:custGeom>
                <a:avLst/>
                <a:gdLst>
                  <a:gd name="connsiteX0" fmla="*/ 0 w 189990"/>
                  <a:gd name="connsiteY0" fmla="*/ 63500 h 149225"/>
                  <a:gd name="connsiteX1" fmla="*/ 22225 w 189990"/>
                  <a:gd name="connsiteY1" fmla="*/ 28575 h 149225"/>
                  <a:gd name="connsiteX2" fmla="*/ 38100 w 189990"/>
                  <a:gd name="connsiteY2" fmla="*/ 9525 h 149225"/>
                  <a:gd name="connsiteX3" fmla="*/ 60325 w 189990"/>
                  <a:gd name="connsiteY3" fmla="*/ 6350 h 149225"/>
                  <a:gd name="connsiteX4" fmla="*/ 85725 w 189990"/>
                  <a:gd name="connsiteY4" fmla="*/ 0 h 149225"/>
                  <a:gd name="connsiteX5" fmla="*/ 107950 w 189990"/>
                  <a:gd name="connsiteY5" fmla="*/ 3175 h 149225"/>
                  <a:gd name="connsiteX6" fmla="*/ 114300 w 189990"/>
                  <a:gd name="connsiteY6" fmla="*/ 12700 h 149225"/>
                  <a:gd name="connsiteX7" fmla="*/ 123825 w 189990"/>
                  <a:gd name="connsiteY7" fmla="*/ 41275 h 149225"/>
                  <a:gd name="connsiteX8" fmla="*/ 136525 w 189990"/>
                  <a:gd name="connsiteY8" fmla="*/ 57150 h 149225"/>
                  <a:gd name="connsiteX9" fmla="*/ 184150 w 189990"/>
                  <a:gd name="connsiteY9" fmla="*/ 60325 h 149225"/>
                  <a:gd name="connsiteX10" fmla="*/ 184150 w 189990"/>
                  <a:gd name="connsiteY10" fmla="*/ 136525 h 149225"/>
                  <a:gd name="connsiteX11" fmla="*/ 171450 w 189990"/>
                  <a:gd name="connsiteY11" fmla="*/ 149225 h 149225"/>
                  <a:gd name="connsiteX12" fmla="*/ 155575 w 189990"/>
                  <a:gd name="connsiteY12" fmla="*/ 146050 h 149225"/>
                  <a:gd name="connsiteX13" fmla="*/ 146050 w 189990"/>
                  <a:gd name="connsiteY13" fmla="*/ 127000 h 149225"/>
                  <a:gd name="connsiteX14" fmla="*/ 136525 w 189990"/>
                  <a:gd name="connsiteY14" fmla="*/ 120650 h 149225"/>
                  <a:gd name="connsiteX15" fmla="*/ 117475 w 189990"/>
                  <a:gd name="connsiteY15" fmla="*/ 114300 h 149225"/>
                  <a:gd name="connsiteX16" fmla="*/ 107950 w 189990"/>
                  <a:gd name="connsiteY16" fmla="*/ 107950 h 149225"/>
                  <a:gd name="connsiteX17" fmla="*/ 98425 w 189990"/>
                  <a:gd name="connsiteY17" fmla="*/ 104775 h 149225"/>
                  <a:gd name="connsiteX18" fmla="*/ 79375 w 189990"/>
                  <a:gd name="connsiteY18" fmla="*/ 92075 h 149225"/>
                  <a:gd name="connsiteX19" fmla="*/ 69850 w 189990"/>
                  <a:gd name="connsiteY19" fmla="*/ 85725 h 149225"/>
                  <a:gd name="connsiteX20" fmla="*/ 50800 w 189990"/>
                  <a:gd name="connsiteY20" fmla="*/ 79375 h 149225"/>
                  <a:gd name="connsiteX21" fmla="*/ 31750 w 189990"/>
                  <a:gd name="connsiteY21" fmla="*/ 69850 h 149225"/>
                  <a:gd name="connsiteX22" fmla="*/ 22225 w 189990"/>
                  <a:gd name="connsiteY22" fmla="*/ 63500 h 149225"/>
                  <a:gd name="connsiteX23" fmla="*/ 0 w 189990"/>
                  <a:gd name="connsiteY23" fmla="*/ 63500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9990" h="149225">
                    <a:moveTo>
                      <a:pt x="0" y="63500"/>
                    </a:moveTo>
                    <a:cubicBezTo>
                      <a:pt x="0" y="57679"/>
                      <a:pt x="6102" y="52760"/>
                      <a:pt x="22225" y="28575"/>
                    </a:cubicBezTo>
                    <a:cubicBezTo>
                      <a:pt x="25400" y="23813"/>
                      <a:pt x="32544" y="11747"/>
                      <a:pt x="38100" y="9525"/>
                    </a:cubicBezTo>
                    <a:cubicBezTo>
                      <a:pt x="45048" y="6746"/>
                      <a:pt x="52917" y="7408"/>
                      <a:pt x="60325" y="6350"/>
                    </a:cubicBezTo>
                    <a:cubicBezTo>
                      <a:pt x="67841" y="3845"/>
                      <a:pt x="78062" y="0"/>
                      <a:pt x="85725" y="0"/>
                    </a:cubicBezTo>
                    <a:cubicBezTo>
                      <a:pt x="93209" y="0"/>
                      <a:pt x="100542" y="2117"/>
                      <a:pt x="107950" y="3175"/>
                    </a:cubicBezTo>
                    <a:cubicBezTo>
                      <a:pt x="110067" y="6350"/>
                      <a:pt x="112750" y="9213"/>
                      <a:pt x="114300" y="12700"/>
                    </a:cubicBezTo>
                    <a:lnTo>
                      <a:pt x="123825" y="41275"/>
                    </a:lnTo>
                    <a:cubicBezTo>
                      <a:pt x="126301" y="48704"/>
                      <a:pt x="126388" y="55460"/>
                      <a:pt x="136525" y="57150"/>
                    </a:cubicBezTo>
                    <a:cubicBezTo>
                      <a:pt x="152219" y="59766"/>
                      <a:pt x="168275" y="59267"/>
                      <a:pt x="184150" y="60325"/>
                    </a:cubicBezTo>
                    <a:cubicBezTo>
                      <a:pt x="194060" y="90056"/>
                      <a:pt x="189485" y="72509"/>
                      <a:pt x="184150" y="136525"/>
                    </a:cubicBezTo>
                    <a:cubicBezTo>
                      <a:pt x="183182" y="148136"/>
                      <a:pt x="180884" y="146080"/>
                      <a:pt x="171450" y="149225"/>
                    </a:cubicBezTo>
                    <a:cubicBezTo>
                      <a:pt x="166158" y="148167"/>
                      <a:pt x="160260" y="148727"/>
                      <a:pt x="155575" y="146050"/>
                    </a:cubicBezTo>
                    <a:cubicBezTo>
                      <a:pt x="145714" y="140415"/>
                      <a:pt x="151883" y="134291"/>
                      <a:pt x="146050" y="127000"/>
                    </a:cubicBezTo>
                    <a:cubicBezTo>
                      <a:pt x="143666" y="124020"/>
                      <a:pt x="140012" y="122200"/>
                      <a:pt x="136525" y="120650"/>
                    </a:cubicBezTo>
                    <a:cubicBezTo>
                      <a:pt x="130408" y="117932"/>
                      <a:pt x="123044" y="118013"/>
                      <a:pt x="117475" y="114300"/>
                    </a:cubicBezTo>
                    <a:cubicBezTo>
                      <a:pt x="114300" y="112183"/>
                      <a:pt x="111363" y="109657"/>
                      <a:pt x="107950" y="107950"/>
                    </a:cubicBezTo>
                    <a:cubicBezTo>
                      <a:pt x="104957" y="106453"/>
                      <a:pt x="101351" y="106400"/>
                      <a:pt x="98425" y="104775"/>
                    </a:cubicBezTo>
                    <a:cubicBezTo>
                      <a:pt x="91754" y="101069"/>
                      <a:pt x="85725" y="96308"/>
                      <a:pt x="79375" y="92075"/>
                    </a:cubicBezTo>
                    <a:cubicBezTo>
                      <a:pt x="76200" y="89958"/>
                      <a:pt x="73470" y="86932"/>
                      <a:pt x="69850" y="85725"/>
                    </a:cubicBezTo>
                    <a:cubicBezTo>
                      <a:pt x="63500" y="83608"/>
                      <a:pt x="56369" y="83088"/>
                      <a:pt x="50800" y="79375"/>
                    </a:cubicBezTo>
                    <a:cubicBezTo>
                      <a:pt x="23503" y="61177"/>
                      <a:pt x="58040" y="82995"/>
                      <a:pt x="31750" y="69850"/>
                    </a:cubicBezTo>
                    <a:cubicBezTo>
                      <a:pt x="28337" y="68143"/>
                      <a:pt x="25950" y="64328"/>
                      <a:pt x="22225" y="63500"/>
                    </a:cubicBezTo>
                    <a:cubicBezTo>
                      <a:pt x="16026" y="62122"/>
                      <a:pt x="0" y="69321"/>
                      <a:pt x="0" y="635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grpSp>
            <p:nvGrpSpPr>
              <p:cNvPr id="256" name="Group 255"/>
              <p:cNvGrpSpPr/>
              <p:nvPr/>
            </p:nvGrpSpPr>
            <p:grpSpPr>
              <a:xfrm>
                <a:off x="333775" y="1745563"/>
                <a:ext cx="3276600" cy="2882607"/>
                <a:chOff x="333775" y="1745563"/>
                <a:chExt cx="3276600" cy="2882607"/>
              </a:xfrm>
              <a:grpFill/>
            </p:grpSpPr>
            <p:sp>
              <p:nvSpPr>
                <p:cNvPr id="314" name="Freeform 313"/>
                <p:cNvSpPr/>
                <p:nvPr/>
              </p:nvSpPr>
              <p:spPr>
                <a:xfrm>
                  <a:off x="333775" y="1745563"/>
                  <a:ext cx="784225" cy="864101"/>
                </a:xfrm>
                <a:custGeom>
                  <a:avLst/>
                  <a:gdLst>
                    <a:gd name="connsiteX0" fmla="*/ 22225 w 784225"/>
                    <a:gd name="connsiteY0" fmla="*/ 3676 h 864101"/>
                    <a:gd name="connsiteX1" fmla="*/ 66675 w 784225"/>
                    <a:gd name="connsiteY1" fmla="*/ 6851 h 864101"/>
                    <a:gd name="connsiteX2" fmla="*/ 152400 w 784225"/>
                    <a:gd name="connsiteY2" fmla="*/ 13201 h 864101"/>
                    <a:gd name="connsiteX3" fmla="*/ 158750 w 784225"/>
                    <a:gd name="connsiteY3" fmla="*/ 22726 h 864101"/>
                    <a:gd name="connsiteX4" fmla="*/ 177800 w 784225"/>
                    <a:gd name="connsiteY4" fmla="*/ 35426 h 864101"/>
                    <a:gd name="connsiteX5" fmla="*/ 193675 w 784225"/>
                    <a:gd name="connsiteY5" fmla="*/ 48126 h 864101"/>
                    <a:gd name="connsiteX6" fmla="*/ 212725 w 784225"/>
                    <a:gd name="connsiteY6" fmla="*/ 60826 h 864101"/>
                    <a:gd name="connsiteX7" fmla="*/ 231775 w 784225"/>
                    <a:gd name="connsiteY7" fmla="*/ 67176 h 864101"/>
                    <a:gd name="connsiteX8" fmla="*/ 241300 w 784225"/>
                    <a:gd name="connsiteY8" fmla="*/ 73526 h 864101"/>
                    <a:gd name="connsiteX9" fmla="*/ 263525 w 784225"/>
                    <a:gd name="connsiteY9" fmla="*/ 79876 h 864101"/>
                    <a:gd name="connsiteX10" fmla="*/ 273050 w 784225"/>
                    <a:gd name="connsiteY10" fmla="*/ 83051 h 864101"/>
                    <a:gd name="connsiteX11" fmla="*/ 311150 w 784225"/>
                    <a:gd name="connsiteY11" fmla="*/ 89401 h 864101"/>
                    <a:gd name="connsiteX12" fmla="*/ 336550 w 784225"/>
                    <a:gd name="connsiteY12" fmla="*/ 92576 h 864101"/>
                    <a:gd name="connsiteX13" fmla="*/ 406400 w 784225"/>
                    <a:gd name="connsiteY13" fmla="*/ 98926 h 864101"/>
                    <a:gd name="connsiteX14" fmla="*/ 428625 w 784225"/>
                    <a:gd name="connsiteY14" fmla="*/ 105276 h 864101"/>
                    <a:gd name="connsiteX15" fmla="*/ 438150 w 784225"/>
                    <a:gd name="connsiteY15" fmla="*/ 111626 h 864101"/>
                    <a:gd name="connsiteX16" fmla="*/ 479425 w 784225"/>
                    <a:gd name="connsiteY16" fmla="*/ 117976 h 864101"/>
                    <a:gd name="connsiteX17" fmla="*/ 498475 w 784225"/>
                    <a:gd name="connsiteY17" fmla="*/ 124326 h 864101"/>
                    <a:gd name="connsiteX18" fmla="*/ 508000 w 784225"/>
                    <a:gd name="connsiteY18" fmla="*/ 127501 h 864101"/>
                    <a:gd name="connsiteX19" fmla="*/ 536575 w 784225"/>
                    <a:gd name="connsiteY19" fmla="*/ 124326 h 864101"/>
                    <a:gd name="connsiteX20" fmla="*/ 546100 w 784225"/>
                    <a:gd name="connsiteY20" fmla="*/ 121151 h 864101"/>
                    <a:gd name="connsiteX21" fmla="*/ 552450 w 784225"/>
                    <a:gd name="connsiteY21" fmla="*/ 111626 h 864101"/>
                    <a:gd name="connsiteX22" fmla="*/ 571500 w 784225"/>
                    <a:gd name="connsiteY22" fmla="*/ 105276 h 864101"/>
                    <a:gd name="connsiteX23" fmla="*/ 593725 w 784225"/>
                    <a:gd name="connsiteY23" fmla="*/ 111626 h 864101"/>
                    <a:gd name="connsiteX24" fmla="*/ 606425 w 784225"/>
                    <a:gd name="connsiteY24" fmla="*/ 130676 h 864101"/>
                    <a:gd name="connsiteX25" fmla="*/ 615950 w 784225"/>
                    <a:gd name="connsiteY25" fmla="*/ 140201 h 864101"/>
                    <a:gd name="connsiteX26" fmla="*/ 619125 w 784225"/>
                    <a:gd name="connsiteY26" fmla="*/ 149726 h 864101"/>
                    <a:gd name="connsiteX27" fmla="*/ 628650 w 784225"/>
                    <a:gd name="connsiteY27" fmla="*/ 152901 h 864101"/>
                    <a:gd name="connsiteX28" fmla="*/ 673100 w 784225"/>
                    <a:gd name="connsiteY28" fmla="*/ 156076 h 864101"/>
                    <a:gd name="connsiteX29" fmla="*/ 682625 w 784225"/>
                    <a:gd name="connsiteY29" fmla="*/ 165601 h 864101"/>
                    <a:gd name="connsiteX30" fmla="*/ 688975 w 784225"/>
                    <a:gd name="connsiteY30" fmla="*/ 200526 h 864101"/>
                    <a:gd name="connsiteX31" fmla="*/ 701675 w 784225"/>
                    <a:gd name="connsiteY31" fmla="*/ 229101 h 864101"/>
                    <a:gd name="connsiteX32" fmla="*/ 708025 w 784225"/>
                    <a:gd name="connsiteY32" fmla="*/ 241801 h 864101"/>
                    <a:gd name="connsiteX33" fmla="*/ 717550 w 784225"/>
                    <a:gd name="connsiteY33" fmla="*/ 248151 h 864101"/>
                    <a:gd name="connsiteX34" fmla="*/ 727075 w 784225"/>
                    <a:gd name="connsiteY34" fmla="*/ 267201 h 864101"/>
                    <a:gd name="connsiteX35" fmla="*/ 730250 w 784225"/>
                    <a:gd name="connsiteY35" fmla="*/ 276726 h 864101"/>
                    <a:gd name="connsiteX36" fmla="*/ 739775 w 784225"/>
                    <a:gd name="connsiteY36" fmla="*/ 279901 h 864101"/>
                    <a:gd name="connsiteX37" fmla="*/ 774700 w 784225"/>
                    <a:gd name="connsiteY37" fmla="*/ 286251 h 864101"/>
                    <a:gd name="connsiteX38" fmla="*/ 781050 w 784225"/>
                    <a:gd name="connsiteY38" fmla="*/ 308476 h 864101"/>
                    <a:gd name="connsiteX39" fmla="*/ 784225 w 784225"/>
                    <a:gd name="connsiteY39" fmla="*/ 340226 h 864101"/>
                    <a:gd name="connsiteX40" fmla="*/ 774700 w 784225"/>
                    <a:gd name="connsiteY40" fmla="*/ 346576 h 864101"/>
                    <a:gd name="connsiteX41" fmla="*/ 742950 w 784225"/>
                    <a:gd name="connsiteY41" fmla="*/ 349751 h 864101"/>
                    <a:gd name="connsiteX42" fmla="*/ 736600 w 784225"/>
                    <a:gd name="connsiteY42" fmla="*/ 368801 h 864101"/>
                    <a:gd name="connsiteX43" fmla="*/ 733425 w 784225"/>
                    <a:gd name="connsiteY43" fmla="*/ 378326 h 864101"/>
                    <a:gd name="connsiteX44" fmla="*/ 730250 w 784225"/>
                    <a:gd name="connsiteY44" fmla="*/ 387851 h 864101"/>
                    <a:gd name="connsiteX45" fmla="*/ 727075 w 784225"/>
                    <a:gd name="connsiteY45" fmla="*/ 400551 h 864101"/>
                    <a:gd name="connsiteX46" fmla="*/ 723900 w 784225"/>
                    <a:gd name="connsiteY46" fmla="*/ 410076 h 864101"/>
                    <a:gd name="connsiteX47" fmla="*/ 717550 w 784225"/>
                    <a:gd name="connsiteY47" fmla="*/ 438651 h 864101"/>
                    <a:gd name="connsiteX48" fmla="*/ 688975 w 784225"/>
                    <a:gd name="connsiteY48" fmla="*/ 454526 h 864101"/>
                    <a:gd name="connsiteX49" fmla="*/ 679450 w 784225"/>
                    <a:gd name="connsiteY49" fmla="*/ 457701 h 864101"/>
                    <a:gd name="connsiteX50" fmla="*/ 669925 w 784225"/>
                    <a:gd name="connsiteY50" fmla="*/ 460876 h 864101"/>
                    <a:gd name="connsiteX51" fmla="*/ 660400 w 784225"/>
                    <a:gd name="connsiteY51" fmla="*/ 464051 h 864101"/>
                    <a:gd name="connsiteX52" fmla="*/ 654050 w 784225"/>
                    <a:gd name="connsiteY52" fmla="*/ 483101 h 864101"/>
                    <a:gd name="connsiteX53" fmla="*/ 657225 w 784225"/>
                    <a:gd name="connsiteY53" fmla="*/ 495801 h 864101"/>
                    <a:gd name="connsiteX54" fmla="*/ 673100 w 784225"/>
                    <a:gd name="connsiteY54" fmla="*/ 514851 h 864101"/>
                    <a:gd name="connsiteX55" fmla="*/ 679450 w 784225"/>
                    <a:gd name="connsiteY55" fmla="*/ 581526 h 864101"/>
                    <a:gd name="connsiteX56" fmla="*/ 682625 w 784225"/>
                    <a:gd name="connsiteY56" fmla="*/ 591051 h 864101"/>
                    <a:gd name="connsiteX57" fmla="*/ 695325 w 784225"/>
                    <a:gd name="connsiteY57" fmla="*/ 635501 h 864101"/>
                    <a:gd name="connsiteX58" fmla="*/ 698500 w 784225"/>
                    <a:gd name="connsiteY58" fmla="*/ 645026 h 864101"/>
                    <a:gd name="connsiteX59" fmla="*/ 704850 w 784225"/>
                    <a:gd name="connsiteY59" fmla="*/ 667251 h 864101"/>
                    <a:gd name="connsiteX60" fmla="*/ 711200 w 784225"/>
                    <a:gd name="connsiteY60" fmla="*/ 676776 h 864101"/>
                    <a:gd name="connsiteX61" fmla="*/ 717550 w 784225"/>
                    <a:gd name="connsiteY61" fmla="*/ 695826 h 864101"/>
                    <a:gd name="connsiteX62" fmla="*/ 711200 w 784225"/>
                    <a:gd name="connsiteY62" fmla="*/ 759326 h 864101"/>
                    <a:gd name="connsiteX63" fmla="*/ 708025 w 784225"/>
                    <a:gd name="connsiteY63" fmla="*/ 768851 h 864101"/>
                    <a:gd name="connsiteX64" fmla="*/ 704850 w 784225"/>
                    <a:gd name="connsiteY64" fmla="*/ 841876 h 864101"/>
                    <a:gd name="connsiteX65" fmla="*/ 701675 w 784225"/>
                    <a:gd name="connsiteY65" fmla="*/ 854576 h 864101"/>
                    <a:gd name="connsiteX66" fmla="*/ 695325 w 784225"/>
                    <a:gd name="connsiteY66" fmla="*/ 864101 h 864101"/>
                    <a:gd name="connsiteX67" fmla="*/ 650875 w 784225"/>
                    <a:gd name="connsiteY67" fmla="*/ 851401 h 864101"/>
                    <a:gd name="connsiteX68" fmla="*/ 631825 w 784225"/>
                    <a:gd name="connsiteY68" fmla="*/ 838701 h 864101"/>
                    <a:gd name="connsiteX69" fmla="*/ 622300 w 784225"/>
                    <a:gd name="connsiteY69" fmla="*/ 832351 h 864101"/>
                    <a:gd name="connsiteX70" fmla="*/ 612775 w 784225"/>
                    <a:gd name="connsiteY70" fmla="*/ 826001 h 864101"/>
                    <a:gd name="connsiteX71" fmla="*/ 606425 w 784225"/>
                    <a:gd name="connsiteY71" fmla="*/ 806951 h 864101"/>
                    <a:gd name="connsiteX72" fmla="*/ 612775 w 784225"/>
                    <a:gd name="connsiteY72" fmla="*/ 772026 h 864101"/>
                    <a:gd name="connsiteX73" fmla="*/ 609600 w 784225"/>
                    <a:gd name="connsiteY73" fmla="*/ 749801 h 864101"/>
                    <a:gd name="connsiteX74" fmla="*/ 590550 w 784225"/>
                    <a:gd name="connsiteY74" fmla="*/ 711701 h 864101"/>
                    <a:gd name="connsiteX75" fmla="*/ 581025 w 784225"/>
                    <a:gd name="connsiteY75" fmla="*/ 708526 h 864101"/>
                    <a:gd name="connsiteX76" fmla="*/ 561975 w 784225"/>
                    <a:gd name="connsiteY76" fmla="*/ 689476 h 864101"/>
                    <a:gd name="connsiteX77" fmla="*/ 546100 w 784225"/>
                    <a:gd name="connsiteY77" fmla="*/ 673601 h 864101"/>
                    <a:gd name="connsiteX78" fmla="*/ 533400 w 784225"/>
                    <a:gd name="connsiteY78" fmla="*/ 654551 h 864101"/>
                    <a:gd name="connsiteX79" fmla="*/ 527050 w 784225"/>
                    <a:gd name="connsiteY79" fmla="*/ 645026 h 864101"/>
                    <a:gd name="connsiteX80" fmla="*/ 508000 w 784225"/>
                    <a:gd name="connsiteY80" fmla="*/ 606926 h 864101"/>
                    <a:gd name="connsiteX81" fmla="*/ 488950 w 784225"/>
                    <a:gd name="connsiteY81" fmla="*/ 597401 h 864101"/>
                    <a:gd name="connsiteX82" fmla="*/ 479425 w 784225"/>
                    <a:gd name="connsiteY82" fmla="*/ 587876 h 864101"/>
                    <a:gd name="connsiteX83" fmla="*/ 463550 w 784225"/>
                    <a:gd name="connsiteY83" fmla="*/ 572001 h 864101"/>
                    <a:gd name="connsiteX84" fmla="*/ 457200 w 784225"/>
                    <a:gd name="connsiteY84" fmla="*/ 552951 h 864101"/>
                    <a:gd name="connsiteX85" fmla="*/ 454025 w 784225"/>
                    <a:gd name="connsiteY85" fmla="*/ 543426 h 864101"/>
                    <a:gd name="connsiteX86" fmla="*/ 422275 w 784225"/>
                    <a:gd name="connsiteY86" fmla="*/ 505326 h 864101"/>
                    <a:gd name="connsiteX87" fmla="*/ 412750 w 784225"/>
                    <a:gd name="connsiteY87" fmla="*/ 502151 h 864101"/>
                    <a:gd name="connsiteX88" fmla="*/ 403225 w 784225"/>
                    <a:gd name="connsiteY88" fmla="*/ 495801 h 864101"/>
                    <a:gd name="connsiteX89" fmla="*/ 377825 w 784225"/>
                    <a:gd name="connsiteY89" fmla="*/ 492626 h 864101"/>
                    <a:gd name="connsiteX90" fmla="*/ 361950 w 784225"/>
                    <a:gd name="connsiteY90" fmla="*/ 489451 h 864101"/>
                    <a:gd name="connsiteX91" fmla="*/ 339725 w 784225"/>
                    <a:gd name="connsiteY91" fmla="*/ 486276 h 864101"/>
                    <a:gd name="connsiteX92" fmla="*/ 311150 w 784225"/>
                    <a:gd name="connsiteY92" fmla="*/ 473576 h 864101"/>
                    <a:gd name="connsiteX93" fmla="*/ 304800 w 784225"/>
                    <a:gd name="connsiteY93" fmla="*/ 464051 h 864101"/>
                    <a:gd name="connsiteX94" fmla="*/ 295275 w 784225"/>
                    <a:gd name="connsiteY94" fmla="*/ 454526 h 864101"/>
                    <a:gd name="connsiteX95" fmla="*/ 279400 w 784225"/>
                    <a:gd name="connsiteY95" fmla="*/ 429126 h 864101"/>
                    <a:gd name="connsiteX96" fmla="*/ 273050 w 784225"/>
                    <a:gd name="connsiteY96" fmla="*/ 419601 h 864101"/>
                    <a:gd name="connsiteX97" fmla="*/ 254000 w 784225"/>
                    <a:gd name="connsiteY97" fmla="*/ 406901 h 864101"/>
                    <a:gd name="connsiteX98" fmla="*/ 241300 w 784225"/>
                    <a:gd name="connsiteY98" fmla="*/ 387851 h 864101"/>
                    <a:gd name="connsiteX99" fmla="*/ 231775 w 784225"/>
                    <a:gd name="connsiteY99" fmla="*/ 381501 h 864101"/>
                    <a:gd name="connsiteX100" fmla="*/ 212725 w 784225"/>
                    <a:gd name="connsiteY100" fmla="*/ 371976 h 864101"/>
                    <a:gd name="connsiteX101" fmla="*/ 190500 w 784225"/>
                    <a:gd name="connsiteY101" fmla="*/ 343401 h 864101"/>
                    <a:gd name="connsiteX102" fmla="*/ 180975 w 784225"/>
                    <a:gd name="connsiteY102" fmla="*/ 333876 h 864101"/>
                    <a:gd name="connsiteX103" fmla="*/ 168275 w 784225"/>
                    <a:gd name="connsiteY103" fmla="*/ 314826 h 864101"/>
                    <a:gd name="connsiteX104" fmla="*/ 165100 w 784225"/>
                    <a:gd name="connsiteY104" fmla="*/ 305301 h 864101"/>
                    <a:gd name="connsiteX105" fmla="*/ 136525 w 784225"/>
                    <a:gd name="connsiteY105" fmla="*/ 283076 h 864101"/>
                    <a:gd name="connsiteX106" fmla="*/ 117475 w 784225"/>
                    <a:gd name="connsiteY106" fmla="*/ 267201 h 864101"/>
                    <a:gd name="connsiteX107" fmla="*/ 114300 w 784225"/>
                    <a:gd name="connsiteY107" fmla="*/ 257676 h 864101"/>
                    <a:gd name="connsiteX108" fmla="*/ 101600 w 784225"/>
                    <a:gd name="connsiteY108" fmla="*/ 238626 h 864101"/>
                    <a:gd name="connsiteX109" fmla="*/ 95250 w 784225"/>
                    <a:gd name="connsiteY109" fmla="*/ 229101 h 864101"/>
                    <a:gd name="connsiteX110" fmla="*/ 85725 w 784225"/>
                    <a:gd name="connsiteY110" fmla="*/ 219576 h 864101"/>
                    <a:gd name="connsiteX111" fmla="*/ 73025 w 784225"/>
                    <a:gd name="connsiteY111" fmla="*/ 203701 h 864101"/>
                    <a:gd name="connsiteX112" fmla="*/ 60325 w 784225"/>
                    <a:gd name="connsiteY112" fmla="*/ 184651 h 864101"/>
                    <a:gd name="connsiteX113" fmla="*/ 44450 w 784225"/>
                    <a:gd name="connsiteY113" fmla="*/ 165601 h 864101"/>
                    <a:gd name="connsiteX114" fmla="*/ 34925 w 784225"/>
                    <a:gd name="connsiteY114" fmla="*/ 156076 h 864101"/>
                    <a:gd name="connsiteX115" fmla="*/ 31750 w 784225"/>
                    <a:gd name="connsiteY115" fmla="*/ 146551 h 864101"/>
                    <a:gd name="connsiteX116" fmla="*/ 9525 w 784225"/>
                    <a:gd name="connsiteY116" fmla="*/ 117976 h 864101"/>
                    <a:gd name="connsiteX117" fmla="*/ 6350 w 784225"/>
                    <a:gd name="connsiteY117" fmla="*/ 95751 h 864101"/>
                    <a:gd name="connsiteX118" fmla="*/ 0 w 784225"/>
                    <a:gd name="connsiteY118" fmla="*/ 64001 h 864101"/>
                    <a:gd name="connsiteX119" fmla="*/ 22225 w 784225"/>
                    <a:gd name="connsiteY119" fmla="*/ 3676 h 8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784225" h="864101">
                      <a:moveTo>
                        <a:pt x="22225" y="3676"/>
                      </a:moveTo>
                      <a:cubicBezTo>
                        <a:pt x="33338" y="-5849"/>
                        <a:pt x="51842" y="6049"/>
                        <a:pt x="66675" y="6851"/>
                      </a:cubicBezTo>
                      <a:cubicBezTo>
                        <a:pt x="148236" y="11260"/>
                        <a:pt x="115315" y="3930"/>
                        <a:pt x="152400" y="13201"/>
                      </a:cubicBezTo>
                      <a:cubicBezTo>
                        <a:pt x="154517" y="16376"/>
                        <a:pt x="155878" y="20213"/>
                        <a:pt x="158750" y="22726"/>
                      </a:cubicBezTo>
                      <a:cubicBezTo>
                        <a:pt x="164493" y="27752"/>
                        <a:pt x="177800" y="35426"/>
                        <a:pt x="177800" y="35426"/>
                      </a:cubicBezTo>
                      <a:cubicBezTo>
                        <a:pt x="189533" y="53025"/>
                        <a:pt x="177437" y="39105"/>
                        <a:pt x="193675" y="48126"/>
                      </a:cubicBezTo>
                      <a:cubicBezTo>
                        <a:pt x="200346" y="51832"/>
                        <a:pt x="205485" y="58413"/>
                        <a:pt x="212725" y="60826"/>
                      </a:cubicBezTo>
                      <a:cubicBezTo>
                        <a:pt x="219075" y="62943"/>
                        <a:pt x="226206" y="63463"/>
                        <a:pt x="231775" y="67176"/>
                      </a:cubicBezTo>
                      <a:cubicBezTo>
                        <a:pt x="234950" y="69293"/>
                        <a:pt x="237887" y="71819"/>
                        <a:pt x="241300" y="73526"/>
                      </a:cubicBezTo>
                      <a:cubicBezTo>
                        <a:pt x="246375" y="76064"/>
                        <a:pt x="258778" y="78520"/>
                        <a:pt x="263525" y="79876"/>
                      </a:cubicBezTo>
                      <a:cubicBezTo>
                        <a:pt x="266743" y="80795"/>
                        <a:pt x="269803" y="82239"/>
                        <a:pt x="273050" y="83051"/>
                      </a:cubicBezTo>
                      <a:cubicBezTo>
                        <a:pt x="284692" y="85961"/>
                        <a:pt x="299629" y="87865"/>
                        <a:pt x="311150" y="89401"/>
                      </a:cubicBezTo>
                      <a:lnTo>
                        <a:pt x="336550" y="92576"/>
                      </a:lnTo>
                      <a:cubicBezTo>
                        <a:pt x="366652" y="102610"/>
                        <a:pt x="333863" y="92618"/>
                        <a:pt x="406400" y="98926"/>
                      </a:cubicBezTo>
                      <a:cubicBezTo>
                        <a:pt x="408863" y="99140"/>
                        <a:pt x="425302" y="103615"/>
                        <a:pt x="428625" y="105276"/>
                      </a:cubicBezTo>
                      <a:cubicBezTo>
                        <a:pt x="432038" y="106983"/>
                        <a:pt x="434530" y="110419"/>
                        <a:pt x="438150" y="111626"/>
                      </a:cubicBezTo>
                      <a:cubicBezTo>
                        <a:pt x="441454" y="112727"/>
                        <a:pt x="477713" y="117731"/>
                        <a:pt x="479425" y="117976"/>
                      </a:cubicBezTo>
                      <a:lnTo>
                        <a:pt x="498475" y="124326"/>
                      </a:lnTo>
                      <a:lnTo>
                        <a:pt x="508000" y="127501"/>
                      </a:lnTo>
                      <a:cubicBezTo>
                        <a:pt x="517525" y="126443"/>
                        <a:pt x="527122" y="125902"/>
                        <a:pt x="536575" y="124326"/>
                      </a:cubicBezTo>
                      <a:cubicBezTo>
                        <a:pt x="539876" y="123776"/>
                        <a:pt x="543487" y="123242"/>
                        <a:pt x="546100" y="121151"/>
                      </a:cubicBezTo>
                      <a:cubicBezTo>
                        <a:pt x="549080" y="118767"/>
                        <a:pt x="549214" y="113648"/>
                        <a:pt x="552450" y="111626"/>
                      </a:cubicBezTo>
                      <a:cubicBezTo>
                        <a:pt x="558126" y="108078"/>
                        <a:pt x="571500" y="105276"/>
                        <a:pt x="571500" y="105276"/>
                      </a:cubicBezTo>
                      <a:cubicBezTo>
                        <a:pt x="571610" y="105303"/>
                        <a:pt x="592207" y="110108"/>
                        <a:pt x="593725" y="111626"/>
                      </a:cubicBezTo>
                      <a:cubicBezTo>
                        <a:pt x="599121" y="117022"/>
                        <a:pt x="601029" y="125280"/>
                        <a:pt x="606425" y="130676"/>
                      </a:cubicBezTo>
                      <a:lnTo>
                        <a:pt x="615950" y="140201"/>
                      </a:lnTo>
                      <a:cubicBezTo>
                        <a:pt x="617008" y="143376"/>
                        <a:pt x="616758" y="147359"/>
                        <a:pt x="619125" y="149726"/>
                      </a:cubicBezTo>
                      <a:cubicBezTo>
                        <a:pt x="621492" y="152093"/>
                        <a:pt x="625326" y="152510"/>
                        <a:pt x="628650" y="152901"/>
                      </a:cubicBezTo>
                      <a:cubicBezTo>
                        <a:pt x="643403" y="154637"/>
                        <a:pt x="658283" y="155018"/>
                        <a:pt x="673100" y="156076"/>
                      </a:cubicBezTo>
                      <a:cubicBezTo>
                        <a:pt x="676275" y="159251"/>
                        <a:pt x="680617" y="161585"/>
                        <a:pt x="682625" y="165601"/>
                      </a:cubicBezTo>
                      <a:cubicBezTo>
                        <a:pt x="683811" y="167974"/>
                        <a:pt x="688791" y="199790"/>
                        <a:pt x="688975" y="200526"/>
                      </a:cubicBezTo>
                      <a:cubicBezTo>
                        <a:pt x="695134" y="225164"/>
                        <a:pt x="692409" y="212885"/>
                        <a:pt x="701675" y="229101"/>
                      </a:cubicBezTo>
                      <a:cubicBezTo>
                        <a:pt x="704023" y="233210"/>
                        <a:pt x="704995" y="238165"/>
                        <a:pt x="708025" y="241801"/>
                      </a:cubicBezTo>
                      <a:cubicBezTo>
                        <a:pt x="710468" y="244732"/>
                        <a:pt x="714375" y="246034"/>
                        <a:pt x="717550" y="248151"/>
                      </a:cubicBezTo>
                      <a:cubicBezTo>
                        <a:pt x="725530" y="272092"/>
                        <a:pt x="714765" y="242582"/>
                        <a:pt x="727075" y="267201"/>
                      </a:cubicBezTo>
                      <a:cubicBezTo>
                        <a:pt x="728572" y="270194"/>
                        <a:pt x="727883" y="274359"/>
                        <a:pt x="730250" y="276726"/>
                      </a:cubicBezTo>
                      <a:cubicBezTo>
                        <a:pt x="732617" y="279093"/>
                        <a:pt x="736493" y="279245"/>
                        <a:pt x="739775" y="279901"/>
                      </a:cubicBezTo>
                      <a:cubicBezTo>
                        <a:pt x="796657" y="291277"/>
                        <a:pt x="737051" y="276839"/>
                        <a:pt x="774700" y="286251"/>
                      </a:cubicBezTo>
                      <a:cubicBezTo>
                        <a:pt x="776962" y="293036"/>
                        <a:pt x="780053" y="301499"/>
                        <a:pt x="781050" y="308476"/>
                      </a:cubicBezTo>
                      <a:cubicBezTo>
                        <a:pt x="782554" y="319005"/>
                        <a:pt x="783167" y="329643"/>
                        <a:pt x="784225" y="340226"/>
                      </a:cubicBezTo>
                      <a:cubicBezTo>
                        <a:pt x="781050" y="342343"/>
                        <a:pt x="778418" y="345718"/>
                        <a:pt x="774700" y="346576"/>
                      </a:cubicBezTo>
                      <a:cubicBezTo>
                        <a:pt x="764336" y="348968"/>
                        <a:pt x="752137" y="344392"/>
                        <a:pt x="742950" y="349751"/>
                      </a:cubicBezTo>
                      <a:cubicBezTo>
                        <a:pt x="737168" y="353124"/>
                        <a:pt x="738717" y="362451"/>
                        <a:pt x="736600" y="368801"/>
                      </a:cubicBezTo>
                      <a:lnTo>
                        <a:pt x="733425" y="378326"/>
                      </a:lnTo>
                      <a:cubicBezTo>
                        <a:pt x="732367" y="381501"/>
                        <a:pt x="731062" y="384604"/>
                        <a:pt x="730250" y="387851"/>
                      </a:cubicBezTo>
                      <a:cubicBezTo>
                        <a:pt x="729192" y="392084"/>
                        <a:pt x="728274" y="396355"/>
                        <a:pt x="727075" y="400551"/>
                      </a:cubicBezTo>
                      <a:cubicBezTo>
                        <a:pt x="726156" y="403769"/>
                        <a:pt x="724712" y="406829"/>
                        <a:pt x="723900" y="410076"/>
                      </a:cubicBezTo>
                      <a:cubicBezTo>
                        <a:pt x="723623" y="411184"/>
                        <a:pt x="718999" y="436116"/>
                        <a:pt x="717550" y="438651"/>
                      </a:cubicBezTo>
                      <a:cubicBezTo>
                        <a:pt x="710840" y="450393"/>
                        <a:pt x="701032" y="450507"/>
                        <a:pt x="688975" y="454526"/>
                      </a:cubicBezTo>
                      <a:lnTo>
                        <a:pt x="679450" y="457701"/>
                      </a:lnTo>
                      <a:lnTo>
                        <a:pt x="669925" y="460876"/>
                      </a:lnTo>
                      <a:lnTo>
                        <a:pt x="660400" y="464051"/>
                      </a:lnTo>
                      <a:cubicBezTo>
                        <a:pt x="658283" y="470401"/>
                        <a:pt x="652427" y="476607"/>
                        <a:pt x="654050" y="483101"/>
                      </a:cubicBezTo>
                      <a:cubicBezTo>
                        <a:pt x="655108" y="487334"/>
                        <a:pt x="655506" y="491790"/>
                        <a:pt x="657225" y="495801"/>
                      </a:cubicBezTo>
                      <a:cubicBezTo>
                        <a:pt x="660540" y="503537"/>
                        <a:pt x="667379" y="509130"/>
                        <a:pt x="673100" y="514851"/>
                      </a:cubicBezTo>
                      <a:cubicBezTo>
                        <a:pt x="682898" y="544245"/>
                        <a:pt x="672729" y="510952"/>
                        <a:pt x="679450" y="581526"/>
                      </a:cubicBezTo>
                      <a:cubicBezTo>
                        <a:pt x="679767" y="584858"/>
                        <a:pt x="681744" y="587822"/>
                        <a:pt x="682625" y="591051"/>
                      </a:cubicBezTo>
                      <a:cubicBezTo>
                        <a:pt x="694585" y="634905"/>
                        <a:pt x="683158" y="598999"/>
                        <a:pt x="695325" y="635501"/>
                      </a:cubicBezTo>
                      <a:cubicBezTo>
                        <a:pt x="696383" y="638676"/>
                        <a:pt x="697688" y="641779"/>
                        <a:pt x="698500" y="645026"/>
                      </a:cubicBezTo>
                      <a:cubicBezTo>
                        <a:pt x="699517" y="649095"/>
                        <a:pt x="702573" y="662696"/>
                        <a:pt x="704850" y="667251"/>
                      </a:cubicBezTo>
                      <a:cubicBezTo>
                        <a:pt x="706557" y="670664"/>
                        <a:pt x="709650" y="673289"/>
                        <a:pt x="711200" y="676776"/>
                      </a:cubicBezTo>
                      <a:cubicBezTo>
                        <a:pt x="713918" y="682893"/>
                        <a:pt x="717550" y="695826"/>
                        <a:pt x="717550" y="695826"/>
                      </a:cubicBezTo>
                      <a:cubicBezTo>
                        <a:pt x="715963" y="718046"/>
                        <a:pt x="715930" y="738040"/>
                        <a:pt x="711200" y="759326"/>
                      </a:cubicBezTo>
                      <a:cubicBezTo>
                        <a:pt x="710474" y="762593"/>
                        <a:pt x="709083" y="765676"/>
                        <a:pt x="708025" y="768851"/>
                      </a:cubicBezTo>
                      <a:cubicBezTo>
                        <a:pt x="706967" y="793193"/>
                        <a:pt x="706650" y="817578"/>
                        <a:pt x="704850" y="841876"/>
                      </a:cubicBezTo>
                      <a:cubicBezTo>
                        <a:pt x="704528" y="846228"/>
                        <a:pt x="703394" y="850565"/>
                        <a:pt x="701675" y="854576"/>
                      </a:cubicBezTo>
                      <a:cubicBezTo>
                        <a:pt x="700172" y="858083"/>
                        <a:pt x="697442" y="860926"/>
                        <a:pt x="695325" y="864101"/>
                      </a:cubicBezTo>
                      <a:cubicBezTo>
                        <a:pt x="691938" y="863254"/>
                        <a:pt x="656341" y="855045"/>
                        <a:pt x="650875" y="851401"/>
                      </a:cubicBezTo>
                      <a:lnTo>
                        <a:pt x="631825" y="838701"/>
                      </a:lnTo>
                      <a:lnTo>
                        <a:pt x="622300" y="832351"/>
                      </a:lnTo>
                      <a:lnTo>
                        <a:pt x="612775" y="826001"/>
                      </a:lnTo>
                      <a:cubicBezTo>
                        <a:pt x="610658" y="819651"/>
                        <a:pt x="605595" y="813593"/>
                        <a:pt x="606425" y="806951"/>
                      </a:cubicBezTo>
                      <a:cubicBezTo>
                        <a:pt x="610015" y="778230"/>
                        <a:pt x="606902" y="789646"/>
                        <a:pt x="612775" y="772026"/>
                      </a:cubicBezTo>
                      <a:cubicBezTo>
                        <a:pt x="611717" y="764618"/>
                        <a:pt x="611283" y="757093"/>
                        <a:pt x="609600" y="749801"/>
                      </a:cubicBezTo>
                      <a:cubicBezTo>
                        <a:pt x="607956" y="742678"/>
                        <a:pt x="598845" y="714466"/>
                        <a:pt x="590550" y="711701"/>
                      </a:cubicBezTo>
                      <a:lnTo>
                        <a:pt x="581025" y="708526"/>
                      </a:lnTo>
                      <a:cubicBezTo>
                        <a:pt x="574675" y="702176"/>
                        <a:pt x="566956" y="696948"/>
                        <a:pt x="561975" y="689476"/>
                      </a:cubicBezTo>
                      <a:cubicBezTo>
                        <a:pt x="553508" y="676776"/>
                        <a:pt x="558800" y="682068"/>
                        <a:pt x="546100" y="673601"/>
                      </a:cubicBezTo>
                      <a:lnTo>
                        <a:pt x="533400" y="654551"/>
                      </a:lnTo>
                      <a:cubicBezTo>
                        <a:pt x="531283" y="651376"/>
                        <a:pt x="528257" y="648646"/>
                        <a:pt x="527050" y="645026"/>
                      </a:cubicBezTo>
                      <a:cubicBezTo>
                        <a:pt x="523428" y="634159"/>
                        <a:pt x="518551" y="613960"/>
                        <a:pt x="508000" y="606926"/>
                      </a:cubicBezTo>
                      <a:cubicBezTo>
                        <a:pt x="495690" y="598720"/>
                        <a:pt x="502095" y="601783"/>
                        <a:pt x="488950" y="597401"/>
                      </a:cubicBezTo>
                      <a:cubicBezTo>
                        <a:pt x="485775" y="594226"/>
                        <a:pt x="482874" y="590751"/>
                        <a:pt x="479425" y="587876"/>
                      </a:cubicBezTo>
                      <a:cubicBezTo>
                        <a:pt x="469713" y="579783"/>
                        <a:pt x="469028" y="584327"/>
                        <a:pt x="463550" y="572001"/>
                      </a:cubicBezTo>
                      <a:cubicBezTo>
                        <a:pt x="460832" y="565884"/>
                        <a:pt x="459317" y="559301"/>
                        <a:pt x="457200" y="552951"/>
                      </a:cubicBezTo>
                      <a:cubicBezTo>
                        <a:pt x="456142" y="549776"/>
                        <a:pt x="455881" y="546211"/>
                        <a:pt x="454025" y="543426"/>
                      </a:cubicBezTo>
                      <a:cubicBezTo>
                        <a:pt x="448215" y="534712"/>
                        <a:pt x="432752" y="508818"/>
                        <a:pt x="422275" y="505326"/>
                      </a:cubicBezTo>
                      <a:cubicBezTo>
                        <a:pt x="419100" y="504268"/>
                        <a:pt x="415743" y="503648"/>
                        <a:pt x="412750" y="502151"/>
                      </a:cubicBezTo>
                      <a:cubicBezTo>
                        <a:pt x="409337" y="500444"/>
                        <a:pt x="406906" y="496805"/>
                        <a:pt x="403225" y="495801"/>
                      </a:cubicBezTo>
                      <a:cubicBezTo>
                        <a:pt x="394993" y="493556"/>
                        <a:pt x="386258" y="493923"/>
                        <a:pt x="377825" y="492626"/>
                      </a:cubicBezTo>
                      <a:cubicBezTo>
                        <a:pt x="372491" y="491805"/>
                        <a:pt x="367273" y="490338"/>
                        <a:pt x="361950" y="489451"/>
                      </a:cubicBezTo>
                      <a:cubicBezTo>
                        <a:pt x="354568" y="488221"/>
                        <a:pt x="347133" y="487334"/>
                        <a:pt x="339725" y="486276"/>
                      </a:cubicBezTo>
                      <a:cubicBezTo>
                        <a:pt x="317055" y="478719"/>
                        <a:pt x="326244" y="483639"/>
                        <a:pt x="311150" y="473576"/>
                      </a:cubicBezTo>
                      <a:cubicBezTo>
                        <a:pt x="309033" y="470401"/>
                        <a:pt x="307243" y="466982"/>
                        <a:pt x="304800" y="464051"/>
                      </a:cubicBezTo>
                      <a:cubicBezTo>
                        <a:pt x="301925" y="460602"/>
                        <a:pt x="297456" y="458451"/>
                        <a:pt x="295275" y="454526"/>
                      </a:cubicBezTo>
                      <a:cubicBezTo>
                        <a:pt x="279717" y="426522"/>
                        <a:pt x="299056" y="442230"/>
                        <a:pt x="279400" y="429126"/>
                      </a:cubicBezTo>
                      <a:cubicBezTo>
                        <a:pt x="277283" y="425951"/>
                        <a:pt x="276030" y="421985"/>
                        <a:pt x="273050" y="419601"/>
                      </a:cubicBezTo>
                      <a:cubicBezTo>
                        <a:pt x="251235" y="402149"/>
                        <a:pt x="276665" y="436042"/>
                        <a:pt x="254000" y="406901"/>
                      </a:cubicBezTo>
                      <a:cubicBezTo>
                        <a:pt x="249315" y="400877"/>
                        <a:pt x="247650" y="392084"/>
                        <a:pt x="241300" y="387851"/>
                      </a:cubicBezTo>
                      <a:cubicBezTo>
                        <a:pt x="238125" y="385734"/>
                        <a:pt x="235188" y="383208"/>
                        <a:pt x="231775" y="381501"/>
                      </a:cubicBezTo>
                      <a:cubicBezTo>
                        <a:pt x="217456" y="374341"/>
                        <a:pt x="226374" y="383350"/>
                        <a:pt x="212725" y="371976"/>
                      </a:cubicBezTo>
                      <a:cubicBezTo>
                        <a:pt x="185913" y="349632"/>
                        <a:pt x="225901" y="378802"/>
                        <a:pt x="190500" y="343401"/>
                      </a:cubicBezTo>
                      <a:lnTo>
                        <a:pt x="180975" y="333876"/>
                      </a:lnTo>
                      <a:cubicBezTo>
                        <a:pt x="173426" y="311228"/>
                        <a:pt x="184130" y="338609"/>
                        <a:pt x="168275" y="314826"/>
                      </a:cubicBezTo>
                      <a:cubicBezTo>
                        <a:pt x="166419" y="312041"/>
                        <a:pt x="166956" y="308086"/>
                        <a:pt x="165100" y="305301"/>
                      </a:cubicBezTo>
                      <a:cubicBezTo>
                        <a:pt x="156163" y="291895"/>
                        <a:pt x="149140" y="295691"/>
                        <a:pt x="136525" y="283076"/>
                      </a:cubicBezTo>
                      <a:cubicBezTo>
                        <a:pt x="124302" y="270853"/>
                        <a:pt x="130736" y="276042"/>
                        <a:pt x="117475" y="267201"/>
                      </a:cubicBezTo>
                      <a:cubicBezTo>
                        <a:pt x="116417" y="264026"/>
                        <a:pt x="115925" y="260602"/>
                        <a:pt x="114300" y="257676"/>
                      </a:cubicBezTo>
                      <a:cubicBezTo>
                        <a:pt x="110594" y="251005"/>
                        <a:pt x="105833" y="244976"/>
                        <a:pt x="101600" y="238626"/>
                      </a:cubicBezTo>
                      <a:cubicBezTo>
                        <a:pt x="99483" y="235451"/>
                        <a:pt x="97948" y="231799"/>
                        <a:pt x="95250" y="229101"/>
                      </a:cubicBezTo>
                      <a:lnTo>
                        <a:pt x="85725" y="219576"/>
                      </a:lnTo>
                      <a:cubicBezTo>
                        <a:pt x="78575" y="198126"/>
                        <a:pt x="88491" y="221376"/>
                        <a:pt x="73025" y="203701"/>
                      </a:cubicBezTo>
                      <a:cubicBezTo>
                        <a:pt x="67999" y="197958"/>
                        <a:pt x="65721" y="190047"/>
                        <a:pt x="60325" y="184651"/>
                      </a:cubicBezTo>
                      <a:cubicBezTo>
                        <a:pt x="32498" y="156824"/>
                        <a:pt x="66552" y="192123"/>
                        <a:pt x="44450" y="165601"/>
                      </a:cubicBezTo>
                      <a:cubicBezTo>
                        <a:pt x="41575" y="162152"/>
                        <a:pt x="38100" y="159251"/>
                        <a:pt x="34925" y="156076"/>
                      </a:cubicBezTo>
                      <a:cubicBezTo>
                        <a:pt x="33867" y="152901"/>
                        <a:pt x="33375" y="149477"/>
                        <a:pt x="31750" y="146551"/>
                      </a:cubicBezTo>
                      <a:cubicBezTo>
                        <a:pt x="22256" y="129461"/>
                        <a:pt x="21095" y="129546"/>
                        <a:pt x="9525" y="117976"/>
                      </a:cubicBezTo>
                      <a:cubicBezTo>
                        <a:pt x="8467" y="110568"/>
                        <a:pt x="7651" y="103121"/>
                        <a:pt x="6350" y="95751"/>
                      </a:cubicBezTo>
                      <a:cubicBezTo>
                        <a:pt x="4474" y="85122"/>
                        <a:pt x="0" y="64001"/>
                        <a:pt x="0" y="64001"/>
                      </a:cubicBezTo>
                      <a:cubicBezTo>
                        <a:pt x="3280" y="31198"/>
                        <a:pt x="11112" y="13201"/>
                        <a:pt x="22225" y="367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5" name="Freeform 314"/>
                <p:cNvSpPr/>
                <p:nvPr/>
              </p:nvSpPr>
              <p:spPr>
                <a:xfrm>
                  <a:off x="991000" y="2088964"/>
                  <a:ext cx="644525" cy="974725"/>
                </a:xfrm>
                <a:custGeom>
                  <a:avLst/>
                  <a:gdLst>
                    <a:gd name="connsiteX0" fmla="*/ 44450 w 644525"/>
                    <a:gd name="connsiteY0" fmla="*/ 514350 h 974725"/>
                    <a:gd name="connsiteX1" fmla="*/ 50800 w 644525"/>
                    <a:gd name="connsiteY1" fmla="*/ 463550 h 974725"/>
                    <a:gd name="connsiteX2" fmla="*/ 57150 w 644525"/>
                    <a:gd name="connsiteY2" fmla="*/ 381000 h 974725"/>
                    <a:gd name="connsiteX3" fmla="*/ 50800 w 644525"/>
                    <a:gd name="connsiteY3" fmla="*/ 323850 h 974725"/>
                    <a:gd name="connsiteX4" fmla="*/ 44450 w 644525"/>
                    <a:gd name="connsiteY4" fmla="*/ 314325 h 974725"/>
                    <a:gd name="connsiteX5" fmla="*/ 34925 w 644525"/>
                    <a:gd name="connsiteY5" fmla="*/ 282575 h 974725"/>
                    <a:gd name="connsiteX6" fmla="*/ 31750 w 644525"/>
                    <a:gd name="connsiteY6" fmla="*/ 273050 h 974725"/>
                    <a:gd name="connsiteX7" fmla="*/ 28575 w 644525"/>
                    <a:gd name="connsiteY7" fmla="*/ 263525 h 974725"/>
                    <a:gd name="connsiteX8" fmla="*/ 25400 w 644525"/>
                    <a:gd name="connsiteY8" fmla="*/ 244475 h 974725"/>
                    <a:gd name="connsiteX9" fmla="*/ 22225 w 644525"/>
                    <a:gd name="connsiteY9" fmla="*/ 219075 h 974725"/>
                    <a:gd name="connsiteX10" fmla="*/ 19050 w 644525"/>
                    <a:gd name="connsiteY10" fmla="*/ 203200 h 974725"/>
                    <a:gd name="connsiteX11" fmla="*/ 12700 w 644525"/>
                    <a:gd name="connsiteY11" fmla="*/ 165100 h 974725"/>
                    <a:gd name="connsiteX12" fmla="*/ 0 w 644525"/>
                    <a:gd name="connsiteY12" fmla="*/ 142875 h 974725"/>
                    <a:gd name="connsiteX13" fmla="*/ 3175 w 644525"/>
                    <a:gd name="connsiteY13" fmla="*/ 123825 h 974725"/>
                    <a:gd name="connsiteX14" fmla="*/ 15875 w 644525"/>
                    <a:gd name="connsiteY14" fmla="*/ 120650 h 974725"/>
                    <a:gd name="connsiteX15" fmla="*/ 38100 w 644525"/>
                    <a:gd name="connsiteY15" fmla="*/ 117475 h 974725"/>
                    <a:gd name="connsiteX16" fmla="*/ 47625 w 644525"/>
                    <a:gd name="connsiteY16" fmla="*/ 114300 h 974725"/>
                    <a:gd name="connsiteX17" fmla="*/ 57150 w 644525"/>
                    <a:gd name="connsiteY17" fmla="*/ 104775 h 974725"/>
                    <a:gd name="connsiteX18" fmla="*/ 66675 w 644525"/>
                    <a:gd name="connsiteY18" fmla="*/ 98425 h 974725"/>
                    <a:gd name="connsiteX19" fmla="*/ 76200 w 644525"/>
                    <a:gd name="connsiteY19" fmla="*/ 69850 h 974725"/>
                    <a:gd name="connsiteX20" fmla="*/ 79375 w 644525"/>
                    <a:gd name="connsiteY20" fmla="*/ 60325 h 974725"/>
                    <a:gd name="connsiteX21" fmla="*/ 82550 w 644525"/>
                    <a:gd name="connsiteY21" fmla="*/ 34925 h 974725"/>
                    <a:gd name="connsiteX22" fmla="*/ 95250 w 644525"/>
                    <a:gd name="connsiteY22" fmla="*/ 9525 h 974725"/>
                    <a:gd name="connsiteX23" fmla="*/ 114300 w 644525"/>
                    <a:gd name="connsiteY23" fmla="*/ 3175 h 974725"/>
                    <a:gd name="connsiteX24" fmla="*/ 123825 w 644525"/>
                    <a:gd name="connsiteY24" fmla="*/ 0 h 974725"/>
                    <a:gd name="connsiteX25" fmla="*/ 133350 w 644525"/>
                    <a:gd name="connsiteY25" fmla="*/ 3175 h 974725"/>
                    <a:gd name="connsiteX26" fmla="*/ 149225 w 644525"/>
                    <a:gd name="connsiteY26" fmla="*/ 47625 h 974725"/>
                    <a:gd name="connsiteX27" fmla="*/ 180975 w 644525"/>
                    <a:gd name="connsiteY27" fmla="*/ 50800 h 974725"/>
                    <a:gd name="connsiteX28" fmla="*/ 200025 w 644525"/>
                    <a:gd name="connsiteY28" fmla="*/ 69850 h 974725"/>
                    <a:gd name="connsiteX29" fmla="*/ 206375 w 644525"/>
                    <a:gd name="connsiteY29" fmla="*/ 79375 h 974725"/>
                    <a:gd name="connsiteX30" fmla="*/ 215900 w 644525"/>
                    <a:gd name="connsiteY30" fmla="*/ 85725 h 974725"/>
                    <a:gd name="connsiteX31" fmla="*/ 225425 w 644525"/>
                    <a:gd name="connsiteY31" fmla="*/ 95250 h 974725"/>
                    <a:gd name="connsiteX32" fmla="*/ 241300 w 644525"/>
                    <a:gd name="connsiteY32" fmla="*/ 123825 h 974725"/>
                    <a:gd name="connsiteX33" fmla="*/ 247650 w 644525"/>
                    <a:gd name="connsiteY33" fmla="*/ 133350 h 974725"/>
                    <a:gd name="connsiteX34" fmla="*/ 276225 w 644525"/>
                    <a:gd name="connsiteY34" fmla="*/ 146050 h 974725"/>
                    <a:gd name="connsiteX35" fmla="*/ 307975 w 644525"/>
                    <a:gd name="connsiteY35" fmla="*/ 149225 h 974725"/>
                    <a:gd name="connsiteX36" fmla="*/ 317500 w 644525"/>
                    <a:gd name="connsiteY36" fmla="*/ 152400 h 974725"/>
                    <a:gd name="connsiteX37" fmla="*/ 336550 w 644525"/>
                    <a:gd name="connsiteY37" fmla="*/ 165100 h 974725"/>
                    <a:gd name="connsiteX38" fmla="*/ 346075 w 644525"/>
                    <a:gd name="connsiteY38" fmla="*/ 171450 h 974725"/>
                    <a:gd name="connsiteX39" fmla="*/ 355600 w 644525"/>
                    <a:gd name="connsiteY39" fmla="*/ 177800 h 974725"/>
                    <a:gd name="connsiteX40" fmla="*/ 374650 w 644525"/>
                    <a:gd name="connsiteY40" fmla="*/ 184150 h 974725"/>
                    <a:gd name="connsiteX41" fmla="*/ 390525 w 644525"/>
                    <a:gd name="connsiteY41" fmla="*/ 203200 h 974725"/>
                    <a:gd name="connsiteX42" fmla="*/ 400050 w 644525"/>
                    <a:gd name="connsiteY42" fmla="*/ 212725 h 974725"/>
                    <a:gd name="connsiteX43" fmla="*/ 406400 w 644525"/>
                    <a:gd name="connsiteY43" fmla="*/ 222250 h 974725"/>
                    <a:gd name="connsiteX44" fmla="*/ 425450 w 644525"/>
                    <a:gd name="connsiteY44" fmla="*/ 238125 h 974725"/>
                    <a:gd name="connsiteX45" fmla="*/ 431800 w 644525"/>
                    <a:gd name="connsiteY45" fmla="*/ 247650 h 974725"/>
                    <a:gd name="connsiteX46" fmla="*/ 441325 w 644525"/>
                    <a:gd name="connsiteY46" fmla="*/ 254000 h 974725"/>
                    <a:gd name="connsiteX47" fmla="*/ 454025 w 644525"/>
                    <a:gd name="connsiteY47" fmla="*/ 273050 h 974725"/>
                    <a:gd name="connsiteX48" fmla="*/ 466725 w 644525"/>
                    <a:gd name="connsiteY48" fmla="*/ 282575 h 974725"/>
                    <a:gd name="connsiteX49" fmla="*/ 476250 w 644525"/>
                    <a:gd name="connsiteY49" fmla="*/ 288925 h 974725"/>
                    <a:gd name="connsiteX50" fmla="*/ 485775 w 644525"/>
                    <a:gd name="connsiteY50" fmla="*/ 298450 h 974725"/>
                    <a:gd name="connsiteX51" fmla="*/ 514350 w 644525"/>
                    <a:gd name="connsiteY51" fmla="*/ 307975 h 974725"/>
                    <a:gd name="connsiteX52" fmla="*/ 523875 w 644525"/>
                    <a:gd name="connsiteY52" fmla="*/ 311150 h 974725"/>
                    <a:gd name="connsiteX53" fmla="*/ 542925 w 644525"/>
                    <a:gd name="connsiteY53" fmla="*/ 327025 h 974725"/>
                    <a:gd name="connsiteX54" fmla="*/ 552450 w 644525"/>
                    <a:gd name="connsiteY54" fmla="*/ 336550 h 974725"/>
                    <a:gd name="connsiteX55" fmla="*/ 561975 w 644525"/>
                    <a:gd name="connsiteY55" fmla="*/ 368300 h 974725"/>
                    <a:gd name="connsiteX56" fmla="*/ 565150 w 644525"/>
                    <a:gd name="connsiteY56" fmla="*/ 377825 h 974725"/>
                    <a:gd name="connsiteX57" fmla="*/ 584200 w 644525"/>
                    <a:gd name="connsiteY57" fmla="*/ 390525 h 974725"/>
                    <a:gd name="connsiteX58" fmla="*/ 606425 w 644525"/>
                    <a:gd name="connsiteY58" fmla="*/ 403225 h 974725"/>
                    <a:gd name="connsiteX59" fmla="*/ 615950 w 644525"/>
                    <a:gd name="connsiteY59" fmla="*/ 409575 h 974725"/>
                    <a:gd name="connsiteX60" fmla="*/ 638175 w 644525"/>
                    <a:gd name="connsiteY60" fmla="*/ 412750 h 974725"/>
                    <a:gd name="connsiteX61" fmla="*/ 641350 w 644525"/>
                    <a:gd name="connsiteY61" fmla="*/ 422275 h 974725"/>
                    <a:gd name="connsiteX62" fmla="*/ 635000 w 644525"/>
                    <a:gd name="connsiteY62" fmla="*/ 454025 h 974725"/>
                    <a:gd name="connsiteX63" fmla="*/ 619125 w 644525"/>
                    <a:gd name="connsiteY63" fmla="*/ 473075 h 974725"/>
                    <a:gd name="connsiteX64" fmla="*/ 615950 w 644525"/>
                    <a:gd name="connsiteY64" fmla="*/ 482600 h 974725"/>
                    <a:gd name="connsiteX65" fmla="*/ 615950 w 644525"/>
                    <a:gd name="connsiteY65" fmla="*/ 527050 h 974725"/>
                    <a:gd name="connsiteX66" fmla="*/ 625475 w 644525"/>
                    <a:gd name="connsiteY66" fmla="*/ 533400 h 974725"/>
                    <a:gd name="connsiteX67" fmla="*/ 628650 w 644525"/>
                    <a:gd name="connsiteY67" fmla="*/ 542925 h 974725"/>
                    <a:gd name="connsiteX68" fmla="*/ 622300 w 644525"/>
                    <a:gd name="connsiteY68" fmla="*/ 565150 h 974725"/>
                    <a:gd name="connsiteX69" fmla="*/ 612775 w 644525"/>
                    <a:gd name="connsiteY69" fmla="*/ 574675 h 974725"/>
                    <a:gd name="connsiteX70" fmla="*/ 606425 w 644525"/>
                    <a:gd name="connsiteY70" fmla="*/ 587375 h 974725"/>
                    <a:gd name="connsiteX71" fmla="*/ 609600 w 644525"/>
                    <a:gd name="connsiteY71" fmla="*/ 596900 h 974725"/>
                    <a:gd name="connsiteX72" fmla="*/ 628650 w 644525"/>
                    <a:gd name="connsiteY72" fmla="*/ 606425 h 974725"/>
                    <a:gd name="connsiteX73" fmla="*/ 644525 w 644525"/>
                    <a:gd name="connsiteY73" fmla="*/ 628650 h 974725"/>
                    <a:gd name="connsiteX74" fmla="*/ 641350 w 644525"/>
                    <a:gd name="connsiteY74" fmla="*/ 679450 h 974725"/>
                    <a:gd name="connsiteX75" fmla="*/ 622300 w 644525"/>
                    <a:gd name="connsiteY75" fmla="*/ 698500 h 974725"/>
                    <a:gd name="connsiteX76" fmla="*/ 603250 w 644525"/>
                    <a:gd name="connsiteY76" fmla="*/ 711200 h 974725"/>
                    <a:gd name="connsiteX77" fmla="*/ 584200 w 644525"/>
                    <a:gd name="connsiteY77" fmla="*/ 727075 h 974725"/>
                    <a:gd name="connsiteX78" fmla="*/ 581025 w 644525"/>
                    <a:gd name="connsiteY78" fmla="*/ 736600 h 974725"/>
                    <a:gd name="connsiteX79" fmla="*/ 590550 w 644525"/>
                    <a:gd name="connsiteY79" fmla="*/ 755650 h 974725"/>
                    <a:gd name="connsiteX80" fmla="*/ 596900 w 644525"/>
                    <a:gd name="connsiteY80" fmla="*/ 774700 h 974725"/>
                    <a:gd name="connsiteX81" fmla="*/ 593725 w 644525"/>
                    <a:gd name="connsiteY81" fmla="*/ 866775 h 974725"/>
                    <a:gd name="connsiteX82" fmla="*/ 574675 w 644525"/>
                    <a:gd name="connsiteY82" fmla="*/ 869950 h 974725"/>
                    <a:gd name="connsiteX83" fmla="*/ 555625 w 644525"/>
                    <a:gd name="connsiteY83" fmla="*/ 866775 h 974725"/>
                    <a:gd name="connsiteX84" fmla="*/ 527050 w 644525"/>
                    <a:gd name="connsiteY84" fmla="*/ 857250 h 974725"/>
                    <a:gd name="connsiteX85" fmla="*/ 508000 w 644525"/>
                    <a:gd name="connsiteY85" fmla="*/ 850900 h 974725"/>
                    <a:gd name="connsiteX86" fmla="*/ 498475 w 644525"/>
                    <a:gd name="connsiteY86" fmla="*/ 847725 h 974725"/>
                    <a:gd name="connsiteX87" fmla="*/ 479425 w 644525"/>
                    <a:gd name="connsiteY87" fmla="*/ 850900 h 974725"/>
                    <a:gd name="connsiteX88" fmla="*/ 476250 w 644525"/>
                    <a:gd name="connsiteY88" fmla="*/ 860425 h 974725"/>
                    <a:gd name="connsiteX89" fmla="*/ 479425 w 644525"/>
                    <a:gd name="connsiteY89" fmla="*/ 873125 h 974725"/>
                    <a:gd name="connsiteX90" fmla="*/ 498475 w 644525"/>
                    <a:gd name="connsiteY90" fmla="*/ 882650 h 974725"/>
                    <a:gd name="connsiteX91" fmla="*/ 508000 w 644525"/>
                    <a:gd name="connsiteY91" fmla="*/ 901700 h 974725"/>
                    <a:gd name="connsiteX92" fmla="*/ 517525 w 644525"/>
                    <a:gd name="connsiteY92" fmla="*/ 920750 h 974725"/>
                    <a:gd name="connsiteX93" fmla="*/ 514350 w 644525"/>
                    <a:gd name="connsiteY93" fmla="*/ 936625 h 974725"/>
                    <a:gd name="connsiteX94" fmla="*/ 504825 w 644525"/>
                    <a:gd name="connsiteY94" fmla="*/ 939800 h 974725"/>
                    <a:gd name="connsiteX95" fmla="*/ 460375 w 644525"/>
                    <a:gd name="connsiteY95" fmla="*/ 936625 h 974725"/>
                    <a:gd name="connsiteX96" fmla="*/ 450850 w 644525"/>
                    <a:gd name="connsiteY96" fmla="*/ 933450 h 974725"/>
                    <a:gd name="connsiteX97" fmla="*/ 441325 w 644525"/>
                    <a:gd name="connsiteY97" fmla="*/ 927100 h 974725"/>
                    <a:gd name="connsiteX98" fmla="*/ 406400 w 644525"/>
                    <a:gd name="connsiteY98" fmla="*/ 930275 h 974725"/>
                    <a:gd name="connsiteX99" fmla="*/ 390525 w 644525"/>
                    <a:gd name="connsiteY99" fmla="*/ 946150 h 974725"/>
                    <a:gd name="connsiteX100" fmla="*/ 384175 w 644525"/>
                    <a:gd name="connsiteY100" fmla="*/ 955675 h 974725"/>
                    <a:gd name="connsiteX101" fmla="*/ 365125 w 644525"/>
                    <a:gd name="connsiteY101" fmla="*/ 968375 h 974725"/>
                    <a:gd name="connsiteX102" fmla="*/ 355600 w 644525"/>
                    <a:gd name="connsiteY102" fmla="*/ 974725 h 974725"/>
                    <a:gd name="connsiteX103" fmla="*/ 330200 w 644525"/>
                    <a:gd name="connsiteY103" fmla="*/ 971550 h 974725"/>
                    <a:gd name="connsiteX104" fmla="*/ 327025 w 644525"/>
                    <a:gd name="connsiteY104" fmla="*/ 962025 h 974725"/>
                    <a:gd name="connsiteX105" fmla="*/ 323850 w 644525"/>
                    <a:gd name="connsiteY105" fmla="*/ 946150 h 974725"/>
                    <a:gd name="connsiteX106" fmla="*/ 311150 w 644525"/>
                    <a:gd name="connsiteY106" fmla="*/ 930275 h 974725"/>
                    <a:gd name="connsiteX107" fmla="*/ 298450 w 644525"/>
                    <a:gd name="connsiteY107" fmla="*/ 892175 h 974725"/>
                    <a:gd name="connsiteX108" fmla="*/ 295275 w 644525"/>
                    <a:gd name="connsiteY108" fmla="*/ 882650 h 974725"/>
                    <a:gd name="connsiteX109" fmla="*/ 292100 w 644525"/>
                    <a:gd name="connsiteY109" fmla="*/ 873125 h 974725"/>
                    <a:gd name="connsiteX110" fmla="*/ 285750 w 644525"/>
                    <a:gd name="connsiteY110" fmla="*/ 863600 h 974725"/>
                    <a:gd name="connsiteX111" fmla="*/ 276225 w 644525"/>
                    <a:gd name="connsiteY111" fmla="*/ 835025 h 974725"/>
                    <a:gd name="connsiteX112" fmla="*/ 273050 w 644525"/>
                    <a:gd name="connsiteY112" fmla="*/ 825500 h 974725"/>
                    <a:gd name="connsiteX113" fmla="*/ 260350 w 644525"/>
                    <a:gd name="connsiteY113" fmla="*/ 796925 h 974725"/>
                    <a:gd name="connsiteX114" fmla="*/ 257175 w 644525"/>
                    <a:gd name="connsiteY114" fmla="*/ 787400 h 974725"/>
                    <a:gd name="connsiteX115" fmla="*/ 254000 w 644525"/>
                    <a:gd name="connsiteY115" fmla="*/ 768350 h 974725"/>
                    <a:gd name="connsiteX116" fmla="*/ 247650 w 644525"/>
                    <a:gd name="connsiteY116" fmla="*/ 730250 h 974725"/>
                    <a:gd name="connsiteX117" fmla="*/ 241300 w 644525"/>
                    <a:gd name="connsiteY117" fmla="*/ 711200 h 974725"/>
                    <a:gd name="connsiteX118" fmla="*/ 234950 w 644525"/>
                    <a:gd name="connsiteY118" fmla="*/ 692150 h 974725"/>
                    <a:gd name="connsiteX119" fmla="*/ 231775 w 644525"/>
                    <a:gd name="connsiteY119" fmla="*/ 682625 h 974725"/>
                    <a:gd name="connsiteX120" fmla="*/ 222250 w 644525"/>
                    <a:gd name="connsiteY120" fmla="*/ 650875 h 974725"/>
                    <a:gd name="connsiteX121" fmla="*/ 212725 w 644525"/>
                    <a:gd name="connsiteY121" fmla="*/ 638175 h 974725"/>
                    <a:gd name="connsiteX122" fmla="*/ 203200 w 644525"/>
                    <a:gd name="connsiteY122" fmla="*/ 628650 h 974725"/>
                    <a:gd name="connsiteX123" fmla="*/ 190500 w 644525"/>
                    <a:gd name="connsiteY123" fmla="*/ 609600 h 974725"/>
                    <a:gd name="connsiteX124" fmla="*/ 184150 w 644525"/>
                    <a:gd name="connsiteY124" fmla="*/ 600075 h 974725"/>
                    <a:gd name="connsiteX125" fmla="*/ 180975 w 644525"/>
                    <a:gd name="connsiteY125" fmla="*/ 590550 h 974725"/>
                    <a:gd name="connsiteX126" fmla="*/ 171450 w 644525"/>
                    <a:gd name="connsiteY126" fmla="*/ 584200 h 974725"/>
                    <a:gd name="connsiteX127" fmla="*/ 146050 w 644525"/>
                    <a:gd name="connsiteY127" fmla="*/ 546100 h 974725"/>
                    <a:gd name="connsiteX128" fmla="*/ 139700 w 644525"/>
                    <a:gd name="connsiteY128" fmla="*/ 536575 h 974725"/>
                    <a:gd name="connsiteX129" fmla="*/ 114300 w 644525"/>
                    <a:gd name="connsiteY129" fmla="*/ 514350 h 974725"/>
                    <a:gd name="connsiteX130" fmla="*/ 95250 w 644525"/>
                    <a:gd name="connsiteY130" fmla="*/ 508000 h 974725"/>
                    <a:gd name="connsiteX131" fmla="*/ 44450 w 644525"/>
                    <a:gd name="connsiteY131" fmla="*/ 514350 h 97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644525" h="974725">
                      <a:moveTo>
                        <a:pt x="44450" y="514350"/>
                      </a:moveTo>
                      <a:cubicBezTo>
                        <a:pt x="49610" y="488550"/>
                        <a:pt x="47803" y="500519"/>
                        <a:pt x="50800" y="463550"/>
                      </a:cubicBezTo>
                      <a:cubicBezTo>
                        <a:pt x="53030" y="436042"/>
                        <a:pt x="57150" y="381000"/>
                        <a:pt x="57150" y="381000"/>
                      </a:cubicBezTo>
                      <a:cubicBezTo>
                        <a:pt x="56960" y="378342"/>
                        <a:pt x="56609" y="337405"/>
                        <a:pt x="50800" y="323850"/>
                      </a:cubicBezTo>
                      <a:cubicBezTo>
                        <a:pt x="49297" y="320343"/>
                        <a:pt x="46567" y="317500"/>
                        <a:pt x="44450" y="314325"/>
                      </a:cubicBezTo>
                      <a:cubicBezTo>
                        <a:pt x="39652" y="295131"/>
                        <a:pt x="42655" y="305765"/>
                        <a:pt x="34925" y="282575"/>
                      </a:cubicBezTo>
                      <a:lnTo>
                        <a:pt x="31750" y="273050"/>
                      </a:lnTo>
                      <a:cubicBezTo>
                        <a:pt x="30692" y="269875"/>
                        <a:pt x="29125" y="266826"/>
                        <a:pt x="28575" y="263525"/>
                      </a:cubicBezTo>
                      <a:cubicBezTo>
                        <a:pt x="27517" y="257175"/>
                        <a:pt x="26310" y="250848"/>
                        <a:pt x="25400" y="244475"/>
                      </a:cubicBezTo>
                      <a:cubicBezTo>
                        <a:pt x="24193" y="236028"/>
                        <a:pt x="23522" y="227508"/>
                        <a:pt x="22225" y="219075"/>
                      </a:cubicBezTo>
                      <a:cubicBezTo>
                        <a:pt x="21404" y="213741"/>
                        <a:pt x="19988" y="208514"/>
                        <a:pt x="19050" y="203200"/>
                      </a:cubicBezTo>
                      <a:cubicBezTo>
                        <a:pt x="16812" y="190521"/>
                        <a:pt x="18458" y="176616"/>
                        <a:pt x="12700" y="165100"/>
                      </a:cubicBezTo>
                      <a:cubicBezTo>
                        <a:pt x="4643" y="148987"/>
                        <a:pt x="8975" y="156338"/>
                        <a:pt x="0" y="142875"/>
                      </a:cubicBezTo>
                      <a:cubicBezTo>
                        <a:pt x="1058" y="136525"/>
                        <a:pt x="-567" y="129063"/>
                        <a:pt x="3175" y="123825"/>
                      </a:cubicBezTo>
                      <a:cubicBezTo>
                        <a:pt x="5711" y="120274"/>
                        <a:pt x="11582" y="121431"/>
                        <a:pt x="15875" y="120650"/>
                      </a:cubicBezTo>
                      <a:cubicBezTo>
                        <a:pt x="23238" y="119311"/>
                        <a:pt x="30692" y="118533"/>
                        <a:pt x="38100" y="117475"/>
                      </a:cubicBezTo>
                      <a:cubicBezTo>
                        <a:pt x="41275" y="116417"/>
                        <a:pt x="44840" y="116156"/>
                        <a:pt x="47625" y="114300"/>
                      </a:cubicBezTo>
                      <a:cubicBezTo>
                        <a:pt x="51361" y="111809"/>
                        <a:pt x="53701" y="107650"/>
                        <a:pt x="57150" y="104775"/>
                      </a:cubicBezTo>
                      <a:cubicBezTo>
                        <a:pt x="60081" y="102332"/>
                        <a:pt x="63500" y="100542"/>
                        <a:pt x="66675" y="98425"/>
                      </a:cubicBezTo>
                      <a:lnTo>
                        <a:pt x="76200" y="69850"/>
                      </a:lnTo>
                      <a:lnTo>
                        <a:pt x="79375" y="60325"/>
                      </a:lnTo>
                      <a:cubicBezTo>
                        <a:pt x="80433" y="51858"/>
                        <a:pt x="81253" y="43358"/>
                        <a:pt x="82550" y="34925"/>
                      </a:cubicBezTo>
                      <a:cubicBezTo>
                        <a:pt x="84383" y="23008"/>
                        <a:pt x="83758" y="15909"/>
                        <a:pt x="95250" y="9525"/>
                      </a:cubicBezTo>
                      <a:cubicBezTo>
                        <a:pt x="101101" y="6274"/>
                        <a:pt x="107950" y="5292"/>
                        <a:pt x="114300" y="3175"/>
                      </a:cubicBezTo>
                      <a:lnTo>
                        <a:pt x="123825" y="0"/>
                      </a:lnTo>
                      <a:cubicBezTo>
                        <a:pt x="127000" y="1058"/>
                        <a:pt x="132149" y="51"/>
                        <a:pt x="133350" y="3175"/>
                      </a:cubicBezTo>
                      <a:cubicBezTo>
                        <a:pt x="137777" y="14685"/>
                        <a:pt x="129743" y="43129"/>
                        <a:pt x="149225" y="47625"/>
                      </a:cubicBezTo>
                      <a:cubicBezTo>
                        <a:pt x="159589" y="50017"/>
                        <a:pt x="170392" y="49742"/>
                        <a:pt x="180975" y="50800"/>
                      </a:cubicBezTo>
                      <a:cubicBezTo>
                        <a:pt x="187325" y="57150"/>
                        <a:pt x="195044" y="62378"/>
                        <a:pt x="200025" y="69850"/>
                      </a:cubicBezTo>
                      <a:cubicBezTo>
                        <a:pt x="202142" y="73025"/>
                        <a:pt x="203677" y="76677"/>
                        <a:pt x="206375" y="79375"/>
                      </a:cubicBezTo>
                      <a:cubicBezTo>
                        <a:pt x="209073" y="82073"/>
                        <a:pt x="212969" y="83282"/>
                        <a:pt x="215900" y="85725"/>
                      </a:cubicBezTo>
                      <a:cubicBezTo>
                        <a:pt x="219349" y="88600"/>
                        <a:pt x="222250" y="92075"/>
                        <a:pt x="225425" y="95250"/>
                      </a:cubicBezTo>
                      <a:cubicBezTo>
                        <a:pt x="231013" y="112015"/>
                        <a:pt x="226744" y="101990"/>
                        <a:pt x="241300" y="123825"/>
                      </a:cubicBezTo>
                      <a:cubicBezTo>
                        <a:pt x="243417" y="127000"/>
                        <a:pt x="244475" y="131233"/>
                        <a:pt x="247650" y="133350"/>
                      </a:cubicBezTo>
                      <a:cubicBezTo>
                        <a:pt x="257423" y="139865"/>
                        <a:pt x="262890" y="144716"/>
                        <a:pt x="276225" y="146050"/>
                      </a:cubicBezTo>
                      <a:lnTo>
                        <a:pt x="307975" y="149225"/>
                      </a:lnTo>
                      <a:cubicBezTo>
                        <a:pt x="311150" y="150283"/>
                        <a:pt x="314574" y="150775"/>
                        <a:pt x="317500" y="152400"/>
                      </a:cubicBezTo>
                      <a:cubicBezTo>
                        <a:pt x="324171" y="156106"/>
                        <a:pt x="330200" y="160867"/>
                        <a:pt x="336550" y="165100"/>
                      </a:cubicBezTo>
                      <a:lnTo>
                        <a:pt x="346075" y="171450"/>
                      </a:lnTo>
                      <a:cubicBezTo>
                        <a:pt x="349250" y="173567"/>
                        <a:pt x="351980" y="176593"/>
                        <a:pt x="355600" y="177800"/>
                      </a:cubicBezTo>
                      <a:lnTo>
                        <a:pt x="374650" y="184150"/>
                      </a:lnTo>
                      <a:cubicBezTo>
                        <a:pt x="402477" y="211977"/>
                        <a:pt x="368423" y="176678"/>
                        <a:pt x="390525" y="203200"/>
                      </a:cubicBezTo>
                      <a:cubicBezTo>
                        <a:pt x="393400" y="206649"/>
                        <a:pt x="397175" y="209276"/>
                        <a:pt x="400050" y="212725"/>
                      </a:cubicBezTo>
                      <a:cubicBezTo>
                        <a:pt x="402493" y="215656"/>
                        <a:pt x="403957" y="219319"/>
                        <a:pt x="406400" y="222250"/>
                      </a:cubicBezTo>
                      <a:cubicBezTo>
                        <a:pt x="414040" y="231417"/>
                        <a:pt x="416084" y="231881"/>
                        <a:pt x="425450" y="238125"/>
                      </a:cubicBezTo>
                      <a:cubicBezTo>
                        <a:pt x="427567" y="241300"/>
                        <a:pt x="429102" y="244952"/>
                        <a:pt x="431800" y="247650"/>
                      </a:cubicBezTo>
                      <a:cubicBezTo>
                        <a:pt x="434498" y="250348"/>
                        <a:pt x="438812" y="251128"/>
                        <a:pt x="441325" y="254000"/>
                      </a:cubicBezTo>
                      <a:cubicBezTo>
                        <a:pt x="446351" y="259743"/>
                        <a:pt x="447920" y="268471"/>
                        <a:pt x="454025" y="273050"/>
                      </a:cubicBezTo>
                      <a:cubicBezTo>
                        <a:pt x="458258" y="276225"/>
                        <a:pt x="462419" y="279499"/>
                        <a:pt x="466725" y="282575"/>
                      </a:cubicBezTo>
                      <a:cubicBezTo>
                        <a:pt x="469830" y="284793"/>
                        <a:pt x="473319" y="286482"/>
                        <a:pt x="476250" y="288925"/>
                      </a:cubicBezTo>
                      <a:cubicBezTo>
                        <a:pt x="479699" y="291800"/>
                        <a:pt x="481850" y="296269"/>
                        <a:pt x="485775" y="298450"/>
                      </a:cubicBezTo>
                      <a:lnTo>
                        <a:pt x="514350" y="307975"/>
                      </a:lnTo>
                      <a:lnTo>
                        <a:pt x="523875" y="311150"/>
                      </a:lnTo>
                      <a:cubicBezTo>
                        <a:pt x="551702" y="338977"/>
                        <a:pt x="516403" y="304923"/>
                        <a:pt x="542925" y="327025"/>
                      </a:cubicBezTo>
                      <a:cubicBezTo>
                        <a:pt x="546374" y="329900"/>
                        <a:pt x="549275" y="333375"/>
                        <a:pt x="552450" y="336550"/>
                      </a:cubicBezTo>
                      <a:cubicBezTo>
                        <a:pt x="567540" y="381821"/>
                        <a:pt x="552378" y="334711"/>
                        <a:pt x="561975" y="368300"/>
                      </a:cubicBezTo>
                      <a:cubicBezTo>
                        <a:pt x="562894" y="371518"/>
                        <a:pt x="562783" y="375458"/>
                        <a:pt x="565150" y="377825"/>
                      </a:cubicBezTo>
                      <a:cubicBezTo>
                        <a:pt x="570546" y="383221"/>
                        <a:pt x="577850" y="386292"/>
                        <a:pt x="584200" y="390525"/>
                      </a:cubicBezTo>
                      <a:cubicBezTo>
                        <a:pt x="607406" y="405996"/>
                        <a:pt x="578227" y="387112"/>
                        <a:pt x="606425" y="403225"/>
                      </a:cubicBezTo>
                      <a:cubicBezTo>
                        <a:pt x="609738" y="405118"/>
                        <a:pt x="612295" y="408479"/>
                        <a:pt x="615950" y="409575"/>
                      </a:cubicBezTo>
                      <a:cubicBezTo>
                        <a:pt x="623118" y="411725"/>
                        <a:pt x="630767" y="411692"/>
                        <a:pt x="638175" y="412750"/>
                      </a:cubicBezTo>
                      <a:cubicBezTo>
                        <a:pt x="639233" y="415925"/>
                        <a:pt x="641350" y="418928"/>
                        <a:pt x="641350" y="422275"/>
                      </a:cubicBezTo>
                      <a:cubicBezTo>
                        <a:pt x="641350" y="424901"/>
                        <a:pt x="637098" y="449130"/>
                        <a:pt x="635000" y="454025"/>
                      </a:cubicBezTo>
                      <a:cubicBezTo>
                        <a:pt x="631685" y="461761"/>
                        <a:pt x="624846" y="467354"/>
                        <a:pt x="619125" y="473075"/>
                      </a:cubicBezTo>
                      <a:cubicBezTo>
                        <a:pt x="618067" y="476250"/>
                        <a:pt x="616762" y="479353"/>
                        <a:pt x="615950" y="482600"/>
                      </a:cubicBezTo>
                      <a:cubicBezTo>
                        <a:pt x="612113" y="497949"/>
                        <a:pt x="610017" y="510735"/>
                        <a:pt x="615950" y="527050"/>
                      </a:cubicBezTo>
                      <a:cubicBezTo>
                        <a:pt x="617254" y="530636"/>
                        <a:pt x="622300" y="531283"/>
                        <a:pt x="625475" y="533400"/>
                      </a:cubicBezTo>
                      <a:cubicBezTo>
                        <a:pt x="626533" y="536575"/>
                        <a:pt x="628650" y="539578"/>
                        <a:pt x="628650" y="542925"/>
                      </a:cubicBezTo>
                      <a:cubicBezTo>
                        <a:pt x="628650" y="543983"/>
                        <a:pt x="623797" y="562904"/>
                        <a:pt x="622300" y="565150"/>
                      </a:cubicBezTo>
                      <a:cubicBezTo>
                        <a:pt x="619809" y="568886"/>
                        <a:pt x="615385" y="571021"/>
                        <a:pt x="612775" y="574675"/>
                      </a:cubicBezTo>
                      <a:cubicBezTo>
                        <a:pt x="610024" y="578526"/>
                        <a:pt x="608542" y="583142"/>
                        <a:pt x="606425" y="587375"/>
                      </a:cubicBezTo>
                      <a:cubicBezTo>
                        <a:pt x="607483" y="590550"/>
                        <a:pt x="607509" y="594287"/>
                        <a:pt x="609600" y="596900"/>
                      </a:cubicBezTo>
                      <a:cubicBezTo>
                        <a:pt x="614076" y="602495"/>
                        <a:pt x="622375" y="604333"/>
                        <a:pt x="628650" y="606425"/>
                      </a:cubicBezTo>
                      <a:cubicBezTo>
                        <a:pt x="634650" y="612425"/>
                        <a:pt x="644525" y="618514"/>
                        <a:pt x="644525" y="628650"/>
                      </a:cubicBezTo>
                      <a:cubicBezTo>
                        <a:pt x="644525" y="645616"/>
                        <a:pt x="643996" y="662691"/>
                        <a:pt x="641350" y="679450"/>
                      </a:cubicBezTo>
                      <a:cubicBezTo>
                        <a:pt x="640132" y="687163"/>
                        <a:pt x="626865" y="695304"/>
                        <a:pt x="622300" y="698500"/>
                      </a:cubicBezTo>
                      <a:cubicBezTo>
                        <a:pt x="616048" y="702877"/>
                        <a:pt x="608646" y="705804"/>
                        <a:pt x="603250" y="711200"/>
                      </a:cubicBezTo>
                      <a:cubicBezTo>
                        <a:pt x="591027" y="723423"/>
                        <a:pt x="597461" y="718234"/>
                        <a:pt x="584200" y="727075"/>
                      </a:cubicBezTo>
                      <a:cubicBezTo>
                        <a:pt x="583142" y="730250"/>
                        <a:pt x="581025" y="733253"/>
                        <a:pt x="581025" y="736600"/>
                      </a:cubicBezTo>
                      <a:cubicBezTo>
                        <a:pt x="581025" y="745284"/>
                        <a:pt x="587339" y="748426"/>
                        <a:pt x="590550" y="755650"/>
                      </a:cubicBezTo>
                      <a:cubicBezTo>
                        <a:pt x="593268" y="761767"/>
                        <a:pt x="596900" y="774700"/>
                        <a:pt x="596900" y="774700"/>
                      </a:cubicBezTo>
                      <a:cubicBezTo>
                        <a:pt x="595842" y="805392"/>
                        <a:pt x="600703" y="836868"/>
                        <a:pt x="593725" y="866775"/>
                      </a:cubicBezTo>
                      <a:cubicBezTo>
                        <a:pt x="592262" y="873044"/>
                        <a:pt x="581113" y="869950"/>
                        <a:pt x="574675" y="869950"/>
                      </a:cubicBezTo>
                      <a:cubicBezTo>
                        <a:pt x="568237" y="869950"/>
                        <a:pt x="561870" y="868336"/>
                        <a:pt x="555625" y="866775"/>
                      </a:cubicBezTo>
                      <a:lnTo>
                        <a:pt x="527050" y="857250"/>
                      </a:lnTo>
                      <a:lnTo>
                        <a:pt x="508000" y="850900"/>
                      </a:lnTo>
                      <a:lnTo>
                        <a:pt x="498475" y="847725"/>
                      </a:lnTo>
                      <a:cubicBezTo>
                        <a:pt x="492125" y="848783"/>
                        <a:pt x="485014" y="847706"/>
                        <a:pt x="479425" y="850900"/>
                      </a:cubicBezTo>
                      <a:cubicBezTo>
                        <a:pt x="476519" y="852560"/>
                        <a:pt x="476250" y="857078"/>
                        <a:pt x="476250" y="860425"/>
                      </a:cubicBezTo>
                      <a:cubicBezTo>
                        <a:pt x="476250" y="864789"/>
                        <a:pt x="477004" y="869494"/>
                        <a:pt x="479425" y="873125"/>
                      </a:cubicBezTo>
                      <a:cubicBezTo>
                        <a:pt x="482942" y="878401"/>
                        <a:pt x="493042" y="880839"/>
                        <a:pt x="498475" y="882650"/>
                      </a:cubicBezTo>
                      <a:cubicBezTo>
                        <a:pt x="516673" y="909947"/>
                        <a:pt x="494855" y="875410"/>
                        <a:pt x="508000" y="901700"/>
                      </a:cubicBezTo>
                      <a:cubicBezTo>
                        <a:pt x="520310" y="926319"/>
                        <a:pt x="509545" y="896809"/>
                        <a:pt x="517525" y="920750"/>
                      </a:cubicBezTo>
                      <a:cubicBezTo>
                        <a:pt x="516467" y="926042"/>
                        <a:pt x="517343" y="932135"/>
                        <a:pt x="514350" y="936625"/>
                      </a:cubicBezTo>
                      <a:cubicBezTo>
                        <a:pt x="512494" y="939410"/>
                        <a:pt x="508172" y="939800"/>
                        <a:pt x="504825" y="939800"/>
                      </a:cubicBezTo>
                      <a:cubicBezTo>
                        <a:pt x="489971" y="939800"/>
                        <a:pt x="475192" y="937683"/>
                        <a:pt x="460375" y="936625"/>
                      </a:cubicBezTo>
                      <a:cubicBezTo>
                        <a:pt x="457200" y="935567"/>
                        <a:pt x="453843" y="934947"/>
                        <a:pt x="450850" y="933450"/>
                      </a:cubicBezTo>
                      <a:cubicBezTo>
                        <a:pt x="447437" y="931743"/>
                        <a:pt x="445131" y="927372"/>
                        <a:pt x="441325" y="927100"/>
                      </a:cubicBezTo>
                      <a:cubicBezTo>
                        <a:pt x="429665" y="926267"/>
                        <a:pt x="418042" y="929217"/>
                        <a:pt x="406400" y="930275"/>
                      </a:cubicBezTo>
                      <a:cubicBezTo>
                        <a:pt x="389467" y="955675"/>
                        <a:pt x="411692" y="924983"/>
                        <a:pt x="390525" y="946150"/>
                      </a:cubicBezTo>
                      <a:cubicBezTo>
                        <a:pt x="387827" y="948848"/>
                        <a:pt x="387047" y="953162"/>
                        <a:pt x="384175" y="955675"/>
                      </a:cubicBezTo>
                      <a:cubicBezTo>
                        <a:pt x="378432" y="960701"/>
                        <a:pt x="371475" y="964142"/>
                        <a:pt x="365125" y="968375"/>
                      </a:cubicBezTo>
                      <a:lnTo>
                        <a:pt x="355600" y="974725"/>
                      </a:lnTo>
                      <a:cubicBezTo>
                        <a:pt x="347133" y="973667"/>
                        <a:pt x="337997" y="975015"/>
                        <a:pt x="330200" y="971550"/>
                      </a:cubicBezTo>
                      <a:cubicBezTo>
                        <a:pt x="327142" y="970191"/>
                        <a:pt x="327837" y="965272"/>
                        <a:pt x="327025" y="962025"/>
                      </a:cubicBezTo>
                      <a:cubicBezTo>
                        <a:pt x="325716" y="956790"/>
                        <a:pt x="325159" y="951385"/>
                        <a:pt x="323850" y="946150"/>
                      </a:cubicBezTo>
                      <a:cubicBezTo>
                        <a:pt x="320783" y="933881"/>
                        <a:pt x="321961" y="937482"/>
                        <a:pt x="311150" y="930275"/>
                      </a:cubicBezTo>
                      <a:lnTo>
                        <a:pt x="298450" y="892175"/>
                      </a:lnTo>
                      <a:lnTo>
                        <a:pt x="295275" y="882650"/>
                      </a:lnTo>
                      <a:cubicBezTo>
                        <a:pt x="294217" y="879475"/>
                        <a:pt x="293956" y="875910"/>
                        <a:pt x="292100" y="873125"/>
                      </a:cubicBezTo>
                      <a:cubicBezTo>
                        <a:pt x="289983" y="869950"/>
                        <a:pt x="287300" y="867087"/>
                        <a:pt x="285750" y="863600"/>
                      </a:cubicBezTo>
                      <a:lnTo>
                        <a:pt x="276225" y="835025"/>
                      </a:lnTo>
                      <a:cubicBezTo>
                        <a:pt x="275167" y="831850"/>
                        <a:pt x="274906" y="828285"/>
                        <a:pt x="273050" y="825500"/>
                      </a:cubicBezTo>
                      <a:cubicBezTo>
                        <a:pt x="262987" y="810406"/>
                        <a:pt x="267907" y="819595"/>
                        <a:pt x="260350" y="796925"/>
                      </a:cubicBezTo>
                      <a:cubicBezTo>
                        <a:pt x="259292" y="793750"/>
                        <a:pt x="257725" y="790701"/>
                        <a:pt x="257175" y="787400"/>
                      </a:cubicBezTo>
                      <a:cubicBezTo>
                        <a:pt x="256117" y="781050"/>
                        <a:pt x="254910" y="774723"/>
                        <a:pt x="254000" y="768350"/>
                      </a:cubicBezTo>
                      <a:cubicBezTo>
                        <a:pt x="251135" y="748293"/>
                        <a:pt x="252459" y="746281"/>
                        <a:pt x="247650" y="730250"/>
                      </a:cubicBezTo>
                      <a:cubicBezTo>
                        <a:pt x="245727" y="723839"/>
                        <a:pt x="243417" y="717550"/>
                        <a:pt x="241300" y="711200"/>
                      </a:cubicBezTo>
                      <a:lnTo>
                        <a:pt x="234950" y="692150"/>
                      </a:lnTo>
                      <a:cubicBezTo>
                        <a:pt x="233892" y="688975"/>
                        <a:pt x="232587" y="685872"/>
                        <a:pt x="231775" y="682625"/>
                      </a:cubicBezTo>
                      <a:cubicBezTo>
                        <a:pt x="230126" y="676030"/>
                        <a:pt x="225149" y="654740"/>
                        <a:pt x="222250" y="650875"/>
                      </a:cubicBezTo>
                      <a:cubicBezTo>
                        <a:pt x="219075" y="646642"/>
                        <a:pt x="216169" y="642193"/>
                        <a:pt x="212725" y="638175"/>
                      </a:cubicBezTo>
                      <a:cubicBezTo>
                        <a:pt x="209803" y="634766"/>
                        <a:pt x="205957" y="632194"/>
                        <a:pt x="203200" y="628650"/>
                      </a:cubicBezTo>
                      <a:cubicBezTo>
                        <a:pt x="198515" y="622626"/>
                        <a:pt x="194733" y="615950"/>
                        <a:pt x="190500" y="609600"/>
                      </a:cubicBezTo>
                      <a:cubicBezTo>
                        <a:pt x="188383" y="606425"/>
                        <a:pt x="185357" y="603695"/>
                        <a:pt x="184150" y="600075"/>
                      </a:cubicBezTo>
                      <a:cubicBezTo>
                        <a:pt x="183092" y="596900"/>
                        <a:pt x="183066" y="593163"/>
                        <a:pt x="180975" y="590550"/>
                      </a:cubicBezTo>
                      <a:cubicBezTo>
                        <a:pt x="178591" y="587570"/>
                        <a:pt x="174625" y="586317"/>
                        <a:pt x="171450" y="584200"/>
                      </a:cubicBezTo>
                      <a:lnTo>
                        <a:pt x="146050" y="546100"/>
                      </a:lnTo>
                      <a:lnTo>
                        <a:pt x="139700" y="536575"/>
                      </a:lnTo>
                      <a:cubicBezTo>
                        <a:pt x="132292" y="525463"/>
                        <a:pt x="130175" y="519642"/>
                        <a:pt x="114300" y="514350"/>
                      </a:cubicBezTo>
                      <a:cubicBezTo>
                        <a:pt x="107950" y="512233"/>
                        <a:pt x="101943" y="508000"/>
                        <a:pt x="95250" y="508000"/>
                      </a:cubicBezTo>
                      <a:lnTo>
                        <a:pt x="44450" y="51435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6" name="Freeform 315"/>
                <p:cNvSpPr/>
                <p:nvPr/>
              </p:nvSpPr>
              <p:spPr>
                <a:xfrm>
                  <a:off x="1314738" y="2947008"/>
                  <a:ext cx="676387" cy="810273"/>
                </a:xfrm>
                <a:custGeom>
                  <a:avLst/>
                  <a:gdLst>
                    <a:gd name="connsiteX0" fmla="*/ 112 w 676387"/>
                    <a:gd name="connsiteY0" fmla="*/ 114300 h 810273"/>
                    <a:gd name="connsiteX1" fmla="*/ 12018 w 676387"/>
                    <a:gd name="connsiteY1" fmla="*/ 121444 h 810273"/>
                    <a:gd name="connsiteX2" fmla="*/ 33450 w 676387"/>
                    <a:gd name="connsiteY2" fmla="*/ 116681 h 810273"/>
                    <a:gd name="connsiteX3" fmla="*/ 54881 w 676387"/>
                    <a:gd name="connsiteY3" fmla="*/ 111919 h 810273"/>
                    <a:gd name="connsiteX4" fmla="*/ 66787 w 676387"/>
                    <a:gd name="connsiteY4" fmla="*/ 100012 h 810273"/>
                    <a:gd name="connsiteX5" fmla="*/ 73931 w 676387"/>
                    <a:gd name="connsiteY5" fmla="*/ 85725 h 810273"/>
                    <a:gd name="connsiteX6" fmla="*/ 97743 w 676387"/>
                    <a:gd name="connsiteY6" fmla="*/ 73819 h 810273"/>
                    <a:gd name="connsiteX7" fmla="*/ 116793 w 676387"/>
                    <a:gd name="connsiteY7" fmla="*/ 76200 h 810273"/>
                    <a:gd name="connsiteX8" fmla="*/ 131081 w 676387"/>
                    <a:gd name="connsiteY8" fmla="*/ 80962 h 810273"/>
                    <a:gd name="connsiteX9" fmla="*/ 202518 w 676387"/>
                    <a:gd name="connsiteY9" fmla="*/ 78581 h 810273"/>
                    <a:gd name="connsiteX10" fmla="*/ 204900 w 676387"/>
                    <a:gd name="connsiteY10" fmla="*/ 64294 h 810273"/>
                    <a:gd name="connsiteX11" fmla="*/ 195375 w 676387"/>
                    <a:gd name="connsiteY11" fmla="*/ 50006 h 810273"/>
                    <a:gd name="connsiteX12" fmla="*/ 178706 w 676387"/>
                    <a:gd name="connsiteY12" fmla="*/ 40481 h 810273"/>
                    <a:gd name="connsiteX13" fmla="*/ 159656 w 676387"/>
                    <a:gd name="connsiteY13" fmla="*/ 23812 h 810273"/>
                    <a:gd name="connsiteX14" fmla="*/ 157275 w 676387"/>
                    <a:gd name="connsiteY14" fmla="*/ 16669 h 810273"/>
                    <a:gd name="connsiteX15" fmla="*/ 159656 w 676387"/>
                    <a:gd name="connsiteY15" fmla="*/ 4762 h 810273"/>
                    <a:gd name="connsiteX16" fmla="*/ 166800 w 676387"/>
                    <a:gd name="connsiteY16" fmla="*/ 0 h 810273"/>
                    <a:gd name="connsiteX17" fmla="*/ 214425 w 676387"/>
                    <a:gd name="connsiteY17" fmla="*/ 2381 h 810273"/>
                    <a:gd name="connsiteX18" fmla="*/ 228712 w 676387"/>
                    <a:gd name="connsiteY18" fmla="*/ 9525 h 810273"/>
                    <a:gd name="connsiteX19" fmla="*/ 252525 w 676387"/>
                    <a:gd name="connsiteY19" fmla="*/ 16669 h 810273"/>
                    <a:gd name="connsiteX20" fmla="*/ 266812 w 676387"/>
                    <a:gd name="connsiteY20" fmla="*/ 21431 h 810273"/>
                    <a:gd name="connsiteX21" fmla="*/ 271575 w 676387"/>
                    <a:gd name="connsiteY21" fmla="*/ 28575 h 810273"/>
                    <a:gd name="connsiteX22" fmla="*/ 266812 w 676387"/>
                    <a:gd name="connsiteY22" fmla="*/ 47625 h 810273"/>
                    <a:gd name="connsiteX23" fmla="*/ 269193 w 676387"/>
                    <a:gd name="connsiteY23" fmla="*/ 78581 h 810273"/>
                    <a:gd name="connsiteX24" fmla="*/ 276337 w 676387"/>
                    <a:gd name="connsiteY24" fmla="*/ 83344 h 810273"/>
                    <a:gd name="connsiteX25" fmla="*/ 335868 w 676387"/>
                    <a:gd name="connsiteY25" fmla="*/ 85725 h 810273"/>
                    <a:gd name="connsiteX26" fmla="*/ 350156 w 676387"/>
                    <a:gd name="connsiteY26" fmla="*/ 95250 h 810273"/>
                    <a:gd name="connsiteX27" fmla="*/ 364443 w 676387"/>
                    <a:gd name="connsiteY27" fmla="*/ 107156 h 810273"/>
                    <a:gd name="connsiteX28" fmla="*/ 383493 w 676387"/>
                    <a:gd name="connsiteY28" fmla="*/ 128587 h 810273"/>
                    <a:gd name="connsiteX29" fmla="*/ 397781 w 676387"/>
                    <a:gd name="connsiteY29" fmla="*/ 138112 h 810273"/>
                    <a:gd name="connsiteX30" fmla="*/ 412068 w 676387"/>
                    <a:gd name="connsiteY30" fmla="*/ 147637 h 810273"/>
                    <a:gd name="connsiteX31" fmla="*/ 414450 w 676387"/>
                    <a:gd name="connsiteY31" fmla="*/ 185737 h 810273"/>
                    <a:gd name="connsiteX32" fmla="*/ 409687 w 676387"/>
                    <a:gd name="connsiteY32" fmla="*/ 200025 h 810273"/>
                    <a:gd name="connsiteX33" fmla="*/ 407306 w 676387"/>
                    <a:gd name="connsiteY33" fmla="*/ 207169 h 810273"/>
                    <a:gd name="connsiteX34" fmla="*/ 409687 w 676387"/>
                    <a:gd name="connsiteY34" fmla="*/ 240506 h 810273"/>
                    <a:gd name="connsiteX35" fmla="*/ 416831 w 676387"/>
                    <a:gd name="connsiteY35" fmla="*/ 254794 h 810273"/>
                    <a:gd name="connsiteX36" fmla="*/ 421593 w 676387"/>
                    <a:gd name="connsiteY36" fmla="*/ 264319 h 810273"/>
                    <a:gd name="connsiteX37" fmla="*/ 428737 w 676387"/>
                    <a:gd name="connsiteY37" fmla="*/ 269081 h 810273"/>
                    <a:gd name="connsiteX38" fmla="*/ 435881 w 676387"/>
                    <a:gd name="connsiteY38" fmla="*/ 276225 h 810273"/>
                    <a:gd name="connsiteX39" fmla="*/ 440643 w 676387"/>
                    <a:gd name="connsiteY39" fmla="*/ 283369 h 810273"/>
                    <a:gd name="connsiteX40" fmla="*/ 454931 w 676387"/>
                    <a:gd name="connsiteY40" fmla="*/ 295275 h 810273"/>
                    <a:gd name="connsiteX41" fmla="*/ 459693 w 676387"/>
                    <a:gd name="connsiteY41" fmla="*/ 302419 h 810273"/>
                    <a:gd name="connsiteX42" fmla="*/ 466837 w 676387"/>
                    <a:gd name="connsiteY42" fmla="*/ 304800 h 810273"/>
                    <a:gd name="connsiteX43" fmla="*/ 481125 w 676387"/>
                    <a:gd name="connsiteY43" fmla="*/ 314325 h 810273"/>
                    <a:gd name="connsiteX44" fmla="*/ 488268 w 676387"/>
                    <a:gd name="connsiteY44" fmla="*/ 319087 h 810273"/>
                    <a:gd name="connsiteX45" fmla="*/ 495412 w 676387"/>
                    <a:gd name="connsiteY45" fmla="*/ 323850 h 810273"/>
                    <a:gd name="connsiteX46" fmla="*/ 500175 w 676387"/>
                    <a:gd name="connsiteY46" fmla="*/ 330994 h 810273"/>
                    <a:gd name="connsiteX47" fmla="*/ 509700 w 676387"/>
                    <a:gd name="connsiteY47" fmla="*/ 352425 h 810273"/>
                    <a:gd name="connsiteX48" fmla="*/ 512081 w 676387"/>
                    <a:gd name="connsiteY48" fmla="*/ 359569 h 810273"/>
                    <a:gd name="connsiteX49" fmla="*/ 523987 w 676387"/>
                    <a:gd name="connsiteY49" fmla="*/ 373856 h 810273"/>
                    <a:gd name="connsiteX50" fmla="*/ 531131 w 676387"/>
                    <a:gd name="connsiteY50" fmla="*/ 378619 h 810273"/>
                    <a:gd name="connsiteX51" fmla="*/ 554943 w 676387"/>
                    <a:gd name="connsiteY51" fmla="*/ 383381 h 810273"/>
                    <a:gd name="connsiteX52" fmla="*/ 562087 w 676387"/>
                    <a:gd name="connsiteY52" fmla="*/ 385762 h 810273"/>
                    <a:gd name="connsiteX53" fmla="*/ 564468 w 676387"/>
                    <a:gd name="connsiteY53" fmla="*/ 392906 h 810273"/>
                    <a:gd name="connsiteX54" fmla="*/ 573993 w 676387"/>
                    <a:gd name="connsiteY54" fmla="*/ 407194 h 810273"/>
                    <a:gd name="connsiteX55" fmla="*/ 576375 w 676387"/>
                    <a:gd name="connsiteY55" fmla="*/ 414337 h 810273"/>
                    <a:gd name="connsiteX56" fmla="*/ 583518 w 676387"/>
                    <a:gd name="connsiteY56" fmla="*/ 416719 h 810273"/>
                    <a:gd name="connsiteX57" fmla="*/ 588281 w 676387"/>
                    <a:gd name="connsiteY57" fmla="*/ 423862 h 810273"/>
                    <a:gd name="connsiteX58" fmla="*/ 595425 w 676387"/>
                    <a:gd name="connsiteY58" fmla="*/ 426244 h 810273"/>
                    <a:gd name="connsiteX59" fmla="*/ 609712 w 676387"/>
                    <a:gd name="connsiteY59" fmla="*/ 433387 h 810273"/>
                    <a:gd name="connsiteX60" fmla="*/ 616856 w 676387"/>
                    <a:gd name="connsiteY60" fmla="*/ 438150 h 810273"/>
                    <a:gd name="connsiteX61" fmla="*/ 635906 w 676387"/>
                    <a:gd name="connsiteY61" fmla="*/ 442912 h 810273"/>
                    <a:gd name="connsiteX62" fmla="*/ 643050 w 676387"/>
                    <a:gd name="connsiteY62" fmla="*/ 445294 h 810273"/>
                    <a:gd name="connsiteX63" fmla="*/ 669243 w 676387"/>
                    <a:gd name="connsiteY63" fmla="*/ 450056 h 810273"/>
                    <a:gd name="connsiteX64" fmla="*/ 676387 w 676387"/>
                    <a:gd name="connsiteY64" fmla="*/ 452437 h 810273"/>
                    <a:gd name="connsiteX65" fmla="*/ 674006 w 676387"/>
                    <a:gd name="connsiteY65" fmla="*/ 481012 h 810273"/>
                    <a:gd name="connsiteX66" fmla="*/ 659718 w 676387"/>
                    <a:gd name="connsiteY66" fmla="*/ 490537 h 810273"/>
                    <a:gd name="connsiteX67" fmla="*/ 650193 w 676387"/>
                    <a:gd name="connsiteY67" fmla="*/ 511969 h 810273"/>
                    <a:gd name="connsiteX68" fmla="*/ 640668 w 676387"/>
                    <a:gd name="connsiteY68" fmla="*/ 533400 h 810273"/>
                    <a:gd name="connsiteX69" fmla="*/ 628762 w 676387"/>
                    <a:gd name="connsiteY69" fmla="*/ 554831 h 810273"/>
                    <a:gd name="connsiteX70" fmla="*/ 621618 w 676387"/>
                    <a:gd name="connsiteY70" fmla="*/ 559594 h 810273"/>
                    <a:gd name="connsiteX71" fmla="*/ 602568 w 676387"/>
                    <a:gd name="connsiteY71" fmla="*/ 571500 h 810273"/>
                    <a:gd name="connsiteX72" fmla="*/ 595425 w 676387"/>
                    <a:gd name="connsiteY72" fmla="*/ 573881 h 810273"/>
                    <a:gd name="connsiteX73" fmla="*/ 590662 w 676387"/>
                    <a:gd name="connsiteY73" fmla="*/ 588169 h 810273"/>
                    <a:gd name="connsiteX74" fmla="*/ 588281 w 676387"/>
                    <a:gd name="connsiteY74" fmla="*/ 595312 h 810273"/>
                    <a:gd name="connsiteX75" fmla="*/ 583518 w 676387"/>
                    <a:gd name="connsiteY75" fmla="*/ 614362 h 810273"/>
                    <a:gd name="connsiteX76" fmla="*/ 581137 w 676387"/>
                    <a:gd name="connsiteY76" fmla="*/ 638175 h 810273"/>
                    <a:gd name="connsiteX77" fmla="*/ 578756 w 676387"/>
                    <a:gd name="connsiteY77" fmla="*/ 678656 h 810273"/>
                    <a:gd name="connsiteX78" fmla="*/ 573993 w 676387"/>
                    <a:gd name="connsiteY78" fmla="*/ 692944 h 810273"/>
                    <a:gd name="connsiteX79" fmla="*/ 571612 w 676387"/>
                    <a:gd name="connsiteY79" fmla="*/ 700087 h 810273"/>
                    <a:gd name="connsiteX80" fmla="*/ 559706 w 676387"/>
                    <a:gd name="connsiteY80" fmla="*/ 735806 h 810273"/>
                    <a:gd name="connsiteX81" fmla="*/ 557325 w 676387"/>
                    <a:gd name="connsiteY81" fmla="*/ 742950 h 810273"/>
                    <a:gd name="connsiteX82" fmla="*/ 554943 w 676387"/>
                    <a:gd name="connsiteY82" fmla="*/ 750094 h 810273"/>
                    <a:gd name="connsiteX83" fmla="*/ 547800 w 676387"/>
                    <a:gd name="connsiteY83" fmla="*/ 769144 h 810273"/>
                    <a:gd name="connsiteX84" fmla="*/ 540656 w 676387"/>
                    <a:gd name="connsiteY84" fmla="*/ 771525 h 810273"/>
                    <a:gd name="connsiteX85" fmla="*/ 514462 w 676387"/>
                    <a:gd name="connsiteY85" fmla="*/ 773906 h 810273"/>
                    <a:gd name="connsiteX86" fmla="*/ 502556 w 676387"/>
                    <a:gd name="connsiteY86" fmla="*/ 790575 h 810273"/>
                    <a:gd name="connsiteX87" fmla="*/ 502556 w 676387"/>
                    <a:gd name="connsiteY87" fmla="*/ 790575 h 810273"/>
                    <a:gd name="connsiteX88" fmla="*/ 495412 w 676387"/>
                    <a:gd name="connsiteY88" fmla="*/ 795337 h 810273"/>
                    <a:gd name="connsiteX89" fmla="*/ 483506 w 676387"/>
                    <a:gd name="connsiteY89" fmla="*/ 797719 h 810273"/>
                    <a:gd name="connsiteX90" fmla="*/ 466837 w 676387"/>
                    <a:gd name="connsiteY90" fmla="*/ 802481 h 810273"/>
                    <a:gd name="connsiteX91" fmla="*/ 462075 w 676387"/>
                    <a:gd name="connsiteY91" fmla="*/ 809625 h 810273"/>
                    <a:gd name="connsiteX92" fmla="*/ 443025 w 676387"/>
                    <a:gd name="connsiteY92" fmla="*/ 792956 h 810273"/>
                    <a:gd name="connsiteX93" fmla="*/ 440643 w 676387"/>
                    <a:gd name="connsiteY93" fmla="*/ 783431 h 810273"/>
                    <a:gd name="connsiteX94" fmla="*/ 438262 w 676387"/>
                    <a:gd name="connsiteY94" fmla="*/ 776287 h 810273"/>
                    <a:gd name="connsiteX95" fmla="*/ 431118 w 676387"/>
                    <a:gd name="connsiteY95" fmla="*/ 769144 h 810273"/>
                    <a:gd name="connsiteX96" fmla="*/ 423975 w 676387"/>
                    <a:gd name="connsiteY96" fmla="*/ 714375 h 810273"/>
                    <a:gd name="connsiteX97" fmla="*/ 419212 w 676387"/>
                    <a:gd name="connsiteY97" fmla="*/ 700087 h 810273"/>
                    <a:gd name="connsiteX98" fmla="*/ 416831 w 676387"/>
                    <a:gd name="connsiteY98" fmla="*/ 692944 h 810273"/>
                    <a:gd name="connsiteX99" fmla="*/ 414450 w 676387"/>
                    <a:gd name="connsiteY99" fmla="*/ 673894 h 810273"/>
                    <a:gd name="connsiteX100" fmla="*/ 409687 w 676387"/>
                    <a:gd name="connsiteY100" fmla="*/ 654844 h 810273"/>
                    <a:gd name="connsiteX101" fmla="*/ 407306 w 676387"/>
                    <a:gd name="connsiteY101" fmla="*/ 645319 h 810273"/>
                    <a:gd name="connsiteX102" fmla="*/ 402543 w 676387"/>
                    <a:gd name="connsiteY102" fmla="*/ 631031 h 810273"/>
                    <a:gd name="connsiteX103" fmla="*/ 395400 w 676387"/>
                    <a:gd name="connsiteY103" fmla="*/ 616744 h 810273"/>
                    <a:gd name="connsiteX104" fmla="*/ 388256 w 676387"/>
                    <a:gd name="connsiteY104" fmla="*/ 611981 h 810273"/>
                    <a:gd name="connsiteX105" fmla="*/ 378731 w 676387"/>
                    <a:gd name="connsiteY105" fmla="*/ 597694 h 810273"/>
                    <a:gd name="connsiteX106" fmla="*/ 373968 w 676387"/>
                    <a:gd name="connsiteY106" fmla="*/ 590550 h 810273"/>
                    <a:gd name="connsiteX107" fmla="*/ 366825 w 676387"/>
                    <a:gd name="connsiteY107" fmla="*/ 576262 h 810273"/>
                    <a:gd name="connsiteX108" fmla="*/ 364443 w 676387"/>
                    <a:gd name="connsiteY108" fmla="*/ 569119 h 810273"/>
                    <a:gd name="connsiteX109" fmla="*/ 347775 w 676387"/>
                    <a:gd name="connsiteY109" fmla="*/ 547687 h 810273"/>
                    <a:gd name="connsiteX110" fmla="*/ 340631 w 676387"/>
                    <a:gd name="connsiteY110" fmla="*/ 542925 h 810273"/>
                    <a:gd name="connsiteX111" fmla="*/ 335868 w 676387"/>
                    <a:gd name="connsiteY111" fmla="*/ 535781 h 810273"/>
                    <a:gd name="connsiteX112" fmla="*/ 323962 w 676387"/>
                    <a:gd name="connsiteY112" fmla="*/ 521494 h 810273"/>
                    <a:gd name="connsiteX113" fmla="*/ 316818 w 676387"/>
                    <a:gd name="connsiteY113" fmla="*/ 504825 h 810273"/>
                    <a:gd name="connsiteX114" fmla="*/ 312056 w 676387"/>
                    <a:gd name="connsiteY114" fmla="*/ 490537 h 810273"/>
                    <a:gd name="connsiteX115" fmla="*/ 307293 w 676387"/>
                    <a:gd name="connsiteY115" fmla="*/ 476250 h 810273"/>
                    <a:gd name="connsiteX116" fmla="*/ 304912 w 676387"/>
                    <a:gd name="connsiteY116" fmla="*/ 469106 h 810273"/>
                    <a:gd name="connsiteX117" fmla="*/ 300150 w 676387"/>
                    <a:gd name="connsiteY117" fmla="*/ 461962 h 810273"/>
                    <a:gd name="connsiteX118" fmla="*/ 295387 w 676387"/>
                    <a:gd name="connsiteY118" fmla="*/ 445294 h 810273"/>
                    <a:gd name="connsiteX119" fmla="*/ 288243 w 676387"/>
                    <a:gd name="connsiteY119" fmla="*/ 421481 h 810273"/>
                    <a:gd name="connsiteX120" fmla="*/ 285862 w 676387"/>
                    <a:gd name="connsiteY120" fmla="*/ 414337 h 810273"/>
                    <a:gd name="connsiteX121" fmla="*/ 271575 w 676387"/>
                    <a:gd name="connsiteY121" fmla="*/ 392906 h 810273"/>
                    <a:gd name="connsiteX122" fmla="*/ 266812 w 676387"/>
                    <a:gd name="connsiteY122" fmla="*/ 385762 h 810273"/>
                    <a:gd name="connsiteX123" fmla="*/ 257287 w 676387"/>
                    <a:gd name="connsiteY123" fmla="*/ 371475 h 810273"/>
                    <a:gd name="connsiteX124" fmla="*/ 245381 w 676387"/>
                    <a:gd name="connsiteY124" fmla="*/ 359569 h 810273"/>
                    <a:gd name="connsiteX125" fmla="*/ 233475 w 676387"/>
                    <a:gd name="connsiteY125" fmla="*/ 345281 h 810273"/>
                    <a:gd name="connsiteX126" fmla="*/ 219187 w 676387"/>
                    <a:gd name="connsiteY126" fmla="*/ 321469 h 810273"/>
                    <a:gd name="connsiteX127" fmla="*/ 207281 w 676387"/>
                    <a:gd name="connsiteY127" fmla="*/ 307181 h 810273"/>
                    <a:gd name="connsiteX128" fmla="*/ 197756 w 676387"/>
                    <a:gd name="connsiteY128" fmla="*/ 292894 h 810273"/>
                    <a:gd name="connsiteX129" fmla="*/ 192993 w 676387"/>
                    <a:gd name="connsiteY129" fmla="*/ 285750 h 810273"/>
                    <a:gd name="connsiteX130" fmla="*/ 183468 w 676387"/>
                    <a:gd name="connsiteY130" fmla="*/ 264319 h 810273"/>
                    <a:gd name="connsiteX131" fmla="*/ 176325 w 676387"/>
                    <a:gd name="connsiteY131" fmla="*/ 250031 h 810273"/>
                    <a:gd name="connsiteX132" fmla="*/ 169181 w 676387"/>
                    <a:gd name="connsiteY132" fmla="*/ 245269 h 810273"/>
                    <a:gd name="connsiteX133" fmla="*/ 162037 w 676387"/>
                    <a:gd name="connsiteY133" fmla="*/ 223837 h 810273"/>
                    <a:gd name="connsiteX134" fmla="*/ 159656 w 676387"/>
                    <a:gd name="connsiteY134" fmla="*/ 216694 h 810273"/>
                    <a:gd name="connsiteX135" fmla="*/ 154893 w 676387"/>
                    <a:gd name="connsiteY135" fmla="*/ 200025 h 810273"/>
                    <a:gd name="connsiteX136" fmla="*/ 140606 w 676387"/>
                    <a:gd name="connsiteY136" fmla="*/ 190500 h 810273"/>
                    <a:gd name="connsiteX137" fmla="*/ 112031 w 676387"/>
                    <a:gd name="connsiteY137" fmla="*/ 171450 h 810273"/>
                    <a:gd name="connsiteX138" fmla="*/ 97743 w 676387"/>
                    <a:gd name="connsiteY138" fmla="*/ 161925 h 810273"/>
                    <a:gd name="connsiteX139" fmla="*/ 83456 w 676387"/>
                    <a:gd name="connsiteY139" fmla="*/ 157162 h 810273"/>
                    <a:gd name="connsiteX140" fmla="*/ 76312 w 676387"/>
                    <a:gd name="connsiteY140" fmla="*/ 154781 h 810273"/>
                    <a:gd name="connsiteX141" fmla="*/ 54881 w 676387"/>
                    <a:gd name="connsiteY141" fmla="*/ 150019 h 810273"/>
                    <a:gd name="connsiteX142" fmla="*/ 26306 w 676387"/>
                    <a:gd name="connsiteY142" fmla="*/ 135731 h 810273"/>
                    <a:gd name="connsiteX143" fmla="*/ 19162 w 676387"/>
                    <a:gd name="connsiteY143" fmla="*/ 133350 h 810273"/>
                    <a:gd name="connsiteX144" fmla="*/ 112 w 676387"/>
                    <a:gd name="connsiteY144" fmla="*/ 114300 h 81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676387" h="810273">
                      <a:moveTo>
                        <a:pt x="112" y="114300"/>
                      </a:moveTo>
                      <a:cubicBezTo>
                        <a:pt x="-1079" y="112316"/>
                        <a:pt x="7464" y="120616"/>
                        <a:pt x="12018" y="121444"/>
                      </a:cubicBezTo>
                      <a:cubicBezTo>
                        <a:pt x="20522" y="122990"/>
                        <a:pt x="26019" y="118332"/>
                        <a:pt x="33450" y="116681"/>
                      </a:cubicBezTo>
                      <a:cubicBezTo>
                        <a:pt x="58595" y="111094"/>
                        <a:pt x="38799" y="117279"/>
                        <a:pt x="54881" y="111919"/>
                      </a:cubicBezTo>
                      <a:cubicBezTo>
                        <a:pt x="62025" y="107156"/>
                        <a:pt x="62818" y="107950"/>
                        <a:pt x="66787" y="100012"/>
                      </a:cubicBezTo>
                      <a:cubicBezTo>
                        <a:pt x="69995" y="93595"/>
                        <a:pt x="67864" y="91034"/>
                        <a:pt x="73931" y="85725"/>
                      </a:cubicBezTo>
                      <a:cubicBezTo>
                        <a:pt x="85272" y="75802"/>
                        <a:pt x="85907" y="76778"/>
                        <a:pt x="97743" y="73819"/>
                      </a:cubicBezTo>
                      <a:cubicBezTo>
                        <a:pt x="104093" y="74613"/>
                        <a:pt x="110536" y="74859"/>
                        <a:pt x="116793" y="76200"/>
                      </a:cubicBezTo>
                      <a:cubicBezTo>
                        <a:pt x="121702" y="77252"/>
                        <a:pt x="131081" y="80962"/>
                        <a:pt x="131081" y="80962"/>
                      </a:cubicBezTo>
                      <a:cubicBezTo>
                        <a:pt x="154893" y="80168"/>
                        <a:pt x="179278" y="83829"/>
                        <a:pt x="202518" y="78581"/>
                      </a:cubicBezTo>
                      <a:cubicBezTo>
                        <a:pt x="207228" y="77518"/>
                        <a:pt x="204900" y="69122"/>
                        <a:pt x="204900" y="64294"/>
                      </a:cubicBezTo>
                      <a:cubicBezTo>
                        <a:pt x="204900" y="52677"/>
                        <a:pt x="202551" y="55987"/>
                        <a:pt x="195375" y="50006"/>
                      </a:cubicBezTo>
                      <a:cubicBezTo>
                        <a:pt x="183216" y="39873"/>
                        <a:pt x="194122" y="44335"/>
                        <a:pt x="178706" y="40481"/>
                      </a:cubicBezTo>
                      <a:cubicBezTo>
                        <a:pt x="167988" y="33336"/>
                        <a:pt x="164617" y="33735"/>
                        <a:pt x="159656" y="23812"/>
                      </a:cubicBezTo>
                      <a:cubicBezTo>
                        <a:pt x="158534" y="21567"/>
                        <a:pt x="158069" y="19050"/>
                        <a:pt x="157275" y="16669"/>
                      </a:cubicBezTo>
                      <a:cubicBezTo>
                        <a:pt x="158069" y="12700"/>
                        <a:pt x="157648" y="8276"/>
                        <a:pt x="159656" y="4762"/>
                      </a:cubicBezTo>
                      <a:cubicBezTo>
                        <a:pt x="161076" y="2277"/>
                        <a:pt x="163941" y="124"/>
                        <a:pt x="166800" y="0"/>
                      </a:cubicBezTo>
                      <a:lnTo>
                        <a:pt x="214425" y="2381"/>
                      </a:lnTo>
                      <a:cubicBezTo>
                        <a:pt x="240482" y="11067"/>
                        <a:pt x="201008" y="-2788"/>
                        <a:pt x="228712" y="9525"/>
                      </a:cubicBezTo>
                      <a:cubicBezTo>
                        <a:pt x="240355" y="14699"/>
                        <a:pt x="241878" y="13475"/>
                        <a:pt x="252525" y="16669"/>
                      </a:cubicBezTo>
                      <a:cubicBezTo>
                        <a:pt x="257333" y="18112"/>
                        <a:pt x="266812" y="21431"/>
                        <a:pt x="266812" y="21431"/>
                      </a:cubicBezTo>
                      <a:cubicBezTo>
                        <a:pt x="268400" y="23812"/>
                        <a:pt x="271220" y="25735"/>
                        <a:pt x="271575" y="28575"/>
                      </a:cubicBezTo>
                      <a:cubicBezTo>
                        <a:pt x="272097" y="32752"/>
                        <a:pt x="268366" y="42962"/>
                        <a:pt x="266812" y="47625"/>
                      </a:cubicBezTo>
                      <a:cubicBezTo>
                        <a:pt x="267606" y="57944"/>
                        <a:pt x="266526" y="68581"/>
                        <a:pt x="269193" y="78581"/>
                      </a:cubicBezTo>
                      <a:cubicBezTo>
                        <a:pt x="269930" y="81346"/>
                        <a:pt x="273491" y="83039"/>
                        <a:pt x="276337" y="83344"/>
                      </a:cubicBezTo>
                      <a:cubicBezTo>
                        <a:pt x="296084" y="85460"/>
                        <a:pt x="316024" y="84931"/>
                        <a:pt x="335868" y="85725"/>
                      </a:cubicBezTo>
                      <a:cubicBezTo>
                        <a:pt x="340631" y="88900"/>
                        <a:pt x="346109" y="91203"/>
                        <a:pt x="350156" y="95250"/>
                      </a:cubicBezTo>
                      <a:cubicBezTo>
                        <a:pt x="359323" y="104417"/>
                        <a:pt x="354498" y="100526"/>
                        <a:pt x="364443" y="107156"/>
                      </a:cubicBezTo>
                      <a:cubicBezTo>
                        <a:pt x="370169" y="115744"/>
                        <a:pt x="373708" y="122064"/>
                        <a:pt x="383493" y="128587"/>
                      </a:cubicBezTo>
                      <a:cubicBezTo>
                        <a:pt x="388256" y="131762"/>
                        <a:pt x="393734" y="134065"/>
                        <a:pt x="397781" y="138112"/>
                      </a:cubicBezTo>
                      <a:cubicBezTo>
                        <a:pt x="406700" y="147031"/>
                        <a:pt x="401730" y="144191"/>
                        <a:pt x="412068" y="147637"/>
                      </a:cubicBezTo>
                      <a:cubicBezTo>
                        <a:pt x="421960" y="162474"/>
                        <a:pt x="419264" y="155248"/>
                        <a:pt x="414450" y="185737"/>
                      </a:cubicBezTo>
                      <a:cubicBezTo>
                        <a:pt x="413667" y="190696"/>
                        <a:pt x="411275" y="195262"/>
                        <a:pt x="409687" y="200025"/>
                      </a:cubicBezTo>
                      <a:lnTo>
                        <a:pt x="407306" y="207169"/>
                      </a:lnTo>
                      <a:cubicBezTo>
                        <a:pt x="408100" y="218281"/>
                        <a:pt x="408385" y="229442"/>
                        <a:pt x="409687" y="240506"/>
                      </a:cubicBezTo>
                      <a:cubicBezTo>
                        <a:pt x="410496" y="247380"/>
                        <a:pt x="413500" y="248965"/>
                        <a:pt x="416831" y="254794"/>
                      </a:cubicBezTo>
                      <a:cubicBezTo>
                        <a:pt x="418592" y="257876"/>
                        <a:pt x="419321" y="261592"/>
                        <a:pt x="421593" y="264319"/>
                      </a:cubicBezTo>
                      <a:cubicBezTo>
                        <a:pt x="423425" y="266518"/>
                        <a:pt x="426538" y="267249"/>
                        <a:pt x="428737" y="269081"/>
                      </a:cubicBezTo>
                      <a:cubicBezTo>
                        <a:pt x="431324" y="271237"/>
                        <a:pt x="433725" y="273638"/>
                        <a:pt x="435881" y="276225"/>
                      </a:cubicBezTo>
                      <a:cubicBezTo>
                        <a:pt x="437713" y="278424"/>
                        <a:pt x="438811" y="281170"/>
                        <a:pt x="440643" y="283369"/>
                      </a:cubicBezTo>
                      <a:cubicBezTo>
                        <a:pt x="446370" y="290242"/>
                        <a:pt x="447909" y="290594"/>
                        <a:pt x="454931" y="295275"/>
                      </a:cubicBezTo>
                      <a:cubicBezTo>
                        <a:pt x="456518" y="297656"/>
                        <a:pt x="457458" y="300631"/>
                        <a:pt x="459693" y="302419"/>
                      </a:cubicBezTo>
                      <a:cubicBezTo>
                        <a:pt x="461653" y="303987"/>
                        <a:pt x="464643" y="303581"/>
                        <a:pt x="466837" y="304800"/>
                      </a:cubicBezTo>
                      <a:cubicBezTo>
                        <a:pt x="471841" y="307580"/>
                        <a:pt x="476362" y="311150"/>
                        <a:pt x="481125" y="314325"/>
                      </a:cubicBezTo>
                      <a:lnTo>
                        <a:pt x="488268" y="319087"/>
                      </a:lnTo>
                      <a:lnTo>
                        <a:pt x="495412" y="323850"/>
                      </a:lnTo>
                      <a:cubicBezTo>
                        <a:pt x="497000" y="326231"/>
                        <a:pt x="499013" y="328379"/>
                        <a:pt x="500175" y="330994"/>
                      </a:cubicBezTo>
                      <a:cubicBezTo>
                        <a:pt x="511510" y="356498"/>
                        <a:pt x="498921" y="336257"/>
                        <a:pt x="509700" y="352425"/>
                      </a:cubicBezTo>
                      <a:cubicBezTo>
                        <a:pt x="510494" y="354806"/>
                        <a:pt x="510959" y="357324"/>
                        <a:pt x="512081" y="359569"/>
                      </a:cubicBezTo>
                      <a:cubicBezTo>
                        <a:pt x="514757" y="364920"/>
                        <a:pt x="519473" y="370095"/>
                        <a:pt x="523987" y="373856"/>
                      </a:cubicBezTo>
                      <a:cubicBezTo>
                        <a:pt x="526186" y="375688"/>
                        <a:pt x="528395" y="377777"/>
                        <a:pt x="531131" y="378619"/>
                      </a:cubicBezTo>
                      <a:cubicBezTo>
                        <a:pt x="538868" y="380999"/>
                        <a:pt x="547264" y="380822"/>
                        <a:pt x="554943" y="383381"/>
                      </a:cubicBezTo>
                      <a:lnTo>
                        <a:pt x="562087" y="385762"/>
                      </a:lnTo>
                      <a:cubicBezTo>
                        <a:pt x="562881" y="388143"/>
                        <a:pt x="563249" y="390712"/>
                        <a:pt x="564468" y="392906"/>
                      </a:cubicBezTo>
                      <a:cubicBezTo>
                        <a:pt x="567248" y="397910"/>
                        <a:pt x="572182" y="401764"/>
                        <a:pt x="573993" y="407194"/>
                      </a:cubicBezTo>
                      <a:cubicBezTo>
                        <a:pt x="574787" y="409575"/>
                        <a:pt x="574600" y="412562"/>
                        <a:pt x="576375" y="414337"/>
                      </a:cubicBezTo>
                      <a:cubicBezTo>
                        <a:pt x="578150" y="416112"/>
                        <a:pt x="581137" y="415925"/>
                        <a:pt x="583518" y="416719"/>
                      </a:cubicBezTo>
                      <a:cubicBezTo>
                        <a:pt x="585106" y="419100"/>
                        <a:pt x="586046" y="422074"/>
                        <a:pt x="588281" y="423862"/>
                      </a:cubicBezTo>
                      <a:cubicBezTo>
                        <a:pt x="590241" y="425430"/>
                        <a:pt x="593180" y="425121"/>
                        <a:pt x="595425" y="426244"/>
                      </a:cubicBezTo>
                      <a:cubicBezTo>
                        <a:pt x="613882" y="435473"/>
                        <a:pt x="591761" y="427404"/>
                        <a:pt x="609712" y="433387"/>
                      </a:cubicBezTo>
                      <a:cubicBezTo>
                        <a:pt x="612093" y="434975"/>
                        <a:pt x="614296" y="436870"/>
                        <a:pt x="616856" y="438150"/>
                      </a:cubicBezTo>
                      <a:cubicBezTo>
                        <a:pt x="622298" y="440871"/>
                        <a:pt x="630473" y="441554"/>
                        <a:pt x="635906" y="442912"/>
                      </a:cubicBezTo>
                      <a:cubicBezTo>
                        <a:pt x="638341" y="443521"/>
                        <a:pt x="640615" y="444685"/>
                        <a:pt x="643050" y="445294"/>
                      </a:cubicBezTo>
                      <a:cubicBezTo>
                        <a:pt x="660352" y="449620"/>
                        <a:pt x="650174" y="445819"/>
                        <a:pt x="669243" y="450056"/>
                      </a:cubicBezTo>
                      <a:cubicBezTo>
                        <a:pt x="671693" y="450600"/>
                        <a:pt x="674006" y="451643"/>
                        <a:pt x="676387" y="452437"/>
                      </a:cubicBezTo>
                      <a:cubicBezTo>
                        <a:pt x="675593" y="461962"/>
                        <a:pt x="677837" y="472255"/>
                        <a:pt x="674006" y="481012"/>
                      </a:cubicBezTo>
                      <a:cubicBezTo>
                        <a:pt x="671712" y="486256"/>
                        <a:pt x="659718" y="490537"/>
                        <a:pt x="659718" y="490537"/>
                      </a:cubicBezTo>
                      <a:cubicBezTo>
                        <a:pt x="654051" y="507540"/>
                        <a:pt x="657741" y="500648"/>
                        <a:pt x="650193" y="511969"/>
                      </a:cubicBezTo>
                      <a:cubicBezTo>
                        <a:pt x="644526" y="528971"/>
                        <a:pt x="648216" y="522079"/>
                        <a:pt x="640668" y="533400"/>
                      </a:cubicBezTo>
                      <a:cubicBezTo>
                        <a:pt x="638187" y="540845"/>
                        <a:pt x="635781" y="550151"/>
                        <a:pt x="628762" y="554831"/>
                      </a:cubicBezTo>
                      <a:lnTo>
                        <a:pt x="621618" y="559594"/>
                      </a:lnTo>
                      <a:cubicBezTo>
                        <a:pt x="614071" y="570914"/>
                        <a:pt x="619571" y="565832"/>
                        <a:pt x="602568" y="571500"/>
                      </a:cubicBezTo>
                      <a:lnTo>
                        <a:pt x="595425" y="573881"/>
                      </a:lnTo>
                      <a:lnTo>
                        <a:pt x="590662" y="588169"/>
                      </a:lnTo>
                      <a:cubicBezTo>
                        <a:pt x="589868" y="590550"/>
                        <a:pt x="588773" y="592851"/>
                        <a:pt x="588281" y="595312"/>
                      </a:cubicBezTo>
                      <a:cubicBezTo>
                        <a:pt x="585408" y="609680"/>
                        <a:pt x="587180" y="603379"/>
                        <a:pt x="583518" y="614362"/>
                      </a:cubicBezTo>
                      <a:cubicBezTo>
                        <a:pt x="582724" y="622300"/>
                        <a:pt x="581726" y="630220"/>
                        <a:pt x="581137" y="638175"/>
                      </a:cubicBezTo>
                      <a:cubicBezTo>
                        <a:pt x="580139" y="651655"/>
                        <a:pt x="580504" y="665253"/>
                        <a:pt x="578756" y="678656"/>
                      </a:cubicBezTo>
                      <a:cubicBezTo>
                        <a:pt x="578107" y="683634"/>
                        <a:pt x="575581" y="688181"/>
                        <a:pt x="573993" y="692944"/>
                      </a:cubicBezTo>
                      <a:lnTo>
                        <a:pt x="571612" y="700087"/>
                      </a:lnTo>
                      <a:lnTo>
                        <a:pt x="559706" y="735806"/>
                      </a:lnTo>
                      <a:lnTo>
                        <a:pt x="557325" y="742950"/>
                      </a:lnTo>
                      <a:cubicBezTo>
                        <a:pt x="556531" y="745331"/>
                        <a:pt x="555435" y="747633"/>
                        <a:pt x="554943" y="750094"/>
                      </a:cubicBezTo>
                      <a:cubicBezTo>
                        <a:pt x="553653" y="756547"/>
                        <a:pt x="553639" y="764473"/>
                        <a:pt x="547800" y="769144"/>
                      </a:cubicBezTo>
                      <a:cubicBezTo>
                        <a:pt x="545840" y="770712"/>
                        <a:pt x="543141" y="771170"/>
                        <a:pt x="540656" y="771525"/>
                      </a:cubicBezTo>
                      <a:cubicBezTo>
                        <a:pt x="531977" y="772765"/>
                        <a:pt x="523193" y="773112"/>
                        <a:pt x="514462" y="773906"/>
                      </a:cubicBezTo>
                      <a:cubicBezTo>
                        <a:pt x="502555" y="777874"/>
                        <a:pt x="508112" y="773906"/>
                        <a:pt x="502556" y="790575"/>
                      </a:cubicBezTo>
                      <a:lnTo>
                        <a:pt x="502556" y="790575"/>
                      </a:lnTo>
                      <a:cubicBezTo>
                        <a:pt x="500175" y="792162"/>
                        <a:pt x="498092" y="794332"/>
                        <a:pt x="495412" y="795337"/>
                      </a:cubicBezTo>
                      <a:cubicBezTo>
                        <a:pt x="491622" y="796758"/>
                        <a:pt x="487457" y="796841"/>
                        <a:pt x="483506" y="797719"/>
                      </a:cubicBezTo>
                      <a:cubicBezTo>
                        <a:pt x="474532" y="799713"/>
                        <a:pt x="474795" y="799829"/>
                        <a:pt x="466837" y="802481"/>
                      </a:cubicBezTo>
                      <a:cubicBezTo>
                        <a:pt x="465250" y="804862"/>
                        <a:pt x="464827" y="808839"/>
                        <a:pt x="462075" y="809625"/>
                      </a:cubicBezTo>
                      <a:cubicBezTo>
                        <a:pt x="449711" y="813158"/>
                        <a:pt x="445467" y="801504"/>
                        <a:pt x="443025" y="792956"/>
                      </a:cubicBezTo>
                      <a:cubicBezTo>
                        <a:pt x="442126" y="789809"/>
                        <a:pt x="441542" y="786578"/>
                        <a:pt x="440643" y="783431"/>
                      </a:cubicBezTo>
                      <a:cubicBezTo>
                        <a:pt x="439953" y="781017"/>
                        <a:pt x="439654" y="778376"/>
                        <a:pt x="438262" y="776287"/>
                      </a:cubicBezTo>
                      <a:cubicBezTo>
                        <a:pt x="436394" y="773485"/>
                        <a:pt x="433499" y="771525"/>
                        <a:pt x="431118" y="769144"/>
                      </a:cubicBezTo>
                      <a:cubicBezTo>
                        <a:pt x="420094" y="736067"/>
                        <a:pt x="432004" y="775930"/>
                        <a:pt x="423975" y="714375"/>
                      </a:cubicBezTo>
                      <a:cubicBezTo>
                        <a:pt x="423326" y="709397"/>
                        <a:pt x="420800" y="704850"/>
                        <a:pt x="419212" y="700087"/>
                      </a:cubicBezTo>
                      <a:lnTo>
                        <a:pt x="416831" y="692944"/>
                      </a:lnTo>
                      <a:cubicBezTo>
                        <a:pt x="416037" y="686594"/>
                        <a:pt x="415423" y="680219"/>
                        <a:pt x="414450" y="673894"/>
                      </a:cubicBezTo>
                      <a:cubicBezTo>
                        <a:pt x="412029" y="658160"/>
                        <a:pt x="413067" y="666674"/>
                        <a:pt x="409687" y="654844"/>
                      </a:cubicBezTo>
                      <a:cubicBezTo>
                        <a:pt x="408788" y="651697"/>
                        <a:pt x="408246" y="648454"/>
                        <a:pt x="407306" y="645319"/>
                      </a:cubicBezTo>
                      <a:cubicBezTo>
                        <a:pt x="405863" y="640510"/>
                        <a:pt x="404131" y="635794"/>
                        <a:pt x="402543" y="631031"/>
                      </a:cubicBezTo>
                      <a:cubicBezTo>
                        <a:pt x="400606" y="625220"/>
                        <a:pt x="400017" y="621361"/>
                        <a:pt x="395400" y="616744"/>
                      </a:cubicBezTo>
                      <a:cubicBezTo>
                        <a:pt x="393376" y="614720"/>
                        <a:pt x="390637" y="613569"/>
                        <a:pt x="388256" y="611981"/>
                      </a:cubicBezTo>
                      <a:lnTo>
                        <a:pt x="378731" y="597694"/>
                      </a:lnTo>
                      <a:lnTo>
                        <a:pt x="373968" y="590550"/>
                      </a:lnTo>
                      <a:cubicBezTo>
                        <a:pt x="367987" y="572603"/>
                        <a:pt x="376052" y="594716"/>
                        <a:pt x="366825" y="576262"/>
                      </a:cubicBezTo>
                      <a:cubicBezTo>
                        <a:pt x="365702" y="574017"/>
                        <a:pt x="365662" y="571313"/>
                        <a:pt x="364443" y="569119"/>
                      </a:cubicBezTo>
                      <a:cubicBezTo>
                        <a:pt x="359867" y="560882"/>
                        <a:pt x="354955" y="553670"/>
                        <a:pt x="347775" y="547687"/>
                      </a:cubicBezTo>
                      <a:cubicBezTo>
                        <a:pt x="345576" y="545855"/>
                        <a:pt x="343012" y="544512"/>
                        <a:pt x="340631" y="542925"/>
                      </a:cubicBezTo>
                      <a:cubicBezTo>
                        <a:pt x="339043" y="540544"/>
                        <a:pt x="337700" y="537980"/>
                        <a:pt x="335868" y="535781"/>
                      </a:cubicBezTo>
                      <a:cubicBezTo>
                        <a:pt x="320585" y="517440"/>
                        <a:pt x="335791" y="539234"/>
                        <a:pt x="323962" y="521494"/>
                      </a:cubicBezTo>
                      <a:cubicBezTo>
                        <a:pt x="316298" y="498498"/>
                        <a:pt x="328588" y="534251"/>
                        <a:pt x="316818" y="504825"/>
                      </a:cubicBezTo>
                      <a:cubicBezTo>
                        <a:pt x="314954" y="500164"/>
                        <a:pt x="313643" y="495300"/>
                        <a:pt x="312056" y="490537"/>
                      </a:cubicBezTo>
                      <a:lnTo>
                        <a:pt x="307293" y="476250"/>
                      </a:lnTo>
                      <a:cubicBezTo>
                        <a:pt x="306499" y="473869"/>
                        <a:pt x="306304" y="471195"/>
                        <a:pt x="304912" y="469106"/>
                      </a:cubicBezTo>
                      <a:lnTo>
                        <a:pt x="300150" y="461962"/>
                      </a:lnTo>
                      <a:cubicBezTo>
                        <a:pt x="292690" y="432130"/>
                        <a:pt x="302230" y="469247"/>
                        <a:pt x="295387" y="445294"/>
                      </a:cubicBezTo>
                      <a:cubicBezTo>
                        <a:pt x="288188" y="420098"/>
                        <a:pt x="299564" y="455443"/>
                        <a:pt x="288243" y="421481"/>
                      </a:cubicBezTo>
                      <a:cubicBezTo>
                        <a:pt x="287449" y="419100"/>
                        <a:pt x="287254" y="416426"/>
                        <a:pt x="285862" y="414337"/>
                      </a:cubicBezTo>
                      <a:lnTo>
                        <a:pt x="271575" y="392906"/>
                      </a:lnTo>
                      <a:lnTo>
                        <a:pt x="266812" y="385762"/>
                      </a:lnTo>
                      <a:cubicBezTo>
                        <a:pt x="262627" y="373208"/>
                        <a:pt x="267197" y="383368"/>
                        <a:pt x="257287" y="371475"/>
                      </a:cubicBezTo>
                      <a:cubicBezTo>
                        <a:pt x="247366" y="359569"/>
                        <a:pt x="258478" y="368299"/>
                        <a:pt x="245381" y="359569"/>
                      </a:cubicBezTo>
                      <a:cubicBezTo>
                        <a:pt x="228359" y="334037"/>
                        <a:pt x="254868" y="372787"/>
                        <a:pt x="233475" y="345281"/>
                      </a:cubicBezTo>
                      <a:cubicBezTo>
                        <a:pt x="220932" y="329153"/>
                        <a:pt x="227161" y="335423"/>
                        <a:pt x="219187" y="321469"/>
                      </a:cubicBezTo>
                      <a:cubicBezTo>
                        <a:pt x="211331" y="307721"/>
                        <a:pt x="217892" y="320823"/>
                        <a:pt x="207281" y="307181"/>
                      </a:cubicBezTo>
                      <a:cubicBezTo>
                        <a:pt x="203767" y="302663"/>
                        <a:pt x="200931" y="297656"/>
                        <a:pt x="197756" y="292894"/>
                      </a:cubicBezTo>
                      <a:lnTo>
                        <a:pt x="192993" y="285750"/>
                      </a:lnTo>
                      <a:cubicBezTo>
                        <a:pt x="187326" y="268747"/>
                        <a:pt x="191016" y="275639"/>
                        <a:pt x="183468" y="264319"/>
                      </a:cubicBezTo>
                      <a:cubicBezTo>
                        <a:pt x="181532" y="258510"/>
                        <a:pt x="180940" y="254646"/>
                        <a:pt x="176325" y="250031"/>
                      </a:cubicBezTo>
                      <a:cubicBezTo>
                        <a:pt x="174301" y="248007"/>
                        <a:pt x="171562" y="246856"/>
                        <a:pt x="169181" y="245269"/>
                      </a:cubicBezTo>
                      <a:lnTo>
                        <a:pt x="162037" y="223837"/>
                      </a:lnTo>
                      <a:cubicBezTo>
                        <a:pt x="161243" y="221456"/>
                        <a:pt x="160265" y="219129"/>
                        <a:pt x="159656" y="216694"/>
                      </a:cubicBezTo>
                      <a:cubicBezTo>
                        <a:pt x="159635" y="216609"/>
                        <a:pt x="156033" y="201165"/>
                        <a:pt x="154893" y="200025"/>
                      </a:cubicBezTo>
                      <a:cubicBezTo>
                        <a:pt x="150846" y="195978"/>
                        <a:pt x="145368" y="193675"/>
                        <a:pt x="140606" y="190500"/>
                      </a:cubicBezTo>
                      <a:lnTo>
                        <a:pt x="112031" y="171450"/>
                      </a:lnTo>
                      <a:lnTo>
                        <a:pt x="97743" y="161925"/>
                      </a:lnTo>
                      <a:lnTo>
                        <a:pt x="83456" y="157162"/>
                      </a:lnTo>
                      <a:cubicBezTo>
                        <a:pt x="81075" y="156368"/>
                        <a:pt x="78788" y="155194"/>
                        <a:pt x="76312" y="154781"/>
                      </a:cubicBezTo>
                      <a:cubicBezTo>
                        <a:pt x="59549" y="151987"/>
                        <a:pt x="66605" y="153927"/>
                        <a:pt x="54881" y="150019"/>
                      </a:cubicBezTo>
                      <a:cubicBezTo>
                        <a:pt x="36418" y="137711"/>
                        <a:pt x="46021" y="142303"/>
                        <a:pt x="26306" y="135731"/>
                      </a:cubicBezTo>
                      <a:lnTo>
                        <a:pt x="19162" y="133350"/>
                      </a:lnTo>
                      <a:cubicBezTo>
                        <a:pt x="11265" y="130718"/>
                        <a:pt x="1303" y="116284"/>
                        <a:pt x="112" y="1143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7" name="Freeform 316"/>
                <p:cNvSpPr/>
                <p:nvPr/>
              </p:nvSpPr>
              <p:spPr>
                <a:xfrm>
                  <a:off x="1579169" y="2524842"/>
                  <a:ext cx="933744" cy="894290"/>
                </a:xfrm>
                <a:custGeom>
                  <a:avLst/>
                  <a:gdLst>
                    <a:gd name="connsiteX0" fmla="*/ 47625 w 933744"/>
                    <a:gd name="connsiteY0" fmla="*/ 685 h 894290"/>
                    <a:gd name="connsiteX1" fmla="*/ 42862 w 933744"/>
                    <a:gd name="connsiteY1" fmla="*/ 12591 h 894290"/>
                    <a:gd name="connsiteX2" fmla="*/ 40481 w 933744"/>
                    <a:gd name="connsiteY2" fmla="*/ 26878 h 894290"/>
                    <a:gd name="connsiteX3" fmla="*/ 30956 w 933744"/>
                    <a:gd name="connsiteY3" fmla="*/ 41166 h 894290"/>
                    <a:gd name="connsiteX4" fmla="*/ 28575 w 933744"/>
                    <a:gd name="connsiteY4" fmla="*/ 81647 h 894290"/>
                    <a:gd name="connsiteX5" fmla="*/ 30956 w 933744"/>
                    <a:gd name="connsiteY5" fmla="*/ 88791 h 894290"/>
                    <a:gd name="connsiteX6" fmla="*/ 40481 w 933744"/>
                    <a:gd name="connsiteY6" fmla="*/ 103078 h 894290"/>
                    <a:gd name="connsiteX7" fmla="*/ 38100 w 933744"/>
                    <a:gd name="connsiteY7" fmla="*/ 126891 h 894290"/>
                    <a:gd name="connsiteX8" fmla="*/ 28575 w 933744"/>
                    <a:gd name="connsiteY8" fmla="*/ 141178 h 894290"/>
                    <a:gd name="connsiteX9" fmla="*/ 23812 w 933744"/>
                    <a:gd name="connsiteY9" fmla="*/ 148322 h 894290"/>
                    <a:gd name="connsiteX10" fmla="*/ 21431 w 933744"/>
                    <a:gd name="connsiteY10" fmla="*/ 155466 h 894290"/>
                    <a:gd name="connsiteX11" fmla="*/ 30956 w 933744"/>
                    <a:gd name="connsiteY11" fmla="*/ 167372 h 894290"/>
                    <a:gd name="connsiteX12" fmla="*/ 45244 w 933744"/>
                    <a:gd name="connsiteY12" fmla="*/ 172135 h 894290"/>
                    <a:gd name="connsiteX13" fmla="*/ 52387 w 933744"/>
                    <a:gd name="connsiteY13" fmla="*/ 174516 h 894290"/>
                    <a:gd name="connsiteX14" fmla="*/ 64294 w 933744"/>
                    <a:gd name="connsiteY14" fmla="*/ 195947 h 894290"/>
                    <a:gd name="connsiteX15" fmla="*/ 61912 w 933744"/>
                    <a:gd name="connsiteY15" fmla="*/ 214997 h 894290"/>
                    <a:gd name="connsiteX16" fmla="*/ 54769 w 933744"/>
                    <a:gd name="connsiteY16" fmla="*/ 236428 h 894290"/>
                    <a:gd name="connsiteX17" fmla="*/ 52387 w 933744"/>
                    <a:gd name="connsiteY17" fmla="*/ 243572 h 894290"/>
                    <a:gd name="connsiteX18" fmla="*/ 50006 w 933744"/>
                    <a:gd name="connsiteY18" fmla="*/ 250716 h 894290"/>
                    <a:gd name="connsiteX19" fmla="*/ 28575 w 933744"/>
                    <a:gd name="connsiteY19" fmla="*/ 267385 h 894290"/>
                    <a:gd name="connsiteX20" fmla="*/ 21431 w 933744"/>
                    <a:gd name="connsiteY20" fmla="*/ 272147 h 894290"/>
                    <a:gd name="connsiteX21" fmla="*/ 14287 w 933744"/>
                    <a:gd name="connsiteY21" fmla="*/ 276910 h 894290"/>
                    <a:gd name="connsiteX22" fmla="*/ 11906 w 933744"/>
                    <a:gd name="connsiteY22" fmla="*/ 284053 h 894290"/>
                    <a:gd name="connsiteX23" fmla="*/ 4762 w 933744"/>
                    <a:gd name="connsiteY23" fmla="*/ 288816 h 894290"/>
                    <a:gd name="connsiteX24" fmla="*/ 0 w 933744"/>
                    <a:gd name="connsiteY24" fmla="*/ 295960 h 894290"/>
                    <a:gd name="connsiteX25" fmla="*/ 2381 w 933744"/>
                    <a:gd name="connsiteY25" fmla="*/ 334060 h 894290"/>
                    <a:gd name="connsiteX26" fmla="*/ 4762 w 933744"/>
                    <a:gd name="connsiteY26" fmla="*/ 341203 h 894290"/>
                    <a:gd name="connsiteX27" fmla="*/ 9525 w 933744"/>
                    <a:gd name="connsiteY27" fmla="*/ 384066 h 894290"/>
                    <a:gd name="connsiteX28" fmla="*/ 7144 w 933744"/>
                    <a:gd name="connsiteY28" fmla="*/ 431691 h 894290"/>
                    <a:gd name="connsiteX29" fmla="*/ 4762 w 933744"/>
                    <a:gd name="connsiteY29" fmla="*/ 441216 h 894290"/>
                    <a:gd name="connsiteX30" fmla="*/ 2381 w 933744"/>
                    <a:gd name="connsiteY30" fmla="*/ 455503 h 894290"/>
                    <a:gd name="connsiteX31" fmla="*/ 4762 w 933744"/>
                    <a:gd name="connsiteY31" fmla="*/ 479316 h 894290"/>
                    <a:gd name="connsiteX32" fmla="*/ 9525 w 933744"/>
                    <a:gd name="connsiteY32" fmla="*/ 486460 h 894290"/>
                    <a:gd name="connsiteX33" fmla="*/ 14287 w 933744"/>
                    <a:gd name="connsiteY33" fmla="*/ 500747 h 894290"/>
                    <a:gd name="connsiteX34" fmla="*/ 71437 w 933744"/>
                    <a:gd name="connsiteY34" fmla="*/ 505510 h 894290"/>
                    <a:gd name="connsiteX35" fmla="*/ 85725 w 933744"/>
                    <a:gd name="connsiteY35" fmla="*/ 510272 h 894290"/>
                    <a:gd name="connsiteX36" fmla="*/ 100012 w 933744"/>
                    <a:gd name="connsiteY36" fmla="*/ 519797 h 894290"/>
                    <a:gd name="connsiteX37" fmla="*/ 104775 w 933744"/>
                    <a:gd name="connsiteY37" fmla="*/ 526941 h 894290"/>
                    <a:gd name="connsiteX38" fmla="*/ 111919 w 933744"/>
                    <a:gd name="connsiteY38" fmla="*/ 531703 h 894290"/>
                    <a:gd name="connsiteX39" fmla="*/ 119062 w 933744"/>
                    <a:gd name="connsiteY39" fmla="*/ 545991 h 894290"/>
                    <a:gd name="connsiteX40" fmla="*/ 133350 w 933744"/>
                    <a:gd name="connsiteY40" fmla="*/ 555516 h 894290"/>
                    <a:gd name="connsiteX41" fmla="*/ 140494 w 933744"/>
                    <a:gd name="connsiteY41" fmla="*/ 560278 h 894290"/>
                    <a:gd name="connsiteX42" fmla="*/ 152400 w 933744"/>
                    <a:gd name="connsiteY42" fmla="*/ 574566 h 894290"/>
                    <a:gd name="connsiteX43" fmla="*/ 154781 w 933744"/>
                    <a:gd name="connsiteY43" fmla="*/ 581710 h 894290"/>
                    <a:gd name="connsiteX44" fmla="*/ 150019 w 933744"/>
                    <a:gd name="connsiteY44" fmla="*/ 605522 h 894290"/>
                    <a:gd name="connsiteX45" fmla="*/ 152400 w 933744"/>
                    <a:gd name="connsiteY45" fmla="*/ 634097 h 894290"/>
                    <a:gd name="connsiteX46" fmla="*/ 154781 w 933744"/>
                    <a:gd name="connsiteY46" fmla="*/ 641241 h 894290"/>
                    <a:gd name="connsiteX47" fmla="*/ 159544 w 933744"/>
                    <a:gd name="connsiteY47" fmla="*/ 667435 h 894290"/>
                    <a:gd name="connsiteX48" fmla="*/ 164306 w 933744"/>
                    <a:gd name="connsiteY48" fmla="*/ 681722 h 894290"/>
                    <a:gd name="connsiteX49" fmla="*/ 166687 w 933744"/>
                    <a:gd name="connsiteY49" fmla="*/ 688866 h 894290"/>
                    <a:gd name="connsiteX50" fmla="*/ 185737 w 933744"/>
                    <a:gd name="connsiteY50" fmla="*/ 710297 h 894290"/>
                    <a:gd name="connsiteX51" fmla="*/ 200025 w 933744"/>
                    <a:gd name="connsiteY51" fmla="*/ 719822 h 894290"/>
                    <a:gd name="connsiteX52" fmla="*/ 207169 w 933744"/>
                    <a:gd name="connsiteY52" fmla="*/ 724585 h 894290"/>
                    <a:gd name="connsiteX53" fmla="*/ 221456 w 933744"/>
                    <a:gd name="connsiteY53" fmla="*/ 731728 h 894290"/>
                    <a:gd name="connsiteX54" fmla="*/ 238125 w 933744"/>
                    <a:gd name="connsiteY54" fmla="*/ 753160 h 894290"/>
                    <a:gd name="connsiteX55" fmla="*/ 242887 w 933744"/>
                    <a:gd name="connsiteY55" fmla="*/ 760303 h 894290"/>
                    <a:gd name="connsiteX56" fmla="*/ 257175 w 933744"/>
                    <a:gd name="connsiteY56" fmla="*/ 788878 h 894290"/>
                    <a:gd name="connsiteX57" fmla="*/ 264319 w 933744"/>
                    <a:gd name="connsiteY57" fmla="*/ 793641 h 894290"/>
                    <a:gd name="connsiteX58" fmla="*/ 278606 w 933744"/>
                    <a:gd name="connsiteY58" fmla="*/ 796022 h 894290"/>
                    <a:gd name="connsiteX59" fmla="*/ 285750 w 933744"/>
                    <a:gd name="connsiteY59" fmla="*/ 798403 h 894290"/>
                    <a:gd name="connsiteX60" fmla="*/ 292894 w 933744"/>
                    <a:gd name="connsiteY60" fmla="*/ 805547 h 894290"/>
                    <a:gd name="connsiteX61" fmla="*/ 302419 w 933744"/>
                    <a:gd name="connsiteY61" fmla="*/ 826978 h 894290"/>
                    <a:gd name="connsiteX62" fmla="*/ 316706 w 933744"/>
                    <a:gd name="connsiteY62" fmla="*/ 836503 h 894290"/>
                    <a:gd name="connsiteX63" fmla="*/ 330994 w 933744"/>
                    <a:gd name="connsiteY63" fmla="*/ 843647 h 894290"/>
                    <a:gd name="connsiteX64" fmla="*/ 345281 w 933744"/>
                    <a:gd name="connsiteY64" fmla="*/ 850791 h 894290"/>
                    <a:gd name="connsiteX65" fmla="*/ 352425 w 933744"/>
                    <a:gd name="connsiteY65" fmla="*/ 855553 h 894290"/>
                    <a:gd name="connsiteX66" fmla="*/ 366712 w 933744"/>
                    <a:gd name="connsiteY66" fmla="*/ 860316 h 894290"/>
                    <a:gd name="connsiteX67" fmla="*/ 373856 w 933744"/>
                    <a:gd name="connsiteY67" fmla="*/ 862697 h 894290"/>
                    <a:gd name="connsiteX68" fmla="*/ 407194 w 933744"/>
                    <a:gd name="connsiteY68" fmla="*/ 860316 h 894290"/>
                    <a:gd name="connsiteX69" fmla="*/ 421481 w 933744"/>
                    <a:gd name="connsiteY69" fmla="*/ 855553 h 894290"/>
                    <a:gd name="connsiteX70" fmla="*/ 428625 w 933744"/>
                    <a:gd name="connsiteY70" fmla="*/ 853172 h 894290"/>
                    <a:gd name="connsiteX71" fmla="*/ 445294 w 933744"/>
                    <a:gd name="connsiteY71" fmla="*/ 850791 h 894290"/>
                    <a:gd name="connsiteX72" fmla="*/ 473869 w 933744"/>
                    <a:gd name="connsiteY72" fmla="*/ 848410 h 894290"/>
                    <a:gd name="connsiteX73" fmla="*/ 497681 w 933744"/>
                    <a:gd name="connsiteY73" fmla="*/ 853172 h 894290"/>
                    <a:gd name="connsiteX74" fmla="*/ 521494 w 933744"/>
                    <a:gd name="connsiteY74" fmla="*/ 857935 h 894290"/>
                    <a:gd name="connsiteX75" fmla="*/ 528637 w 933744"/>
                    <a:gd name="connsiteY75" fmla="*/ 860316 h 894290"/>
                    <a:gd name="connsiteX76" fmla="*/ 542925 w 933744"/>
                    <a:gd name="connsiteY76" fmla="*/ 872222 h 894290"/>
                    <a:gd name="connsiteX77" fmla="*/ 557212 w 933744"/>
                    <a:gd name="connsiteY77" fmla="*/ 884128 h 894290"/>
                    <a:gd name="connsiteX78" fmla="*/ 578644 w 933744"/>
                    <a:gd name="connsiteY78" fmla="*/ 891272 h 894290"/>
                    <a:gd name="connsiteX79" fmla="*/ 585787 w 933744"/>
                    <a:gd name="connsiteY79" fmla="*/ 893653 h 894290"/>
                    <a:gd name="connsiteX80" fmla="*/ 628650 w 933744"/>
                    <a:gd name="connsiteY80" fmla="*/ 891272 h 894290"/>
                    <a:gd name="connsiteX81" fmla="*/ 631031 w 933744"/>
                    <a:gd name="connsiteY81" fmla="*/ 874603 h 894290"/>
                    <a:gd name="connsiteX82" fmla="*/ 640556 w 933744"/>
                    <a:gd name="connsiteY82" fmla="*/ 860316 h 894290"/>
                    <a:gd name="connsiteX83" fmla="*/ 645319 w 933744"/>
                    <a:gd name="connsiteY83" fmla="*/ 843647 h 894290"/>
                    <a:gd name="connsiteX84" fmla="*/ 650081 w 933744"/>
                    <a:gd name="connsiteY84" fmla="*/ 829360 h 894290"/>
                    <a:gd name="connsiteX85" fmla="*/ 664369 w 933744"/>
                    <a:gd name="connsiteY85" fmla="*/ 817453 h 894290"/>
                    <a:gd name="connsiteX86" fmla="*/ 709612 w 933744"/>
                    <a:gd name="connsiteY86" fmla="*/ 819835 h 894290"/>
                    <a:gd name="connsiteX87" fmla="*/ 728662 w 933744"/>
                    <a:gd name="connsiteY87" fmla="*/ 824597 h 894290"/>
                    <a:gd name="connsiteX88" fmla="*/ 735806 w 933744"/>
                    <a:gd name="connsiteY88" fmla="*/ 826978 h 894290"/>
                    <a:gd name="connsiteX89" fmla="*/ 778669 w 933744"/>
                    <a:gd name="connsiteY89" fmla="*/ 829360 h 894290"/>
                    <a:gd name="connsiteX90" fmla="*/ 819150 w 933744"/>
                    <a:gd name="connsiteY90" fmla="*/ 819835 h 894290"/>
                    <a:gd name="connsiteX91" fmla="*/ 823912 w 933744"/>
                    <a:gd name="connsiteY91" fmla="*/ 810310 h 894290"/>
                    <a:gd name="connsiteX92" fmla="*/ 826294 w 933744"/>
                    <a:gd name="connsiteY92" fmla="*/ 779353 h 894290"/>
                    <a:gd name="connsiteX93" fmla="*/ 828675 w 933744"/>
                    <a:gd name="connsiteY93" fmla="*/ 772210 h 894290"/>
                    <a:gd name="connsiteX94" fmla="*/ 831056 w 933744"/>
                    <a:gd name="connsiteY94" fmla="*/ 762685 h 894290"/>
                    <a:gd name="connsiteX95" fmla="*/ 833437 w 933744"/>
                    <a:gd name="connsiteY95" fmla="*/ 755541 h 894290"/>
                    <a:gd name="connsiteX96" fmla="*/ 847725 w 933744"/>
                    <a:gd name="connsiteY96" fmla="*/ 741253 h 894290"/>
                    <a:gd name="connsiteX97" fmla="*/ 850106 w 933744"/>
                    <a:gd name="connsiteY97" fmla="*/ 734110 h 894290"/>
                    <a:gd name="connsiteX98" fmla="*/ 847725 w 933744"/>
                    <a:gd name="connsiteY98" fmla="*/ 717441 h 894290"/>
                    <a:gd name="connsiteX99" fmla="*/ 840581 w 933744"/>
                    <a:gd name="connsiteY99" fmla="*/ 715060 h 894290"/>
                    <a:gd name="connsiteX100" fmla="*/ 819150 w 933744"/>
                    <a:gd name="connsiteY100" fmla="*/ 710297 h 894290"/>
                    <a:gd name="connsiteX101" fmla="*/ 812006 w 933744"/>
                    <a:gd name="connsiteY101" fmla="*/ 703153 h 894290"/>
                    <a:gd name="connsiteX102" fmla="*/ 816769 w 933744"/>
                    <a:gd name="connsiteY102" fmla="*/ 667435 h 894290"/>
                    <a:gd name="connsiteX103" fmla="*/ 821531 w 933744"/>
                    <a:gd name="connsiteY103" fmla="*/ 660291 h 894290"/>
                    <a:gd name="connsiteX104" fmla="*/ 831056 w 933744"/>
                    <a:gd name="connsiteY104" fmla="*/ 655528 h 894290"/>
                    <a:gd name="connsiteX105" fmla="*/ 838200 w 933744"/>
                    <a:gd name="connsiteY105" fmla="*/ 650766 h 894290"/>
                    <a:gd name="connsiteX106" fmla="*/ 845344 w 933744"/>
                    <a:gd name="connsiteY106" fmla="*/ 643622 h 894290"/>
                    <a:gd name="connsiteX107" fmla="*/ 866775 w 933744"/>
                    <a:gd name="connsiteY107" fmla="*/ 634097 h 894290"/>
                    <a:gd name="connsiteX108" fmla="*/ 928687 w 933744"/>
                    <a:gd name="connsiteY108" fmla="*/ 631716 h 894290"/>
                    <a:gd name="connsiteX109" fmla="*/ 933450 w 933744"/>
                    <a:gd name="connsiteY109" fmla="*/ 624572 h 894290"/>
                    <a:gd name="connsiteX110" fmla="*/ 926306 w 933744"/>
                    <a:gd name="connsiteY110" fmla="*/ 591235 h 894290"/>
                    <a:gd name="connsiteX111" fmla="*/ 923925 w 933744"/>
                    <a:gd name="connsiteY111" fmla="*/ 579328 h 894290"/>
                    <a:gd name="connsiteX112" fmla="*/ 912019 w 933744"/>
                    <a:gd name="connsiteY112" fmla="*/ 565041 h 894290"/>
                    <a:gd name="connsiteX113" fmla="*/ 909637 w 933744"/>
                    <a:gd name="connsiteY113" fmla="*/ 557897 h 894290"/>
                    <a:gd name="connsiteX114" fmla="*/ 907256 w 933744"/>
                    <a:gd name="connsiteY114" fmla="*/ 548372 h 894290"/>
                    <a:gd name="connsiteX115" fmla="*/ 900112 w 933744"/>
                    <a:gd name="connsiteY115" fmla="*/ 538847 h 894290"/>
                    <a:gd name="connsiteX116" fmla="*/ 862012 w 933744"/>
                    <a:gd name="connsiteY116" fmla="*/ 529322 h 894290"/>
                    <a:gd name="connsiteX117" fmla="*/ 845344 w 933744"/>
                    <a:gd name="connsiteY117" fmla="*/ 524560 h 894290"/>
                    <a:gd name="connsiteX118" fmla="*/ 838200 w 933744"/>
                    <a:gd name="connsiteY118" fmla="*/ 517416 h 894290"/>
                    <a:gd name="connsiteX119" fmla="*/ 823912 w 933744"/>
                    <a:gd name="connsiteY119" fmla="*/ 507891 h 894290"/>
                    <a:gd name="connsiteX120" fmla="*/ 783431 w 933744"/>
                    <a:gd name="connsiteY120" fmla="*/ 510272 h 894290"/>
                    <a:gd name="connsiteX121" fmla="*/ 764381 w 933744"/>
                    <a:gd name="connsiteY121" fmla="*/ 512653 h 894290"/>
                    <a:gd name="connsiteX122" fmla="*/ 759619 w 933744"/>
                    <a:gd name="connsiteY122" fmla="*/ 519797 h 894290"/>
                    <a:gd name="connsiteX123" fmla="*/ 750094 w 933744"/>
                    <a:gd name="connsiteY123" fmla="*/ 541228 h 894290"/>
                    <a:gd name="connsiteX124" fmla="*/ 735806 w 933744"/>
                    <a:gd name="connsiteY124" fmla="*/ 545991 h 894290"/>
                    <a:gd name="connsiteX125" fmla="*/ 714375 w 933744"/>
                    <a:gd name="connsiteY125" fmla="*/ 550753 h 894290"/>
                    <a:gd name="connsiteX126" fmla="*/ 673894 w 933744"/>
                    <a:gd name="connsiteY126" fmla="*/ 548372 h 894290"/>
                    <a:gd name="connsiteX127" fmla="*/ 676275 w 933744"/>
                    <a:gd name="connsiteY127" fmla="*/ 538847 h 894290"/>
                    <a:gd name="connsiteX128" fmla="*/ 690562 w 933744"/>
                    <a:gd name="connsiteY128" fmla="*/ 534085 h 894290"/>
                    <a:gd name="connsiteX129" fmla="*/ 697706 w 933744"/>
                    <a:gd name="connsiteY129" fmla="*/ 529322 h 894290"/>
                    <a:gd name="connsiteX130" fmla="*/ 704850 w 933744"/>
                    <a:gd name="connsiteY130" fmla="*/ 512653 h 894290"/>
                    <a:gd name="connsiteX131" fmla="*/ 697706 w 933744"/>
                    <a:gd name="connsiteY131" fmla="*/ 488841 h 894290"/>
                    <a:gd name="connsiteX132" fmla="*/ 695325 w 933744"/>
                    <a:gd name="connsiteY132" fmla="*/ 481697 h 894290"/>
                    <a:gd name="connsiteX133" fmla="*/ 688181 w 933744"/>
                    <a:gd name="connsiteY133" fmla="*/ 476935 h 894290"/>
                    <a:gd name="connsiteX134" fmla="*/ 681037 w 933744"/>
                    <a:gd name="connsiteY134" fmla="*/ 469791 h 894290"/>
                    <a:gd name="connsiteX135" fmla="*/ 671512 w 933744"/>
                    <a:gd name="connsiteY135" fmla="*/ 467410 h 894290"/>
                    <a:gd name="connsiteX136" fmla="*/ 657225 w 933744"/>
                    <a:gd name="connsiteY136" fmla="*/ 462647 h 894290"/>
                    <a:gd name="connsiteX137" fmla="*/ 647700 w 933744"/>
                    <a:gd name="connsiteY137" fmla="*/ 457885 h 894290"/>
                    <a:gd name="connsiteX138" fmla="*/ 640556 w 933744"/>
                    <a:gd name="connsiteY138" fmla="*/ 453122 h 894290"/>
                    <a:gd name="connsiteX139" fmla="*/ 626269 w 933744"/>
                    <a:gd name="connsiteY139" fmla="*/ 448360 h 894290"/>
                    <a:gd name="connsiteX140" fmla="*/ 616744 w 933744"/>
                    <a:gd name="connsiteY140" fmla="*/ 443597 h 894290"/>
                    <a:gd name="connsiteX141" fmla="*/ 597694 w 933744"/>
                    <a:gd name="connsiteY141" fmla="*/ 438835 h 894290"/>
                    <a:gd name="connsiteX142" fmla="*/ 581025 w 933744"/>
                    <a:gd name="connsiteY142" fmla="*/ 434072 h 894290"/>
                    <a:gd name="connsiteX143" fmla="*/ 573881 w 933744"/>
                    <a:gd name="connsiteY143" fmla="*/ 431691 h 894290"/>
                    <a:gd name="connsiteX144" fmla="*/ 554831 w 933744"/>
                    <a:gd name="connsiteY144" fmla="*/ 426928 h 894290"/>
                    <a:gd name="connsiteX145" fmla="*/ 545306 w 933744"/>
                    <a:gd name="connsiteY145" fmla="*/ 424547 h 894290"/>
                    <a:gd name="connsiteX146" fmla="*/ 538162 w 933744"/>
                    <a:gd name="connsiteY146" fmla="*/ 422166 h 894290"/>
                    <a:gd name="connsiteX147" fmla="*/ 526256 w 933744"/>
                    <a:gd name="connsiteY147" fmla="*/ 407878 h 894290"/>
                    <a:gd name="connsiteX148" fmla="*/ 523875 w 933744"/>
                    <a:gd name="connsiteY148" fmla="*/ 400735 h 894290"/>
                    <a:gd name="connsiteX149" fmla="*/ 509587 w 933744"/>
                    <a:gd name="connsiteY149" fmla="*/ 386447 h 894290"/>
                    <a:gd name="connsiteX150" fmla="*/ 502444 w 933744"/>
                    <a:gd name="connsiteY150" fmla="*/ 372160 h 894290"/>
                    <a:gd name="connsiteX151" fmla="*/ 497681 w 933744"/>
                    <a:gd name="connsiteY151" fmla="*/ 365016 h 894290"/>
                    <a:gd name="connsiteX152" fmla="*/ 495300 w 933744"/>
                    <a:gd name="connsiteY152" fmla="*/ 348347 h 894290"/>
                    <a:gd name="connsiteX153" fmla="*/ 492919 w 933744"/>
                    <a:gd name="connsiteY153" fmla="*/ 334060 h 894290"/>
                    <a:gd name="connsiteX154" fmla="*/ 488156 w 933744"/>
                    <a:gd name="connsiteY154" fmla="*/ 291197 h 894290"/>
                    <a:gd name="connsiteX155" fmla="*/ 476250 w 933744"/>
                    <a:gd name="connsiteY155" fmla="*/ 265003 h 894290"/>
                    <a:gd name="connsiteX156" fmla="*/ 461962 w 933744"/>
                    <a:gd name="connsiteY156" fmla="*/ 255478 h 894290"/>
                    <a:gd name="connsiteX157" fmla="*/ 454819 w 933744"/>
                    <a:gd name="connsiteY157" fmla="*/ 253097 h 894290"/>
                    <a:gd name="connsiteX158" fmla="*/ 447675 w 933744"/>
                    <a:gd name="connsiteY158" fmla="*/ 248335 h 894290"/>
                    <a:gd name="connsiteX159" fmla="*/ 433387 w 933744"/>
                    <a:gd name="connsiteY159" fmla="*/ 243572 h 894290"/>
                    <a:gd name="connsiteX160" fmla="*/ 426244 w 933744"/>
                    <a:gd name="connsiteY160" fmla="*/ 238810 h 894290"/>
                    <a:gd name="connsiteX161" fmla="*/ 409575 w 933744"/>
                    <a:gd name="connsiteY161" fmla="*/ 234047 h 894290"/>
                    <a:gd name="connsiteX162" fmla="*/ 392906 w 933744"/>
                    <a:gd name="connsiteY162" fmla="*/ 222141 h 894290"/>
                    <a:gd name="connsiteX163" fmla="*/ 378619 w 933744"/>
                    <a:gd name="connsiteY163" fmla="*/ 212616 h 894290"/>
                    <a:gd name="connsiteX164" fmla="*/ 371475 w 933744"/>
                    <a:gd name="connsiteY164" fmla="*/ 207853 h 894290"/>
                    <a:gd name="connsiteX165" fmla="*/ 338137 w 933744"/>
                    <a:gd name="connsiteY165" fmla="*/ 200710 h 894290"/>
                    <a:gd name="connsiteX166" fmla="*/ 326231 w 933744"/>
                    <a:gd name="connsiteY166" fmla="*/ 198328 h 894290"/>
                    <a:gd name="connsiteX167" fmla="*/ 302419 w 933744"/>
                    <a:gd name="connsiteY167" fmla="*/ 191185 h 894290"/>
                    <a:gd name="connsiteX168" fmla="*/ 292894 w 933744"/>
                    <a:gd name="connsiteY168" fmla="*/ 184041 h 894290"/>
                    <a:gd name="connsiteX169" fmla="*/ 290512 w 933744"/>
                    <a:gd name="connsiteY169" fmla="*/ 176897 h 894290"/>
                    <a:gd name="connsiteX170" fmla="*/ 285750 w 933744"/>
                    <a:gd name="connsiteY170" fmla="*/ 167372 h 894290"/>
                    <a:gd name="connsiteX171" fmla="*/ 280987 w 933744"/>
                    <a:gd name="connsiteY171" fmla="*/ 148322 h 894290"/>
                    <a:gd name="connsiteX172" fmla="*/ 276225 w 933744"/>
                    <a:gd name="connsiteY172" fmla="*/ 119747 h 894290"/>
                    <a:gd name="connsiteX173" fmla="*/ 257175 w 933744"/>
                    <a:gd name="connsiteY173" fmla="*/ 95935 h 894290"/>
                    <a:gd name="connsiteX174" fmla="*/ 247650 w 933744"/>
                    <a:gd name="connsiteY174" fmla="*/ 88791 h 894290"/>
                    <a:gd name="connsiteX175" fmla="*/ 240506 w 933744"/>
                    <a:gd name="connsiteY175" fmla="*/ 81647 h 894290"/>
                    <a:gd name="connsiteX176" fmla="*/ 233362 w 933744"/>
                    <a:gd name="connsiteY176" fmla="*/ 76885 h 894290"/>
                    <a:gd name="connsiteX177" fmla="*/ 211931 w 933744"/>
                    <a:gd name="connsiteY177" fmla="*/ 60216 h 894290"/>
                    <a:gd name="connsiteX178" fmla="*/ 166687 w 933744"/>
                    <a:gd name="connsiteY178" fmla="*/ 62597 h 894290"/>
                    <a:gd name="connsiteX179" fmla="*/ 159544 w 933744"/>
                    <a:gd name="connsiteY179" fmla="*/ 64978 h 894290"/>
                    <a:gd name="connsiteX180" fmla="*/ 152400 w 933744"/>
                    <a:gd name="connsiteY180" fmla="*/ 69741 h 894290"/>
                    <a:gd name="connsiteX181" fmla="*/ 154781 w 933744"/>
                    <a:gd name="connsiteY181" fmla="*/ 79266 h 894290"/>
                    <a:gd name="connsiteX182" fmla="*/ 161925 w 933744"/>
                    <a:gd name="connsiteY182" fmla="*/ 81647 h 894290"/>
                    <a:gd name="connsiteX183" fmla="*/ 166687 w 933744"/>
                    <a:gd name="connsiteY183" fmla="*/ 88791 h 894290"/>
                    <a:gd name="connsiteX184" fmla="*/ 169069 w 933744"/>
                    <a:gd name="connsiteY184" fmla="*/ 105460 h 894290"/>
                    <a:gd name="connsiteX185" fmla="*/ 173831 w 933744"/>
                    <a:gd name="connsiteY185" fmla="*/ 119747 h 894290"/>
                    <a:gd name="connsiteX186" fmla="*/ 178594 w 933744"/>
                    <a:gd name="connsiteY186" fmla="*/ 141178 h 894290"/>
                    <a:gd name="connsiteX187" fmla="*/ 173831 w 933744"/>
                    <a:gd name="connsiteY187" fmla="*/ 134035 h 894290"/>
                    <a:gd name="connsiteX188" fmla="*/ 164306 w 933744"/>
                    <a:gd name="connsiteY188" fmla="*/ 119747 h 894290"/>
                    <a:gd name="connsiteX189" fmla="*/ 154781 w 933744"/>
                    <a:gd name="connsiteY189" fmla="*/ 98316 h 894290"/>
                    <a:gd name="connsiteX190" fmla="*/ 128587 w 933744"/>
                    <a:gd name="connsiteY190" fmla="*/ 84028 h 894290"/>
                    <a:gd name="connsiteX191" fmla="*/ 107156 w 933744"/>
                    <a:gd name="connsiteY191" fmla="*/ 79266 h 894290"/>
                    <a:gd name="connsiteX192" fmla="*/ 90487 w 933744"/>
                    <a:gd name="connsiteY192" fmla="*/ 72122 h 894290"/>
                    <a:gd name="connsiteX193" fmla="*/ 83344 w 933744"/>
                    <a:gd name="connsiteY193" fmla="*/ 67360 h 894290"/>
                    <a:gd name="connsiteX194" fmla="*/ 73819 w 933744"/>
                    <a:gd name="connsiteY194" fmla="*/ 62597 h 894290"/>
                    <a:gd name="connsiteX195" fmla="*/ 64294 w 933744"/>
                    <a:gd name="connsiteY195" fmla="*/ 48310 h 894290"/>
                    <a:gd name="connsiteX196" fmla="*/ 59531 w 933744"/>
                    <a:gd name="connsiteY196" fmla="*/ 41166 h 894290"/>
                    <a:gd name="connsiteX197" fmla="*/ 57150 w 933744"/>
                    <a:gd name="connsiteY197" fmla="*/ 34022 h 894290"/>
                    <a:gd name="connsiteX198" fmla="*/ 47625 w 933744"/>
                    <a:gd name="connsiteY198" fmla="*/ 685 h 89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933744" h="894290">
                      <a:moveTo>
                        <a:pt x="47625" y="685"/>
                      </a:moveTo>
                      <a:cubicBezTo>
                        <a:pt x="45244" y="-2887"/>
                        <a:pt x="43987" y="8467"/>
                        <a:pt x="42862" y="12591"/>
                      </a:cubicBezTo>
                      <a:cubicBezTo>
                        <a:pt x="41592" y="17249"/>
                        <a:pt x="42338" y="22421"/>
                        <a:pt x="40481" y="26878"/>
                      </a:cubicBezTo>
                      <a:cubicBezTo>
                        <a:pt x="38280" y="32162"/>
                        <a:pt x="30956" y="41166"/>
                        <a:pt x="30956" y="41166"/>
                      </a:cubicBezTo>
                      <a:cubicBezTo>
                        <a:pt x="24071" y="61822"/>
                        <a:pt x="24605" y="53856"/>
                        <a:pt x="28575" y="81647"/>
                      </a:cubicBezTo>
                      <a:cubicBezTo>
                        <a:pt x="28930" y="84132"/>
                        <a:pt x="29737" y="86597"/>
                        <a:pt x="30956" y="88791"/>
                      </a:cubicBezTo>
                      <a:cubicBezTo>
                        <a:pt x="33736" y="93794"/>
                        <a:pt x="40481" y="103078"/>
                        <a:pt x="40481" y="103078"/>
                      </a:cubicBezTo>
                      <a:cubicBezTo>
                        <a:pt x="39687" y="111016"/>
                        <a:pt x="40479" y="119277"/>
                        <a:pt x="38100" y="126891"/>
                      </a:cubicBezTo>
                      <a:cubicBezTo>
                        <a:pt x="36393" y="132354"/>
                        <a:pt x="31750" y="136416"/>
                        <a:pt x="28575" y="141178"/>
                      </a:cubicBezTo>
                      <a:lnTo>
                        <a:pt x="23812" y="148322"/>
                      </a:lnTo>
                      <a:cubicBezTo>
                        <a:pt x="23018" y="150703"/>
                        <a:pt x="21431" y="152956"/>
                        <a:pt x="21431" y="155466"/>
                      </a:cubicBezTo>
                      <a:cubicBezTo>
                        <a:pt x="21431" y="162066"/>
                        <a:pt x="25470" y="164934"/>
                        <a:pt x="30956" y="167372"/>
                      </a:cubicBezTo>
                      <a:cubicBezTo>
                        <a:pt x="35544" y="169411"/>
                        <a:pt x="40481" y="170547"/>
                        <a:pt x="45244" y="172135"/>
                      </a:cubicBezTo>
                      <a:lnTo>
                        <a:pt x="52387" y="174516"/>
                      </a:lnTo>
                      <a:cubicBezTo>
                        <a:pt x="63304" y="190892"/>
                        <a:pt x="60102" y="183373"/>
                        <a:pt x="64294" y="195947"/>
                      </a:cubicBezTo>
                      <a:cubicBezTo>
                        <a:pt x="63500" y="202297"/>
                        <a:pt x="63253" y="208740"/>
                        <a:pt x="61912" y="214997"/>
                      </a:cubicBezTo>
                      <a:cubicBezTo>
                        <a:pt x="61911" y="215001"/>
                        <a:pt x="55960" y="232854"/>
                        <a:pt x="54769" y="236428"/>
                      </a:cubicBezTo>
                      <a:lnTo>
                        <a:pt x="52387" y="243572"/>
                      </a:lnTo>
                      <a:cubicBezTo>
                        <a:pt x="51593" y="245953"/>
                        <a:pt x="51781" y="248941"/>
                        <a:pt x="50006" y="250716"/>
                      </a:cubicBezTo>
                      <a:cubicBezTo>
                        <a:pt x="38816" y="261906"/>
                        <a:pt x="45662" y="255994"/>
                        <a:pt x="28575" y="267385"/>
                      </a:cubicBezTo>
                      <a:lnTo>
                        <a:pt x="21431" y="272147"/>
                      </a:lnTo>
                      <a:lnTo>
                        <a:pt x="14287" y="276910"/>
                      </a:lnTo>
                      <a:cubicBezTo>
                        <a:pt x="13493" y="279291"/>
                        <a:pt x="13474" y="282093"/>
                        <a:pt x="11906" y="284053"/>
                      </a:cubicBezTo>
                      <a:cubicBezTo>
                        <a:pt x="10118" y="286288"/>
                        <a:pt x="6786" y="286792"/>
                        <a:pt x="4762" y="288816"/>
                      </a:cubicBezTo>
                      <a:cubicBezTo>
                        <a:pt x="2738" y="290840"/>
                        <a:pt x="1587" y="293579"/>
                        <a:pt x="0" y="295960"/>
                      </a:cubicBezTo>
                      <a:cubicBezTo>
                        <a:pt x="794" y="308660"/>
                        <a:pt x="1049" y="321405"/>
                        <a:pt x="2381" y="334060"/>
                      </a:cubicBezTo>
                      <a:cubicBezTo>
                        <a:pt x="2644" y="336556"/>
                        <a:pt x="4469" y="338710"/>
                        <a:pt x="4762" y="341203"/>
                      </a:cubicBezTo>
                      <a:cubicBezTo>
                        <a:pt x="10573" y="390589"/>
                        <a:pt x="3503" y="359977"/>
                        <a:pt x="9525" y="384066"/>
                      </a:cubicBezTo>
                      <a:cubicBezTo>
                        <a:pt x="8731" y="399941"/>
                        <a:pt x="8464" y="415851"/>
                        <a:pt x="7144" y="431691"/>
                      </a:cubicBezTo>
                      <a:cubicBezTo>
                        <a:pt x="6872" y="434952"/>
                        <a:pt x="5404" y="438007"/>
                        <a:pt x="4762" y="441216"/>
                      </a:cubicBezTo>
                      <a:cubicBezTo>
                        <a:pt x="3815" y="445950"/>
                        <a:pt x="3175" y="450741"/>
                        <a:pt x="2381" y="455503"/>
                      </a:cubicBezTo>
                      <a:cubicBezTo>
                        <a:pt x="3175" y="463441"/>
                        <a:pt x="2968" y="471543"/>
                        <a:pt x="4762" y="479316"/>
                      </a:cubicBezTo>
                      <a:cubicBezTo>
                        <a:pt x="5406" y="482105"/>
                        <a:pt x="8363" y="483845"/>
                        <a:pt x="9525" y="486460"/>
                      </a:cubicBezTo>
                      <a:cubicBezTo>
                        <a:pt x="11564" y="491047"/>
                        <a:pt x="9525" y="499160"/>
                        <a:pt x="14287" y="500747"/>
                      </a:cubicBezTo>
                      <a:cubicBezTo>
                        <a:pt x="37262" y="508404"/>
                        <a:pt x="18924" y="503009"/>
                        <a:pt x="71437" y="505510"/>
                      </a:cubicBezTo>
                      <a:cubicBezTo>
                        <a:pt x="76200" y="507097"/>
                        <a:pt x="81548" y="507487"/>
                        <a:pt x="85725" y="510272"/>
                      </a:cubicBezTo>
                      <a:lnTo>
                        <a:pt x="100012" y="519797"/>
                      </a:lnTo>
                      <a:cubicBezTo>
                        <a:pt x="101600" y="522178"/>
                        <a:pt x="102751" y="524917"/>
                        <a:pt x="104775" y="526941"/>
                      </a:cubicBezTo>
                      <a:cubicBezTo>
                        <a:pt x="106799" y="528965"/>
                        <a:pt x="110131" y="529468"/>
                        <a:pt x="111919" y="531703"/>
                      </a:cubicBezTo>
                      <a:cubicBezTo>
                        <a:pt x="121545" y="543735"/>
                        <a:pt x="105680" y="534281"/>
                        <a:pt x="119062" y="545991"/>
                      </a:cubicBezTo>
                      <a:cubicBezTo>
                        <a:pt x="123370" y="549760"/>
                        <a:pt x="128587" y="552341"/>
                        <a:pt x="133350" y="555516"/>
                      </a:cubicBezTo>
                      <a:cubicBezTo>
                        <a:pt x="135731" y="557103"/>
                        <a:pt x="138470" y="558254"/>
                        <a:pt x="140494" y="560278"/>
                      </a:cubicBezTo>
                      <a:cubicBezTo>
                        <a:pt x="149661" y="569446"/>
                        <a:pt x="145769" y="564620"/>
                        <a:pt x="152400" y="574566"/>
                      </a:cubicBezTo>
                      <a:cubicBezTo>
                        <a:pt x="153194" y="576947"/>
                        <a:pt x="154781" y="579200"/>
                        <a:pt x="154781" y="581710"/>
                      </a:cubicBezTo>
                      <a:cubicBezTo>
                        <a:pt x="154781" y="592654"/>
                        <a:pt x="152951" y="596725"/>
                        <a:pt x="150019" y="605522"/>
                      </a:cubicBezTo>
                      <a:cubicBezTo>
                        <a:pt x="150813" y="615047"/>
                        <a:pt x="151137" y="624623"/>
                        <a:pt x="152400" y="634097"/>
                      </a:cubicBezTo>
                      <a:cubicBezTo>
                        <a:pt x="152732" y="636585"/>
                        <a:pt x="154289" y="638780"/>
                        <a:pt x="154781" y="641241"/>
                      </a:cubicBezTo>
                      <a:cubicBezTo>
                        <a:pt x="158473" y="659705"/>
                        <a:pt x="155306" y="653308"/>
                        <a:pt x="159544" y="667435"/>
                      </a:cubicBezTo>
                      <a:cubicBezTo>
                        <a:pt x="160987" y="672243"/>
                        <a:pt x="162719" y="676960"/>
                        <a:pt x="164306" y="681722"/>
                      </a:cubicBezTo>
                      <a:cubicBezTo>
                        <a:pt x="165100" y="684103"/>
                        <a:pt x="165295" y="686778"/>
                        <a:pt x="166687" y="688866"/>
                      </a:cubicBezTo>
                      <a:cubicBezTo>
                        <a:pt x="175186" y="701614"/>
                        <a:pt x="169426" y="693986"/>
                        <a:pt x="185737" y="710297"/>
                      </a:cubicBezTo>
                      <a:cubicBezTo>
                        <a:pt x="194656" y="719216"/>
                        <a:pt x="189686" y="716376"/>
                        <a:pt x="200025" y="719822"/>
                      </a:cubicBezTo>
                      <a:cubicBezTo>
                        <a:pt x="202406" y="721410"/>
                        <a:pt x="204609" y="723305"/>
                        <a:pt x="207169" y="724585"/>
                      </a:cubicBezTo>
                      <a:cubicBezTo>
                        <a:pt x="217908" y="729955"/>
                        <a:pt x="211219" y="723198"/>
                        <a:pt x="221456" y="731728"/>
                      </a:cubicBezTo>
                      <a:cubicBezTo>
                        <a:pt x="229849" y="738722"/>
                        <a:pt x="231488" y="743204"/>
                        <a:pt x="238125" y="753160"/>
                      </a:cubicBezTo>
                      <a:cubicBezTo>
                        <a:pt x="239712" y="755541"/>
                        <a:pt x="241982" y="757588"/>
                        <a:pt x="242887" y="760303"/>
                      </a:cubicBezTo>
                      <a:cubicBezTo>
                        <a:pt x="245604" y="768453"/>
                        <a:pt x="249261" y="783602"/>
                        <a:pt x="257175" y="788878"/>
                      </a:cubicBezTo>
                      <a:cubicBezTo>
                        <a:pt x="259556" y="790466"/>
                        <a:pt x="261604" y="792736"/>
                        <a:pt x="264319" y="793641"/>
                      </a:cubicBezTo>
                      <a:cubicBezTo>
                        <a:pt x="268899" y="795168"/>
                        <a:pt x="273893" y="794975"/>
                        <a:pt x="278606" y="796022"/>
                      </a:cubicBezTo>
                      <a:cubicBezTo>
                        <a:pt x="281056" y="796566"/>
                        <a:pt x="283369" y="797609"/>
                        <a:pt x="285750" y="798403"/>
                      </a:cubicBezTo>
                      <a:cubicBezTo>
                        <a:pt x="288131" y="800784"/>
                        <a:pt x="291259" y="802603"/>
                        <a:pt x="292894" y="805547"/>
                      </a:cubicBezTo>
                      <a:cubicBezTo>
                        <a:pt x="296972" y="812888"/>
                        <a:pt x="295777" y="821166"/>
                        <a:pt x="302419" y="826978"/>
                      </a:cubicBezTo>
                      <a:cubicBezTo>
                        <a:pt x="306727" y="830747"/>
                        <a:pt x="311944" y="833328"/>
                        <a:pt x="316706" y="836503"/>
                      </a:cubicBezTo>
                      <a:cubicBezTo>
                        <a:pt x="325939" y="842659"/>
                        <a:pt x="321134" y="840361"/>
                        <a:pt x="330994" y="843647"/>
                      </a:cubicBezTo>
                      <a:cubicBezTo>
                        <a:pt x="351450" y="857287"/>
                        <a:pt x="325577" y="840940"/>
                        <a:pt x="345281" y="850791"/>
                      </a:cubicBezTo>
                      <a:cubicBezTo>
                        <a:pt x="347841" y="852071"/>
                        <a:pt x="349810" y="854391"/>
                        <a:pt x="352425" y="855553"/>
                      </a:cubicBezTo>
                      <a:cubicBezTo>
                        <a:pt x="357012" y="857592"/>
                        <a:pt x="361950" y="858728"/>
                        <a:pt x="366712" y="860316"/>
                      </a:cubicBezTo>
                      <a:lnTo>
                        <a:pt x="373856" y="862697"/>
                      </a:lnTo>
                      <a:cubicBezTo>
                        <a:pt x="384969" y="861903"/>
                        <a:pt x="396176" y="861969"/>
                        <a:pt x="407194" y="860316"/>
                      </a:cubicBezTo>
                      <a:cubicBezTo>
                        <a:pt x="412158" y="859571"/>
                        <a:pt x="416719" y="857141"/>
                        <a:pt x="421481" y="855553"/>
                      </a:cubicBezTo>
                      <a:cubicBezTo>
                        <a:pt x="423862" y="854759"/>
                        <a:pt x="426140" y="853527"/>
                        <a:pt x="428625" y="853172"/>
                      </a:cubicBezTo>
                      <a:lnTo>
                        <a:pt x="445294" y="850791"/>
                      </a:lnTo>
                      <a:cubicBezTo>
                        <a:pt x="457869" y="842406"/>
                        <a:pt x="450969" y="844794"/>
                        <a:pt x="473869" y="848410"/>
                      </a:cubicBezTo>
                      <a:cubicBezTo>
                        <a:pt x="481864" y="849672"/>
                        <a:pt x="489744" y="851585"/>
                        <a:pt x="497681" y="853172"/>
                      </a:cubicBezTo>
                      <a:cubicBezTo>
                        <a:pt x="497690" y="853174"/>
                        <a:pt x="521486" y="857932"/>
                        <a:pt x="521494" y="857935"/>
                      </a:cubicBezTo>
                      <a:lnTo>
                        <a:pt x="528637" y="860316"/>
                      </a:lnTo>
                      <a:cubicBezTo>
                        <a:pt x="549509" y="881188"/>
                        <a:pt x="523033" y="855646"/>
                        <a:pt x="542925" y="872222"/>
                      </a:cubicBezTo>
                      <a:cubicBezTo>
                        <a:pt x="549334" y="877563"/>
                        <a:pt x="549611" y="880750"/>
                        <a:pt x="557212" y="884128"/>
                      </a:cubicBezTo>
                      <a:cubicBezTo>
                        <a:pt x="557224" y="884133"/>
                        <a:pt x="575066" y="890079"/>
                        <a:pt x="578644" y="891272"/>
                      </a:cubicBezTo>
                      <a:lnTo>
                        <a:pt x="585787" y="893653"/>
                      </a:lnTo>
                      <a:cubicBezTo>
                        <a:pt x="600075" y="892859"/>
                        <a:pt x="615462" y="896825"/>
                        <a:pt x="628650" y="891272"/>
                      </a:cubicBezTo>
                      <a:cubicBezTo>
                        <a:pt x="633823" y="889094"/>
                        <a:pt x="629016" y="879842"/>
                        <a:pt x="631031" y="874603"/>
                      </a:cubicBezTo>
                      <a:cubicBezTo>
                        <a:pt x="633086" y="869261"/>
                        <a:pt x="638746" y="865746"/>
                        <a:pt x="640556" y="860316"/>
                      </a:cubicBezTo>
                      <a:cubicBezTo>
                        <a:pt x="648561" y="836298"/>
                        <a:pt x="636345" y="873559"/>
                        <a:pt x="645319" y="843647"/>
                      </a:cubicBezTo>
                      <a:cubicBezTo>
                        <a:pt x="646762" y="838839"/>
                        <a:pt x="646531" y="832910"/>
                        <a:pt x="650081" y="829360"/>
                      </a:cubicBezTo>
                      <a:cubicBezTo>
                        <a:pt x="659249" y="820192"/>
                        <a:pt x="654423" y="824084"/>
                        <a:pt x="664369" y="817453"/>
                      </a:cubicBezTo>
                      <a:cubicBezTo>
                        <a:pt x="679450" y="818247"/>
                        <a:pt x="694602" y="818167"/>
                        <a:pt x="709612" y="819835"/>
                      </a:cubicBezTo>
                      <a:cubicBezTo>
                        <a:pt x="716117" y="820558"/>
                        <a:pt x="722452" y="822527"/>
                        <a:pt x="728662" y="824597"/>
                      </a:cubicBezTo>
                      <a:cubicBezTo>
                        <a:pt x="731043" y="825391"/>
                        <a:pt x="733307" y="826740"/>
                        <a:pt x="735806" y="826978"/>
                      </a:cubicBezTo>
                      <a:cubicBezTo>
                        <a:pt x="750051" y="828335"/>
                        <a:pt x="764381" y="828566"/>
                        <a:pt x="778669" y="829360"/>
                      </a:cubicBezTo>
                      <a:cubicBezTo>
                        <a:pt x="800397" y="827807"/>
                        <a:pt x="808652" y="834532"/>
                        <a:pt x="819150" y="819835"/>
                      </a:cubicBezTo>
                      <a:cubicBezTo>
                        <a:pt x="821213" y="816947"/>
                        <a:pt x="822325" y="813485"/>
                        <a:pt x="823912" y="810310"/>
                      </a:cubicBezTo>
                      <a:cubicBezTo>
                        <a:pt x="824706" y="799991"/>
                        <a:pt x="825010" y="789623"/>
                        <a:pt x="826294" y="779353"/>
                      </a:cubicBezTo>
                      <a:cubicBezTo>
                        <a:pt x="826605" y="776863"/>
                        <a:pt x="827986" y="774623"/>
                        <a:pt x="828675" y="772210"/>
                      </a:cubicBezTo>
                      <a:cubicBezTo>
                        <a:pt x="829574" y="769063"/>
                        <a:pt x="830157" y="765832"/>
                        <a:pt x="831056" y="762685"/>
                      </a:cubicBezTo>
                      <a:cubicBezTo>
                        <a:pt x="831746" y="760271"/>
                        <a:pt x="831896" y="757522"/>
                        <a:pt x="833437" y="755541"/>
                      </a:cubicBezTo>
                      <a:cubicBezTo>
                        <a:pt x="837572" y="750224"/>
                        <a:pt x="847725" y="741253"/>
                        <a:pt x="847725" y="741253"/>
                      </a:cubicBezTo>
                      <a:cubicBezTo>
                        <a:pt x="848519" y="738872"/>
                        <a:pt x="850106" y="736620"/>
                        <a:pt x="850106" y="734110"/>
                      </a:cubicBezTo>
                      <a:cubicBezTo>
                        <a:pt x="850106" y="728497"/>
                        <a:pt x="850235" y="722461"/>
                        <a:pt x="847725" y="717441"/>
                      </a:cubicBezTo>
                      <a:cubicBezTo>
                        <a:pt x="846602" y="715196"/>
                        <a:pt x="843031" y="715605"/>
                        <a:pt x="840581" y="715060"/>
                      </a:cubicBezTo>
                      <a:cubicBezTo>
                        <a:pt x="815436" y="709472"/>
                        <a:pt x="835232" y="715657"/>
                        <a:pt x="819150" y="710297"/>
                      </a:cubicBezTo>
                      <a:cubicBezTo>
                        <a:pt x="816769" y="707916"/>
                        <a:pt x="812451" y="706491"/>
                        <a:pt x="812006" y="703153"/>
                      </a:cubicBezTo>
                      <a:cubicBezTo>
                        <a:pt x="811444" y="698941"/>
                        <a:pt x="812191" y="676591"/>
                        <a:pt x="816769" y="667435"/>
                      </a:cubicBezTo>
                      <a:cubicBezTo>
                        <a:pt x="818049" y="664875"/>
                        <a:pt x="819333" y="662123"/>
                        <a:pt x="821531" y="660291"/>
                      </a:cubicBezTo>
                      <a:cubicBezTo>
                        <a:pt x="824258" y="658018"/>
                        <a:pt x="827974" y="657289"/>
                        <a:pt x="831056" y="655528"/>
                      </a:cubicBezTo>
                      <a:cubicBezTo>
                        <a:pt x="833541" y="654108"/>
                        <a:pt x="836001" y="652598"/>
                        <a:pt x="838200" y="650766"/>
                      </a:cubicBezTo>
                      <a:cubicBezTo>
                        <a:pt x="840787" y="648610"/>
                        <a:pt x="842757" y="645778"/>
                        <a:pt x="845344" y="643622"/>
                      </a:cubicBezTo>
                      <a:cubicBezTo>
                        <a:pt x="850695" y="639163"/>
                        <a:pt x="860245" y="634348"/>
                        <a:pt x="866775" y="634097"/>
                      </a:cubicBezTo>
                      <a:lnTo>
                        <a:pt x="928687" y="631716"/>
                      </a:lnTo>
                      <a:cubicBezTo>
                        <a:pt x="930275" y="629335"/>
                        <a:pt x="933191" y="627422"/>
                        <a:pt x="933450" y="624572"/>
                      </a:cubicBezTo>
                      <a:cubicBezTo>
                        <a:pt x="935096" y="606476"/>
                        <a:pt x="929446" y="606937"/>
                        <a:pt x="926306" y="591235"/>
                      </a:cubicBezTo>
                      <a:cubicBezTo>
                        <a:pt x="925512" y="587266"/>
                        <a:pt x="925346" y="583118"/>
                        <a:pt x="923925" y="579328"/>
                      </a:cubicBezTo>
                      <a:cubicBezTo>
                        <a:pt x="921937" y="574027"/>
                        <a:pt x="915722" y="568744"/>
                        <a:pt x="912019" y="565041"/>
                      </a:cubicBezTo>
                      <a:cubicBezTo>
                        <a:pt x="911225" y="562660"/>
                        <a:pt x="910327" y="560311"/>
                        <a:pt x="909637" y="557897"/>
                      </a:cubicBezTo>
                      <a:cubicBezTo>
                        <a:pt x="908738" y="554750"/>
                        <a:pt x="908720" y="551299"/>
                        <a:pt x="907256" y="548372"/>
                      </a:cubicBezTo>
                      <a:cubicBezTo>
                        <a:pt x="905481" y="544822"/>
                        <a:pt x="902918" y="541653"/>
                        <a:pt x="900112" y="538847"/>
                      </a:cubicBezTo>
                      <a:cubicBezTo>
                        <a:pt x="890634" y="529369"/>
                        <a:pt x="873351" y="530456"/>
                        <a:pt x="862012" y="529322"/>
                      </a:cubicBezTo>
                      <a:cubicBezTo>
                        <a:pt x="860742" y="529004"/>
                        <a:pt x="847394" y="525927"/>
                        <a:pt x="845344" y="524560"/>
                      </a:cubicBezTo>
                      <a:cubicBezTo>
                        <a:pt x="842542" y="522692"/>
                        <a:pt x="840858" y="519484"/>
                        <a:pt x="838200" y="517416"/>
                      </a:cubicBezTo>
                      <a:cubicBezTo>
                        <a:pt x="833682" y="513902"/>
                        <a:pt x="823912" y="507891"/>
                        <a:pt x="823912" y="507891"/>
                      </a:cubicBezTo>
                      <a:cubicBezTo>
                        <a:pt x="810418" y="508685"/>
                        <a:pt x="796905" y="509194"/>
                        <a:pt x="783431" y="510272"/>
                      </a:cubicBezTo>
                      <a:cubicBezTo>
                        <a:pt x="777052" y="510782"/>
                        <a:pt x="770323" y="510276"/>
                        <a:pt x="764381" y="512653"/>
                      </a:cubicBezTo>
                      <a:cubicBezTo>
                        <a:pt x="761724" y="513716"/>
                        <a:pt x="760781" y="517182"/>
                        <a:pt x="759619" y="519797"/>
                      </a:cubicBezTo>
                      <a:cubicBezTo>
                        <a:pt x="758465" y="522393"/>
                        <a:pt x="755068" y="538119"/>
                        <a:pt x="750094" y="541228"/>
                      </a:cubicBezTo>
                      <a:cubicBezTo>
                        <a:pt x="745837" y="543889"/>
                        <a:pt x="740729" y="545007"/>
                        <a:pt x="735806" y="545991"/>
                      </a:cubicBezTo>
                      <a:cubicBezTo>
                        <a:pt x="720691" y="549014"/>
                        <a:pt x="727826" y="547390"/>
                        <a:pt x="714375" y="550753"/>
                      </a:cubicBezTo>
                      <a:lnTo>
                        <a:pt x="673894" y="548372"/>
                      </a:lnTo>
                      <a:cubicBezTo>
                        <a:pt x="670770" y="547396"/>
                        <a:pt x="673790" y="540977"/>
                        <a:pt x="676275" y="538847"/>
                      </a:cubicBezTo>
                      <a:cubicBezTo>
                        <a:pt x="680086" y="535580"/>
                        <a:pt x="690562" y="534085"/>
                        <a:pt x="690562" y="534085"/>
                      </a:cubicBezTo>
                      <a:cubicBezTo>
                        <a:pt x="692943" y="532497"/>
                        <a:pt x="695682" y="531346"/>
                        <a:pt x="697706" y="529322"/>
                      </a:cubicBezTo>
                      <a:cubicBezTo>
                        <a:pt x="703188" y="523840"/>
                        <a:pt x="703028" y="519941"/>
                        <a:pt x="704850" y="512653"/>
                      </a:cubicBezTo>
                      <a:cubicBezTo>
                        <a:pt x="700520" y="482338"/>
                        <a:pt x="706370" y="506169"/>
                        <a:pt x="697706" y="488841"/>
                      </a:cubicBezTo>
                      <a:cubicBezTo>
                        <a:pt x="696583" y="486596"/>
                        <a:pt x="696893" y="483657"/>
                        <a:pt x="695325" y="481697"/>
                      </a:cubicBezTo>
                      <a:cubicBezTo>
                        <a:pt x="693537" y="479462"/>
                        <a:pt x="690380" y="478767"/>
                        <a:pt x="688181" y="476935"/>
                      </a:cubicBezTo>
                      <a:cubicBezTo>
                        <a:pt x="685594" y="474779"/>
                        <a:pt x="683961" y="471462"/>
                        <a:pt x="681037" y="469791"/>
                      </a:cubicBezTo>
                      <a:cubicBezTo>
                        <a:pt x="678195" y="468167"/>
                        <a:pt x="674647" y="468350"/>
                        <a:pt x="671512" y="467410"/>
                      </a:cubicBezTo>
                      <a:cubicBezTo>
                        <a:pt x="666704" y="465967"/>
                        <a:pt x="661715" y="464892"/>
                        <a:pt x="657225" y="462647"/>
                      </a:cubicBezTo>
                      <a:cubicBezTo>
                        <a:pt x="654050" y="461060"/>
                        <a:pt x="650782" y="459646"/>
                        <a:pt x="647700" y="457885"/>
                      </a:cubicBezTo>
                      <a:cubicBezTo>
                        <a:pt x="645215" y="456465"/>
                        <a:pt x="643171" y="454284"/>
                        <a:pt x="640556" y="453122"/>
                      </a:cubicBezTo>
                      <a:cubicBezTo>
                        <a:pt x="635969" y="451083"/>
                        <a:pt x="630759" y="450605"/>
                        <a:pt x="626269" y="448360"/>
                      </a:cubicBezTo>
                      <a:cubicBezTo>
                        <a:pt x="623094" y="446772"/>
                        <a:pt x="620112" y="444720"/>
                        <a:pt x="616744" y="443597"/>
                      </a:cubicBezTo>
                      <a:cubicBezTo>
                        <a:pt x="610534" y="441527"/>
                        <a:pt x="603903" y="440905"/>
                        <a:pt x="597694" y="438835"/>
                      </a:cubicBezTo>
                      <a:cubicBezTo>
                        <a:pt x="580585" y="433130"/>
                        <a:pt x="601930" y="440044"/>
                        <a:pt x="581025" y="434072"/>
                      </a:cubicBezTo>
                      <a:cubicBezTo>
                        <a:pt x="578611" y="433382"/>
                        <a:pt x="576303" y="432351"/>
                        <a:pt x="573881" y="431691"/>
                      </a:cubicBezTo>
                      <a:cubicBezTo>
                        <a:pt x="567566" y="429969"/>
                        <a:pt x="561181" y="428516"/>
                        <a:pt x="554831" y="426928"/>
                      </a:cubicBezTo>
                      <a:cubicBezTo>
                        <a:pt x="551656" y="426134"/>
                        <a:pt x="548411" y="425582"/>
                        <a:pt x="545306" y="424547"/>
                      </a:cubicBezTo>
                      <a:lnTo>
                        <a:pt x="538162" y="422166"/>
                      </a:lnTo>
                      <a:cubicBezTo>
                        <a:pt x="532897" y="416900"/>
                        <a:pt x="529571" y="414507"/>
                        <a:pt x="526256" y="407878"/>
                      </a:cubicBezTo>
                      <a:cubicBezTo>
                        <a:pt x="525134" y="405633"/>
                        <a:pt x="525416" y="402716"/>
                        <a:pt x="523875" y="400735"/>
                      </a:cubicBezTo>
                      <a:cubicBezTo>
                        <a:pt x="519740" y="395418"/>
                        <a:pt x="513323" y="392051"/>
                        <a:pt x="509587" y="386447"/>
                      </a:cubicBezTo>
                      <a:cubicBezTo>
                        <a:pt x="495933" y="365963"/>
                        <a:pt x="512308" y="391886"/>
                        <a:pt x="502444" y="372160"/>
                      </a:cubicBezTo>
                      <a:cubicBezTo>
                        <a:pt x="501164" y="369600"/>
                        <a:pt x="499269" y="367397"/>
                        <a:pt x="497681" y="365016"/>
                      </a:cubicBezTo>
                      <a:cubicBezTo>
                        <a:pt x="496887" y="359460"/>
                        <a:pt x="496153" y="353894"/>
                        <a:pt x="495300" y="348347"/>
                      </a:cubicBezTo>
                      <a:cubicBezTo>
                        <a:pt x="494566" y="343575"/>
                        <a:pt x="493399" y="338864"/>
                        <a:pt x="492919" y="334060"/>
                      </a:cubicBezTo>
                      <a:cubicBezTo>
                        <a:pt x="490027" y="305139"/>
                        <a:pt x="493320" y="309274"/>
                        <a:pt x="488156" y="291197"/>
                      </a:cubicBezTo>
                      <a:cubicBezTo>
                        <a:pt x="486118" y="284062"/>
                        <a:pt x="479579" y="267222"/>
                        <a:pt x="476250" y="265003"/>
                      </a:cubicBezTo>
                      <a:cubicBezTo>
                        <a:pt x="471487" y="261828"/>
                        <a:pt x="467392" y="257288"/>
                        <a:pt x="461962" y="255478"/>
                      </a:cubicBezTo>
                      <a:cubicBezTo>
                        <a:pt x="459581" y="254684"/>
                        <a:pt x="457064" y="254219"/>
                        <a:pt x="454819" y="253097"/>
                      </a:cubicBezTo>
                      <a:cubicBezTo>
                        <a:pt x="452259" y="251817"/>
                        <a:pt x="450290" y="249497"/>
                        <a:pt x="447675" y="248335"/>
                      </a:cubicBezTo>
                      <a:cubicBezTo>
                        <a:pt x="443087" y="246296"/>
                        <a:pt x="433387" y="243572"/>
                        <a:pt x="433387" y="243572"/>
                      </a:cubicBezTo>
                      <a:cubicBezTo>
                        <a:pt x="431006" y="241985"/>
                        <a:pt x="428874" y="239937"/>
                        <a:pt x="426244" y="238810"/>
                      </a:cubicBezTo>
                      <a:cubicBezTo>
                        <a:pt x="415569" y="234234"/>
                        <a:pt x="418839" y="238678"/>
                        <a:pt x="409575" y="234047"/>
                      </a:cubicBezTo>
                      <a:cubicBezTo>
                        <a:pt x="405700" y="232110"/>
                        <a:pt x="395608" y="224032"/>
                        <a:pt x="392906" y="222141"/>
                      </a:cubicBezTo>
                      <a:cubicBezTo>
                        <a:pt x="388217" y="218859"/>
                        <a:pt x="383381" y="215791"/>
                        <a:pt x="378619" y="212616"/>
                      </a:cubicBezTo>
                      <a:cubicBezTo>
                        <a:pt x="376238" y="211028"/>
                        <a:pt x="374252" y="208547"/>
                        <a:pt x="371475" y="207853"/>
                      </a:cubicBezTo>
                      <a:cubicBezTo>
                        <a:pt x="354090" y="203507"/>
                        <a:pt x="365176" y="206118"/>
                        <a:pt x="338137" y="200710"/>
                      </a:cubicBezTo>
                      <a:cubicBezTo>
                        <a:pt x="334168" y="199916"/>
                        <a:pt x="330071" y="199608"/>
                        <a:pt x="326231" y="198328"/>
                      </a:cubicBezTo>
                      <a:cubicBezTo>
                        <a:pt x="308839" y="192531"/>
                        <a:pt x="316814" y="194783"/>
                        <a:pt x="302419" y="191185"/>
                      </a:cubicBezTo>
                      <a:cubicBezTo>
                        <a:pt x="299244" y="188804"/>
                        <a:pt x="295435" y="187090"/>
                        <a:pt x="292894" y="184041"/>
                      </a:cubicBezTo>
                      <a:cubicBezTo>
                        <a:pt x="291287" y="182113"/>
                        <a:pt x="291501" y="179204"/>
                        <a:pt x="290512" y="176897"/>
                      </a:cubicBezTo>
                      <a:cubicBezTo>
                        <a:pt x="289114" y="173634"/>
                        <a:pt x="286873" y="170740"/>
                        <a:pt x="285750" y="167372"/>
                      </a:cubicBezTo>
                      <a:cubicBezTo>
                        <a:pt x="283680" y="161162"/>
                        <a:pt x="280987" y="148322"/>
                        <a:pt x="280987" y="148322"/>
                      </a:cubicBezTo>
                      <a:cubicBezTo>
                        <a:pt x="280550" y="144391"/>
                        <a:pt x="280103" y="126727"/>
                        <a:pt x="276225" y="119747"/>
                      </a:cubicBezTo>
                      <a:cubicBezTo>
                        <a:pt x="270445" y="109343"/>
                        <a:pt x="265856" y="103531"/>
                        <a:pt x="257175" y="95935"/>
                      </a:cubicBezTo>
                      <a:cubicBezTo>
                        <a:pt x="254188" y="93322"/>
                        <a:pt x="250663" y="91374"/>
                        <a:pt x="247650" y="88791"/>
                      </a:cubicBezTo>
                      <a:cubicBezTo>
                        <a:pt x="245093" y="86599"/>
                        <a:pt x="243093" y="83803"/>
                        <a:pt x="240506" y="81647"/>
                      </a:cubicBezTo>
                      <a:cubicBezTo>
                        <a:pt x="238307" y="79815"/>
                        <a:pt x="235501" y="78786"/>
                        <a:pt x="233362" y="76885"/>
                      </a:cubicBezTo>
                      <a:cubicBezTo>
                        <a:pt x="214086" y="59751"/>
                        <a:pt x="226662" y="65126"/>
                        <a:pt x="211931" y="60216"/>
                      </a:cubicBezTo>
                      <a:cubicBezTo>
                        <a:pt x="196850" y="61010"/>
                        <a:pt x="181727" y="61230"/>
                        <a:pt x="166687" y="62597"/>
                      </a:cubicBezTo>
                      <a:cubicBezTo>
                        <a:pt x="164188" y="62824"/>
                        <a:pt x="161789" y="63856"/>
                        <a:pt x="159544" y="64978"/>
                      </a:cubicBezTo>
                      <a:cubicBezTo>
                        <a:pt x="156984" y="66258"/>
                        <a:pt x="154781" y="68153"/>
                        <a:pt x="152400" y="69741"/>
                      </a:cubicBezTo>
                      <a:cubicBezTo>
                        <a:pt x="153194" y="72916"/>
                        <a:pt x="152737" y="76710"/>
                        <a:pt x="154781" y="79266"/>
                      </a:cubicBezTo>
                      <a:cubicBezTo>
                        <a:pt x="156349" y="81226"/>
                        <a:pt x="159965" y="80079"/>
                        <a:pt x="161925" y="81647"/>
                      </a:cubicBezTo>
                      <a:cubicBezTo>
                        <a:pt x="164160" y="83435"/>
                        <a:pt x="165100" y="86410"/>
                        <a:pt x="166687" y="88791"/>
                      </a:cubicBezTo>
                      <a:cubicBezTo>
                        <a:pt x="167481" y="94347"/>
                        <a:pt x="167807" y="99991"/>
                        <a:pt x="169069" y="105460"/>
                      </a:cubicBezTo>
                      <a:cubicBezTo>
                        <a:pt x="170198" y="110351"/>
                        <a:pt x="172244" y="114985"/>
                        <a:pt x="173831" y="119747"/>
                      </a:cubicBezTo>
                      <a:cubicBezTo>
                        <a:pt x="175560" y="124934"/>
                        <a:pt x="179990" y="136990"/>
                        <a:pt x="178594" y="141178"/>
                      </a:cubicBezTo>
                      <a:cubicBezTo>
                        <a:pt x="177689" y="143893"/>
                        <a:pt x="175419" y="136416"/>
                        <a:pt x="173831" y="134035"/>
                      </a:cubicBezTo>
                      <a:cubicBezTo>
                        <a:pt x="165955" y="110403"/>
                        <a:pt x="179169" y="146501"/>
                        <a:pt x="164306" y="119747"/>
                      </a:cubicBezTo>
                      <a:cubicBezTo>
                        <a:pt x="160229" y="112408"/>
                        <a:pt x="161422" y="104127"/>
                        <a:pt x="154781" y="98316"/>
                      </a:cubicBezTo>
                      <a:cubicBezTo>
                        <a:pt x="146638" y="91191"/>
                        <a:pt x="138563" y="87353"/>
                        <a:pt x="128587" y="84028"/>
                      </a:cubicBezTo>
                      <a:cubicBezTo>
                        <a:pt x="121257" y="81585"/>
                        <a:pt x="114701" y="81152"/>
                        <a:pt x="107156" y="79266"/>
                      </a:cubicBezTo>
                      <a:cubicBezTo>
                        <a:pt x="101217" y="77781"/>
                        <a:pt x="95790" y="75153"/>
                        <a:pt x="90487" y="72122"/>
                      </a:cubicBezTo>
                      <a:cubicBezTo>
                        <a:pt x="88002" y="70702"/>
                        <a:pt x="85829" y="68780"/>
                        <a:pt x="83344" y="67360"/>
                      </a:cubicBezTo>
                      <a:cubicBezTo>
                        <a:pt x="80262" y="65599"/>
                        <a:pt x="76994" y="64185"/>
                        <a:pt x="73819" y="62597"/>
                      </a:cubicBezTo>
                      <a:lnTo>
                        <a:pt x="64294" y="48310"/>
                      </a:lnTo>
                      <a:lnTo>
                        <a:pt x="59531" y="41166"/>
                      </a:lnTo>
                      <a:cubicBezTo>
                        <a:pt x="58737" y="38785"/>
                        <a:pt x="58273" y="36267"/>
                        <a:pt x="57150" y="34022"/>
                      </a:cubicBezTo>
                      <a:cubicBezTo>
                        <a:pt x="55870" y="31462"/>
                        <a:pt x="50006" y="4257"/>
                        <a:pt x="47625" y="68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8" name="Freeform 317"/>
                <p:cNvSpPr/>
                <p:nvPr/>
              </p:nvSpPr>
              <p:spPr>
                <a:xfrm>
                  <a:off x="2638825" y="2842233"/>
                  <a:ext cx="113444" cy="140494"/>
                </a:xfrm>
                <a:custGeom>
                  <a:avLst/>
                  <a:gdLst>
                    <a:gd name="connsiteX0" fmla="*/ 19050 w 113444"/>
                    <a:gd name="connsiteY0" fmla="*/ 28575 h 140494"/>
                    <a:gd name="connsiteX1" fmla="*/ 30956 w 113444"/>
                    <a:gd name="connsiteY1" fmla="*/ 19050 h 140494"/>
                    <a:gd name="connsiteX2" fmla="*/ 40481 w 113444"/>
                    <a:gd name="connsiteY2" fmla="*/ 4762 h 140494"/>
                    <a:gd name="connsiteX3" fmla="*/ 54769 w 113444"/>
                    <a:gd name="connsiteY3" fmla="*/ 0 h 140494"/>
                    <a:gd name="connsiteX4" fmla="*/ 66675 w 113444"/>
                    <a:gd name="connsiteY4" fmla="*/ 2381 h 140494"/>
                    <a:gd name="connsiteX5" fmla="*/ 69056 w 113444"/>
                    <a:gd name="connsiteY5" fmla="*/ 9525 h 140494"/>
                    <a:gd name="connsiteX6" fmla="*/ 71438 w 113444"/>
                    <a:gd name="connsiteY6" fmla="*/ 21431 h 140494"/>
                    <a:gd name="connsiteX7" fmla="*/ 80963 w 113444"/>
                    <a:gd name="connsiteY7" fmla="*/ 33337 h 140494"/>
                    <a:gd name="connsiteX8" fmla="*/ 83344 w 113444"/>
                    <a:gd name="connsiteY8" fmla="*/ 40481 h 140494"/>
                    <a:gd name="connsiteX9" fmla="*/ 100013 w 113444"/>
                    <a:gd name="connsiteY9" fmla="*/ 59531 h 140494"/>
                    <a:gd name="connsiteX10" fmla="*/ 107156 w 113444"/>
                    <a:gd name="connsiteY10" fmla="*/ 61912 h 140494"/>
                    <a:gd name="connsiteX11" fmla="*/ 109538 w 113444"/>
                    <a:gd name="connsiteY11" fmla="*/ 95250 h 140494"/>
                    <a:gd name="connsiteX12" fmla="*/ 104775 w 113444"/>
                    <a:gd name="connsiteY12" fmla="*/ 109537 h 140494"/>
                    <a:gd name="connsiteX13" fmla="*/ 90488 w 113444"/>
                    <a:gd name="connsiteY13" fmla="*/ 119062 h 140494"/>
                    <a:gd name="connsiteX14" fmla="*/ 76200 w 113444"/>
                    <a:gd name="connsiteY14" fmla="*/ 123825 h 140494"/>
                    <a:gd name="connsiteX15" fmla="*/ 54769 w 113444"/>
                    <a:gd name="connsiteY15" fmla="*/ 135731 h 140494"/>
                    <a:gd name="connsiteX16" fmla="*/ 47625 w 113444"/>
                    <a:gd name="connsiteY16" fmla="*/ 138112 h 140494"/>
                    <a:gd name="connsiteX17" fmla="*/ 40481 w 113444"/>
                    <a:gd name="connsiteY17" fmla="*/ 140494 h 140494"/>
                    <a:gd name="connsiteX18" fmla="*/ 16669 w 113444"/>
                    <a:gd name="connsiteY18" fmla="*/ 138112 h 140494"/>
                    <a:gd name="connsiteX19" fmla="*/ 19050 w 113444"/>
                    <a:gd name="connsiteY19" fmla="*/ 130969 h 140494"/>
                    <a:gd name="connsiteX20" fmla="*/ 33338 w 113444"/>
                    <a:gd name="connsiteY20" fmla="*/ 121444 h 140494"/>
                    <a:gd name="connsiteX21" fmla="*/ 40481 w 113444"/>
                    <a:gd name="connsiteY21" fmla="*/ 116681 h 140494"/>
                    <a:gd name="connsiteX22" fmla="*/ 42863 w 113444"/>
                    <a:gd name="connsiteY22" fmla="*/ 109537 h 140494"/>
                    <a:gd name="connsiteX23" fmla="*/ 40481 w 113444"/>
                    <a:gd name="connsiteY23" fmla="*/ 97631 h 140494"/>
                    <a:gd name="connsiteX24" fmla="*/ 19050 w 113444"/>
                    <a:gd name="connsiteY24" fmla="*/ 85725 h 140494"/>
                    <a:gd name="connsiteX25" fmla="*/ 16669 w 113444"/>
                    <a:gd name="connsiteY25" fmla="*/ 78581 h 140494"/>
                    <a:gd name="connsiteX26" fmla="*/ 14288 w 113444"/>
                    <a:gd name="connsiteY26" fmla="*/ 61912 h 140494"/>
                    <a:gd name="connsiteX27" fmla="*/ 7144 w 113444"/>
                    <a:gd name="connsiteY27" fmla="*/ 57150 h 140494"/>
                    <a:gd name="connsiteX28" fmla="*/ 0 w 113444"/>
                    <a:gd name="connsiteY28" fmla="*/ 50006 h 140494"/>
                    <a:gd name="connsiteX29" fmla="*/ 19050 w 113444"/>
                    <a:gd name="connsiteY29" fmla="*/ 28575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444" h="140494">
                      <a:moveTo>
                        <a:pt x="19050" y="28575"/>
                      </a:moveTo>
                      <a:cubicBezTo>
                        <a:pt x="24209" y="23416"/>
                        <a:pt x="27556" y="22828"/>
                        <a:pt x="30956" y="19050"/>
                      </a:cubicBezTo>
                      <a:cubicBezTo>
                        <a:pt x="34785" y="14795"/>
                        <a:pt x="35051" y="6572"/>
                        <a:pt x="40481" y="4762"/>
                      </a:cubicBezTo>
                      <a:lnTo>
                        <a:pt x="54769" y="0"/>
                      </a:lnTo>
                      <a:cubicBezTo>
                        <a:pt x="58738" y="794"/>
                        <a:pt x="63308" y="136"/>
                        <a:pt x="66675" y="2381"/>
                      </a:cubicBezTo>
                      <a:cubicBezTo>
                        <a:pt x="68764" y="3773"/>
                        <a:pt x="68447" y="7090"/>
                        <a:pt x="69056" y="9525"/>
                      </a:cubicBezTo>
                      <a:cubicBezTo>
                        <a:pt x="70038" y="13451"/>
                        <a:pt x="70456" y="17505"/>
                        <a:pt x="71438" y="21431"/>
                      </a:cubicBezTo>
                      <a:cubicBezTo>
                        <a:pt x="73739" y="30633"/>
                        <a:pt x="72853" y="27931"/>
                        <a:pt x="80963" y="33337"/>
                      </a:cubicBezTo>
                      <a:cubicBezTo>
                        <a:pt x="81757" y="35718"/>
                        <a:pt x="82125" y="38287"/>
                        <a:pt x="83344" y="40481"/>
                      </a:cubicBezTo>
                      <a:cubicBezTo>
                        <a:pt x="88840" y="50375"/>
                        <a:pt x="90914" y="54982"/>
                        <a:pt x="100013" y="59531"/>
                      </a:cubicBezTo>
                      <a:cubicBezTo>
                        <a:pt x="102258" y="60653"/>
                        <a:pt x="104775" y="61118"/>
                        <a:pt x="107156" y="61912"/>
                      </a:cubicBezTo>
                      <a:cubicBezTo>
                        <a:pt x="116141" y="75388"/>
                        <a:pt x="114143" y="69154"/>
                        <a:pt x="109538" y="95250"/>
                      </a:cubicBezTo>
                      <a:cubicBezTo>
                        <a:pt x="108666" y="100194"/>
                        <a:pt x="108952" y="106752"/>
                        <a:pt x="104775" y="109537"/>
                      </a:cubicBezTo>
                      <a:cubicBezTo>
                        <a:pt x="100013" y="112712"/>
                        <a:pt x="95918" y="117252"/>
                        <a:pt x="90488" y="119062"/>
                      </a:cubicBezTo>
                      <a:lnTo>
                        <a:pt x="76200" y="123825"/>
                      </a:lnTo>
                      <a:cubicBezTo>
                        <a:pt x="65507" y="134518"/>
                        <a:pt x="72251" y="129904"/>
                        <a:pt x="54769" y="135731"/>
                      </a:cubicBezTo>
                      <a:lnTo>
                        <a:pt x="47625" y="138112"/>
                      </a:lnTo>
                      <a:lnTo>
                        <a:pt x="40481" y="140494"/>
                      </a:lnTo>
                      <a:cubicBezTo>
                        <a:pt x="32544" y="139700"/>
                        <a:pt x="23958" y="141352"/>
                        <a:pt x="16669" y="138112"/>
                      </a:cubicBezTo>
                      <a:cubicBezTo>
                        <a:pt x="14376" y="137093"/>
                        <a:pt x="17275" y="132744"/>
                        <a:pt x="19050" y="130969"/>
                      </a:cubicBezTo>
                      <a:cubicBezTo>
                        <a:pt x="23098" y="126922"/>
                        <a:pt x="28575" y="124619"/>
                        <a:pt x="33338" y="121444"/>
                      </a:cubicBezTo>
                      <a:lnTo>
                        <a:pt x="40481" y="116681"/>
                      </a:lnTo>
                      <a:cubicBezTo>
                        <a:pt x="41275" y="114300"/>
                        <a:pt x="42863" y="112047"/>
                        <a:pt x="42863" y="109537"/>
                      </a:cubicBezTo>
                      <a:cubicBezTo>
                        <a:pt x="42863" y="105490"/>
                        <a:pt x="42966" y="100826"/>
                        <a:pt x="40481" y="97631"/>
                      </a:cubicBezTo>
                      <a:cubicBezTo>
                        <a:pt x="34748" y="90261"/>
                        <a:pt x="26957" y="88360"/>
                        <a:pt x="19050" y="85725"/>
                      </a:cubicBezTo>
                      <a:cubicBezTo>
                        <a:pt x="18256" y="83344"/>
                        <a:pt x="17161" y="81042"/>
                        <a:pt x="16669" y="78581"/>
                      </a:cubicBezTo>
                      <a:cubicBezTo>
                        <a:pt x="15568" y="73077"/>
                        <a:pt x="16568" y="67041"/>
                        <a:pt x="14288" y="61912"/>
                      </a:cubicBezTo>
                      <a:cubicBezTo>
                        <a:pt x="13126" y="59297"/>
                        <a:pt x="9343" y="58982"/>
                        <a:pt x="7144" y="57150"/>
                      </a:cubicBezTo>
                      <a:cubicBezTo>
                        <a:pt x="4557" y="54994"/>
                        <a:pt x="2381" y="52387"/>
                        <a:pt x="0" y="50006"/>
                      </a:cubicBezTo>
                      <a:cubicBezTo>
                        <a:pt x="2632" y="42109"/>
                        <a:pt x="13891" y="33734"/>
                        <a:pt x="19050" y="2857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9" name="Freeform 318"/>
                <p:cNvSpPr/>
                <p:nvPr/>
              </p:nvSpPr>
              <p:spPr>
                <a:xfrm>
                  <a:off x="2578640" y="2931151"/>
                  <a:ext cx="63390" cy="111107"/>
                </a:xfrm>
                <a:custGeom>
                  <a:avLst/>
                  <a:gdLst>
                    <a:gd name="connsiteX0" fmla="*/ 654 w 63390"/>
                    <a:gd name="connsiteY0" fmla="*/ 1569 h 111107"/>
                    <a:gd name="connsiteX1" fmla="*/ 5416 w 63390"/>
                    <a:gd name="connsiteY1" fmla="*/ 20619 h 111107"/>
                    <a:gd name="connsiteX2" fmla="*/ 10179 w 63390"/>
                    <a:gd name="connsiteY2" fmla="*/ 27763 h 111107"/>
                    <a:gd name="connsiteX3" fmla="*/ 14941 w 63390"/>
                    <a:gd name="connsiteY3" fmla="*/ 53957 h 111107"/>
                    <a:gd name="connsiteX4" fmla="*/ 19704 w 63390"/>
                    <a:gd name="connsiteY4" fmla="*/ 68244 h 111107"/>
                    <a:gd name="connsiteX5" fmla="*/ 26848 w 63390"/>
                    <a:gd name="connsiteY5" fmla="*/ 82532 h 111107"/>
                    <a:gd name="connsiteX6" fmla="*/ 38754 w 63390"/>
                    <a:gd name="connsiteY6" fmla="*/ 111107 h 111107"/>
                    <a:gd name="connsiteX7" fmla="*/ 45898 w 63390"/>
                    <a:gd name="connsiteY7" fmla="*/ 108726 h 111107"/>
                    <a:gd name="connsiteX8" fmla="*/ 60185 w 63390"/>
                    <a:gd name="connsiteY8" fmla="*/ 99201 h 111107"/>
                    <a:gd name="connsiteX9" fmla="*/ 60185 w 63390"/>
                    <a:gd name="connsiteY9" fmla="*/ 65863 h 111107"/>
                    <a:gd name="connsiteX10" fmla="*/ 57804 w 63390"/>
                    <a:gd name="connsiteY10" fmla="*/ 58719 h 111107"/>
                    <a:gd name="connsiteX11" fmla="*/ 50660 w 63390"/>
                    <a:gd name="connsiteY11" fmla="*/ 53957 h 111107"/>
                    <a:gd name="connsiteX12" fmla="*/ 36373 w 63390"/>
                    <a:gd name="connsiteY12" fmla="*/ 39669 h 111107"/>
                    <a:gd name="connsiteX13" fmla="*/ 29229 w 63390"/>
                    <a:gd name="connsiteY13" fmla="*/ 13476 h 111107"/>
                    <a:gd name="connsiteX14" fmla="*/ 26848 w 63390"/>
                    <a:gd name="connsiteY14" fmla="*/ 3951 h 111107"/>
                    <a:gd name="connsiteX15" fmla="*/ 19704 w 63390"/>
                    <a:gd name="connsiteY15" fmla="*/ 1569 h 111107"/>
                    <a:gd name="connsiteX16" fmla="*/ 654 w 63390"/>
                    <a:gd name="connsiteY16" fmla="*/ 1569 h 11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90" h="111107">
                      <a:moveTo>
                        <a:pt x="654" y="1569"/>
                      </a:moveTo>
                      <a:cubicBezTo>
                        <a:pt x="-1727" y="4744"/>
                        <a:pt x="2975" y="15738"/>
                        <a:pt x="5416" y="20619"/>
                      </a:cubicBezTo>
                      <a:cubicBezTo>
                        <a:pt x="6696" y="23179"/>
                        <a:pt x="8591" y="25382"/>
                        <a:pt x="10179" y="27763"/>
                      </a:cubicBezTo>
                      <a:cubicBezTo>
                        <a:pt x="16697" y="47320"/>
                        <a:pt x="6860" y="16249"/>
                        <a:pt x="14941" y="53957"/>
                      </a:cubicBezTo>
                      <a:cubicBezTo>
                        <a:pt x="15993" y="58866"/>
                        <a:pt x="16920" y="64067"/>
                        <a:pt x="19704" y="68244"/>
                      </a:cubicBezTo>
                      <a:cubicBezTo>
                        <a:pt x="24094" y="74829"/>
                        <a:pt x="25109" y="74995"/>
                        <a:pt x="26848" y="82532"/>
                      </a:cubicBezTo>
                      <a:cubicBezTo>
                        <a:pt x="33140" y="109796"/>
                        <a:pt x="24533" y="101625"/>
                        <a:pt x="38754" y="111107"/>
                      </a:cubicBezTo>
                      <a:cubicBezTo>
                        <a:pt x="41135" y="110313"/>
                        <a:pt x="43704" y="109945"/>
                        <a:pt x="45898" y="108726"/>
                      </a:cubicBezTo>
                      <a:cubicBezTo>
                        <a:pt x="50901" y="105946"/>
                        <a:pt x="60185" y="99201"/>
                        <a:pt x="60185" y="99201"/>
                      </a:cubicBezTo>
                      <a:cubicBezTo>
                        <a:pt x="65039" y="84636"/>
                        <a:pt x="63836" y="91427"/>
                        <a:pt x="60185" y="65863"/>
                      </a:cubicBezTo>
                      <a:cubicBezTo>
                        <a:pt x="59830" y="63378"/>
                        <a:pt x="59372" y="60679"/>
                        <a:pt x="57804" y="58719"/>
                      </a:cubicBezTo>
                      <a:cubicBezTo>
                        <a:pt x="56016" y="56484"/>
                        <a:pt x="52799" y="55858"/>
                        <a:pt x="50660" y="53957"/>
                      </a:cubicBezTo>
                      <a:cubicBezTo>
                        <a:pt x="45626" y="49482"/>
                        <a:pt x="36373" y="39669"/>
                        <a:pt x="36373" y="39669"/>
                      </a:cubicBezTo>
                      <a:cubicBezTo>
                        <a:pt x="28939" y="17371"/>
                        <a:pt x="33716" y="33668"/>
                        <a:pt x="29229" y="13476"/>
                      </a:cubicBezTo>
                      <a:cubicBezTo>
                        <a:pt x="28519" y="10281"/>
                        <a:pt x="28892" y="6507"/>
                        <a:pt x="26848" y="3951"/>
                      </a:cubicBezTo>
                      <a:cubicBezTo>
                        <a:pt x="25280" y="1991"/>
                        <a:pt x="22035" y="2501"/>
                        <a:pt x="19704" y="1569"/>
                      </a:cubicBezTo>
                      <a:cubicBezTo>
                        <a:pt x="18056" y="910"/>
                        <a:pt x="3035" y="-1606"/>
                        <a:pt x="654" y="15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0" name="Freeform 319"/>
                <p:cNvSpPr/>
                <p:nvPr/>
              </p:nvSpPr>
              <p:spPr>
                <a:xfrm>
                  <a:off x="2650691" y="3068452"/>
                  <a:ext cx="169109" cy="126206"/>
                </a:xfrm>
                <a:custGeom>
                  <a:avLst/>
                  <a:gdLst>
                    <a:gd name="connsiteX0" fmla="*/ 40 w 169109"/>
                    <a:gd name="connsiteY0" fmla="*/ 42862 h 126206"/>
                    <a:gd name="connsiteX1" fmla="*/ 35759 w 169109"/>
                    <a:gd name="connsiteY1" fmla="*/ 45243 h 126206"/>
                    <a:gd name="connsiteX2" fmla="*/ 47665 w 169109"/>
                    <a:gd name="connsiteY2" fmla="*/ 57150 h 126206"/>
                    <a:gd name="connsiteX3" fmla="*/ 54809 w 169109"/>
                    <a:gd name="connsiteY3" fmla="*/ 61912 h 126206"/>
                    <a:gd name="connsiteX4" fmla="*/ 66715 w 169109"/>
                    <a:gd name="connsiteY4" fmla="*/ 76200 h 126206"/>
                    <a:gd name="connsiteX5" fmla="*/ 73859 w 169109"/>
                    <a:gd name="connsiteY5" fmla="*/ 80962 h 126206"/>
                    <a:gd name="connsiteX6" fmla="*/ 85765 w 169109"/>
                    <a:gd name="connsiteY6" fmla="*/ 102393 h 126206"/>
                    <a:gd name="connsiteX7" fmla="*/ 92909 w 169109"/>
                    <a:gd name="connsiteY7" fmla="*/ 107156 h 126206"/>
                    <a:gd name="connsiteX8" fmla="*/ 102434 w 169109"/>
                    <a:gd name="connsiteY8" fmla="*/ 121443 h 126206"/>
                    <a:gd name="connsiteX9" fmla="*/ 116722 w 169109"/>
                    <a:gd name="connsiteY9" fmla="*/ 126206 h 126206"/>
                    <a:gd name="connsiteX10" fmla="*/ 157203 w 169109"/>
                    <a:gd name="connsiteY10" fmla="*/ 123825 h 126206"/>
                    <a:gd name="connsiteX11" fmla="*/ 164347 w 169109"/>
                    <a:gd name="connsiteY11" fmla="*/ 119062 h 126206"/>
                    <a:gd name="connsiteX12" fmla="*/ 169109 w 169109"/>
                    <a:gd name="connsiteY12" fmla="*/ 104775 h 126206"/>
                    <a:gd name="connsiteX13" fmla="*/ 166728 w 169109"/>
                    <a:gd name="connsiteY13" fmla="*/ 92868 h 126206"/>
                    <a:gd name="connsiteX14" fmla="*/ 152440 w 169109"/>
                    <a:gd name="connsiteY14" fmla="*/ 83343 h 126206"/>
                    <a:gd name="connsiteX15" fmla="*/ 138153 w 169109"/>
                    <a:gd name="connsiteY15" fmla="*/ 76200 h 126206"/>
                    <a:gd name="connsiteX16" fmla="*/ 131009 w 169109"/>
                    <a:gd name="connsiteY16" fmla="*/ 71437 h 126206"/>
                    <a:gd name="connsiteX17" fmla="*/ 116722 w 169109"/>
                    <a:gd name="connsiteY17" fmla="*/ 59531 h 126206"/>
                    <a:gd name="connsiteX18" fmla="*/ 111959 w 169109"/>
                    <a:gd name="connsiteY18" fmla="*/ 52387 h 126206"/>
                    <a:gd name="connsiteX19" fmla="*/ 109578 w 169109"/>
                    <a:gd name="connsiteY19" fmla="*/ 45243 h 126206"/>
                    <a:gd name="connsiteX20" fmla="*/ 102434 w 169109"/>
                    <a:gd name="connsiteY20" fmla="*/ 38100 h 126206"/>
                    <a:gd name="connsiteX21" fmla="*/ 97672 w 169109"/>
                    <a:gd name="connsiteY21" fmla="*/ 21431 h 126206"/>
                    <a:gd name="connsiteX22" fmla="*/ 88147 w 169109"/>
                    <a:gd name="connsiteY22" fmla="*/ 7143 h 126206"/>
                    <a:gd name="connsiteX23" fmla="*/ 73859 w 169109"/>
                    <a:gd name="connsiteY23" fmla="*/ 2381 h 126206"/>
                    <a:gd name="connsiteX24" fmla="*/ 66715 w 169109"/>
                    <a:gd name="connsiteY24" fmla="*/ 0 h 126206"/>
                    <a:gd name="connsiteX25" fmla="*/ 42903 w 169109"/>
                    <a:gd name="connsiteY25" fmla="*/ 2381 h 126206"/>
                    <a:gd name="connsiteX26" fmla="*/ 40 w 169109"/>
                    <a:gd name="connsiteY26" fmla="*/ 42862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9109" h="126206">
                      <a:moveTo>
                        <a:pt x="40" y="42862"/>
                      </a:moveTo>
                      <a:cubicBezTo>
                        <a:pt x="-1151" y="50006"/>
                        <a:pt x="23989" y="43281"/>
                        <a:pt x="35759" y="45243"/>
                      </a:cubicBezTo>
                      <a:cubicBezTo>
                        <a:pt x="43380" y="46513"/>
                        <a:pt x="43220" y="52705"/>
                        <a:pt x="47665" y="57150"/>
                      </a:cubicBezTo>
                      <a:cubicBezTo>
                        <a:pt x="49689" y="59174"/>
                        <a:pt x="52428" y="60325"/>
                        <a:pt x="54809" y="61912"/>
                      </a:cubicBezTo>
                      <a:cubicBezTo>
                        <a:pt x="59490" y="68934"/>
                        <a:pt x="59842" y="70473"/>
                        <a:pt x="66715" y="76200"/>
                      </a:cubicBezTo>
                      <a:cubicBezTo>
                        <a:pt x="68914" y="78032"/>
                        <a:pt x="71478" y="79375"/>
                        <a:pt x="73859" y="80962"/>
                      </a:cubicBezTo>
                      <a:cubicBezTo>
                        <a:pt x="76340" y="88407"/>
                        <a:pt x="78746" y="97713"/>
                        <a:pt x="85765" y="102393"/>
                      </a:cubicBezTo>
                      <a:lnTo>
                        <a:pt x="92909" y="107156"/>
                      </a:lnTo>
                      <a:cubicBezTo>
                        <a:pt x="96084" y="111918"/>
                        <a:pt x="97004" y="119633"/>
                        <a:pt x="102434" y="121443"/>
                      </a:cubicBezTo>
                      <a:lnTo>
                        <a:pt x="116722" y="126206"/>
                      </a:lnTo>
                      <a:cubicBezTo>
                        <a:pt x="130216" y="125412"/>
                        <a:pt x="143836" y="125830"/>
                        <a:pt x="157203" y="123825"/>
                      </a:cubicBezTo>
                      <a:cubicBezTo>
                        <a:pt x="160033" y="123400"/>
                        <a:pt x="162830" y="121489"/>
                        <a:pt x="164347" y="119062"/>
                      </a:cubicBezTo>
                      <a:cubicBezTo>
                        <a:pt x="167008" y="114805"/>
                        <a:pt x="169109" y="104775"/>
                        <a:pt x="169109" y="104775"/>
                      </a:cubicBezTo>
                      <a:cubicBezTo>
                        <a:pt x="168315" y="100806"/>
                        <a:pt x="169213" y="96063"/>
                        <a:pt x="166728" y="92868"/>
                      </a:cubicBezTo>
                      <a:cubicBezTo>
                        <a:pt x="163214" y="88350"/>
                        <a:pt x="157203" y="86518"/>
                        <a:pt x="152440" y="83343"/>
                      </a:cubicBezTo>
                      <a:cubicBezTo>
                        <a:pt x="143208" y="77188"/>
                        <a:pt x="148012" y="79486"/>
                        <a:pt x="138153" y="76200"/>
                      </a:cubicBezTo>
                      <a:cubicBezTo>
                        <a:pt x="135772" y="74612"/>
                        <a:pt x="133208" y="73269"/>
                        <a:pt x="131009" y="71437"/>
                      </a:cubicBezTo>
                      <a:cubicBezTo>
                        <a:pt x="112677" y="56160"/>
                        <a:pt x="134455" y="71353"/>
                        <a:pt x="116722" y="59531"/>
                      </a:cubicBezTo>
                      <a:cubicBezTo>
                        <a:pt x="115134" y="57150"/>
                        <a:pt x="113239" y="54947"/>
                        <a:pt x="111959" y="52387"/>
                      </a:cubicBezTo>
                      <a:cubicBezTo>
                        <a:pt x="110836" y="50142"/>
                        <a:pt x="110970" y="47332"/>
                        <a:pt x="109578" y="45243"/>
                      </a:cubicBezTo>
                      <a:cubicBezTo>
                        <a:pt x="107710" y="42441"/>
                        <a:pt x="104815" y="40481"/>
                        <a:pt x="102434" y="38100"/>
                      </a:cubicBezTo>
                      <a:cubicBezTo>
                        <a:pt x="101874" y="35859"/>
                        <a:pt x="99224" y="24225"/>
                        <a:pt x="97672" y="21431"/>
                      </a:cubicBezTo>
                      <a:cubicBezTo>
                        <a:pt x="94892" y="16427"/>
                        <a:pt x="93577" y="8953"/>
                        <a:pt x="88147" y="7143"/>
                      </a:cubicBezTo>
                      <a:lnTo>
                        <a:pt x="73859" y="2381"/>
                      </a:lnTo>
                      <a:lnTo>
                        <a:pt x="66715" y="0"/>
                      </a:lnTo>
                      <a:cubicBezTo>
                        <a:pt x="58778" y="794"/>
                        <a:pt x="50517" y="2"/>
                        <a:pt x="42903" y="2381"/>
                      </a:cubicBezTo>
                      <a:cubicBezTo>
                        <a:pt x="35522" y="4687"/>
                        <a:pt x="1231" y="35718"/>
                        <a:pt x="40" y="4286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1" name="Freeform 320"/>
                <p:cNvSpPr/>
                <p:nvPr/>
              </p:nvSpPr>
              <p:spPr>
                <a:xfrm>
                  <a:off x="2505475" y="2904134"/>
                  <a:ext cx="40481" cy="71449"/>
                </a:xfrm>
                <a:custGeom>
                  <a:avLst/>
                  <a:gdLst>
                    <a:gd name="connsiteX0" fmla="*/ 19050 w 40481"/>
                    <a:gd name="connsiteY0" fmla="*/ 11 h 71449"/>
                    <a:gd name="connsiteX1" fmla="*/ 2381 w 40481"/>
                    <a:gd name="connsiteY1" fmla="*/ 16680 h 71449"/>
                    <a:gd name="connsiteX2" fmla="*/ 0 w 40481"/>
                    <a:gd name="connsiteY2" fmla="*/ 23824 h 71449"/>
                    <a:gd name="connsiteX3" fmla="*/ 7144 w 40481"/>
                    <a:gd name="connsiteY3" fmla="*/ 57161 h 71449"/>
                    <a:gd name="connsiteX4" fmla="*/ 9525 w 40481"/>
                    <a:gd name="connsiteY4" fmla="*/ 64305 h 71449"/>
                    <a:gd name="connsiteX5" fmla="*/ 11906 w 40481"/>
                    <a:gd name="connsiteY5" fmla="*/ 71449 h 71449"/>
                    <a:gd name="connsiteX6" fmla="*/ 33338 w 40481"/>
                    <a:gd name="connsiteY6" fmla="*/ 69068 h 71449"/>
                    <a:gd name="connsiteX7" fmla="*/ 38100 w 40481"/>
                    <a:gd name="connsiteY7" fmla="*/ 61924 h 71449"/>
                    <a:gd name="connsiteX8" fmla="*/ 40481 w 40481"/>
                    <a:gd name="connsiteY8" fmla="*/ 30968 h 71449"/>
                    <a:gd name="connsiteX9" fmla="*/ 38100 w 40481"/>
                    <a:gd name="connsiteY9" fmla="*/ 14299 h 71449"/>
                    <a:gd name="connsiteX10" fmla="*/ 19050 w 40481"/>
                    <a:gd name="connsiteY10" fmla="*/ 11 h 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481" h="71449">
                      <a:moveTo>
                        <a:pt x="19050" y="11"/>
                      </a:moveTo>
                      <a:cubicBezTo>
                        <a:pt x="13097" y="408"/>
                        <a:pt x="6803" y="7835"/>
                        <a:pt x="2381" y="16680"/>
                      </a:cubicBezTo>
                      <a:cubicBezTo>
                        <a:pt x="1258" y="18925"/>
                        <a:pt x="794" y="21443"/>
                        <a:pt x="0" y="23824"/>
                      </a:cubicBezTo>
                      <a:cubicBezTo>
                        <a:pt x="3004" y="47859"/>
                        <a:pt x="357" y="36800"/>
                        <a:pt x="7144" y="57161"/>
                      </a:cubicBezTo>
                      <a:lnTo>
                        <a:pt x="9525" y="64305"/>
                      </a:lnTo>
                      <a:lnTo>
                        <a:pt x="11906" y="71449"/>
                      </a:lnTo>
                      <a:cubicBezTo>
                        <a:pt x="19050" y="70655"/>
                        <a:pt x="26583" y="71524"/>
                        <a:pt x="33338" y="69068"/>
                      </a:cubicBezTo>
                      <a:cubicBezTo>
                        <a:pt x="36028" y="68090"/>
                        <a:pt x="37573" y="64737"/>
                        <a:pt x="38100" y="61924"/>
                      </a:cubicBezTo>
                      <a:cubicBezTo>
                        <a:pt x="40007" y="51752"/>
                        <a:pt x="39687" y="41287"/>
                        <a:pt x="40481" y="30968"/>
                      </a:cubicBezTo>
                      <a:cubicBezTo>
                        <a:pt x="39687" y="25412"/>
                        <a:pt x="41113" y="19034"/>
                        <a:pt x="38100" y="14299"/>
                      </a:cubicBezTo>
                      <a:cubicBezTo>
                        <a:pt x="35027" y="9470"/>
                        <a:pt x="25003" y="-386"/>
                        <a:pt x="19050" y="1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2" name="Freeform 321"/>
                <p:cNvSpPr/>
                <p:nvPr/>
              </p:nvSpPr>
              <p:spPr>
                <a:xfrm>
                  <a:off x="2540886" y="2994633"/>
                  <a:ext cx="39030" cy="66675"/>
                </a:xfrm>
                <a:custGeom>
                  <a:avLst/>
                  <a:gdLst>
                    <a:gd name="connsiteX0" fmla="*/ 2689 w 39030"/>
                    <a:gd name="connsiteY0" fmla="*/ 0 h 66675"/>
                    <a:gd name="connsiteX1" fmla="*/ 2689 w 39030"/>
                    <a:gd name="connsiteY1" fmla="*/ 40481 h 66675"/>
                    <a:gd name="connsiteX2" fmla="*/ 5070 w 39030"/>
                    <a:gd name="connsiteY2" fmla="*/ 61912 h 66675"/>
                    <a:gd name="connsiteX3" fmla="*/ 19358 w 39030"/>
                    <a:gd name="connsiteY3" fmla="*/ 66675 h 66675"/>
                    <a:gd name="connsiteX4" fmla="*/ 33645 w 39030"/>
                    <a:gd name="connsiteY4" fmla="*/ 64294 h 66675"/>
                    <a:gd name="connsiteX5" fmla="*/ 36027 w 39030"/>
                    <a:gd name="connsiteY5" fmla="*/ 30956 h 66675"/>
                    <a:gd name="connsiteX6" fmla="*/ 31264 w 39030"/>
                    <a:gd name="connsiteY6" fmla="*/ 14287 h 66675"/>
                    <a:gd name="connsiteX7" fmla="*/ 21739 w 39030"/>
                    <a:gd name="connsiteY7" fmla="*/ 0 h 66675"/>
                    <a:gd name="connsiteX8" fmla="*/ 2689 w 39030"/>
                    <a:gd name="connsiteY8" fmla="*/ 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30" h="66675">
                      <a:moveTo>
                        <a:pt x="2689" y="0"/>
                      </a:moveTo>
                      <a:cubicBezTo>
                        <a:pt x="-1455" y="20722"/>
                        <a:pt x="-291" y="9188"/>
                        <a:pt x="2689" y="40481"/>
                      </a:cubicBezTo>
                      <a:cubicBezTo>
                        <a:pt x="3370" y="47636"/>
                        <a:pt x="1211" y="55848"/>
                        <a:pt x="5070" y="61912"/>
                      </a:cubicBezTo>
                      <a:cubicBezTo>
                        <a:pt x="7765" y="66147"/>
                        <a:pt x="19358" y="66675"/>
                        <a:pt x="19358" y="66675"/>
                      </a:cubicBezTo>
                      <a:cubicBezTo>
                        <a:pt x="24120" y="65881"/>
                        <a:pt x="29327" y="66453"/>
                        <a:pt x="33645" y="64294"/>
                      </a:cubicBezTo>
                      <a:cubicBezTo>
                        <a:pt x="44097" y="59068"/>
                        <a:pt x="36137" y="31780"/>
                        <a:pt x="36027" y="30956"/>
                      </a:cubicBezTo>
                      <a:cubicBezTo>
                        <a:pt x="35811" y="29337"/>
                        <a:pt x="32551" y="16604"/>
                        <a:pt x="31264" y="14287"/>
                      </a:cubicBezTo>
                      <a:cubicBezTo>
                        <a:pt x="28484" y="9284"/>
                        <a:pt x="27463" y="0"/>
                        <a:pt x="21739" y="0"/>
                      </a:cubicBezTo>
                      <a:lnTo>
                        <a:pt x="2689"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3" name="Freeform 322"/>
                <p:cNvSpPr/>
                <p:nvPr/>
              </p:nvSpPr>
              <p:spPr>
                <a:xfrm>
                  <a:off x="2653080" y="3146265"/>
                  <a:ext cx="74819" cy="65062"/>
                </a:xfrm>
                <a:custGeom>
                  <a:avLst/>
                  <a:gdLst>
                    <a:gd name="connsiteX0" fmla="*/ 35751 w 74819"/>
                    <a:gd name="connsiteY0" fmla="*/ 768 h 65062"/>
                    <a:gd name="connsiteX1" fmla="*/ 23845 w 74819"/>
                    <a:gd name="connsiteY1" fmla="*/ 5530 h 65062"/>
                    <a:gd name="connsiteX2" fmla="*/ 9558 w 74819"/>
                    <a:gd name="connsiteY2" fmla="*/ 15055 h 65062"/>
                    <a:gd name="connsiteX3" fmla="*/ 33 w 74819"/>
                    <a:gd name="connsiteY3" fmla="*/ 29343 h 65062"/>
                    <a:gd name="connsiteX4" fmla="*/ 2414 w 74819"/>
                    <a:gd name="connsiteY4" fmla="*/ 53155 h 65062"/>
                    <a:gd name="connsiteX5" fmla="*/ 16701 w 74819"/>
                    <a:gd name="connsiteY5" fmla="*/ 57918 h 65062"/>
                    <a:gd name="connsiteX6" fmla="*/ 54801 w 74819"/>
                    <a:gd name="connsiteY6" fmla="*/ 62680 h 65062"/>
                    <a:gd name="connsiteX7" fmla="*/ 71470 w 74819"/>
                    <a:gd name="connsiteY7" fmla="*/ 65062 h 65062"/>
                    <a:gd name="connsiteX8" fmla="*/ 71470 w 74819"/>
                    <a:gd name="connsiteY8" fmla="*/ 34105 h 65062"/>
                    <a:gd name="connsiteX9" fmla="*/ 66708 w 74819"/>
                    <a:gd name="connsiteY9" fmla="*/ 26962 h 65062"/>
                    <a:gd name="connsiteX10" fmla="*/ 57183 w 74819"/>
                    <a:gd name="connsiteY10" fmla="*/ 22199 h 65062"/>
                    <a:gd name="connsiteX11" fmla="*/ 35751 w 74819"/>
                    <a:gd name="connsiteY11" fmla="*/ 768 h 6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819" h="65062">
                      <a:moveTo>
                        <a:pt x="35751" y="768"/>
                      </a:moveTo>
                      <a:cubicBezTo>
                        <a:pt x="30195" y="-2010"/>
                        <a:pt x="27597" y="3483"/>
                        <a:pt x="23845" y="5530"/>
                      </a:cubicBezTo>
                      <a:cubicBezTo>
                        <a:pt x="18820" y="8271"/>
                        <a:pt x="9558" y="15055"/>
                        <a:pt x="9558" y="15055"/>
                      </a:cubicBezTo>
                      <a:cubicBezTo>
                        <a:pt x="6383" y="19818"/>
                        <a:pt x="-537" y="23647"/>
                        <a:pt x="33" y="29343"/>
                      </a:cubicBezTo>
                      <a:cubicBezTo>
                        <a:pt x="827" y="37280"/>
                        <a:pt x="-1605" y="46265"/>
                        <a:pt x="2414" y="53155"/>
                      </a:cubicBezTo>
                      <a:cubicBezTo>
                        <a:pt x="4943" y="57491"/>
                        <a:pt x="11939" y="56330"/>
                        <a:pt x="16701" y="57918"/>
                      </a:cubicBezTo>
                      <a:cubicBezTo>
                        <a:pt x="34462" y="63839"/>
                        <a:pt x="18049" y="59004"/>
                        <a:pt x="54801" y="62680"/>
                      </a:cubicBezTo>
                      <a:cubicBezTo>
                        <a:pt x="60386" y="63239"/>
                        <a:pt x="65914" y="64268"/>
                        <a:pt x="71470" y="65062"/>
                      </a:cubicBezTo>
                      <a:cubicBezTo>
                        <a:pt x="75734" y="52269"/>
                        <a:pt x="76134" y="54316"/>
                        <a:pt x="71470" y="34105"/>
                      </a:cubicBezTo>
                      <a:cubicBezTo>
                        <a:pt x="70827" y="31317"/>
                        <a:pt x="68906" y="28794"/>
                        <a:pt x="66708" y="26962"/>
                      </a:cubicBezTo>
                      <a:cubicBezTo>
                        <a:pt x="63981" y="24689"/>
                        <a:pt x="60358" y="23787"/>
                        <a:pt x="57183" y="22199"/>
                      </a:cubicBezTo>
                      <a:cubicBezTo>
                        <a:pt x="51175" y="13187"/>
                        <a:pt x="41307" y="3546"/>
                        <a:pt x="35751" y="76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4" name="Freeform 323"/>
                <p:cNvSpPr/>
                <p:nvPr/>
              </p:nvSpPr>
              <p:spPr>
                <a:xfrm>
                  <a:off x="807361" y="2780266"/>
                  <a:ext cx="220194" cy="223892"/>
                </a:xfrm>
                <a:custGeom>
                  <a:avLst/>
                  <a:gdLst>
                    <a:gd name="connsiteX0" fmla="*/ 21714 w 220194"/>
                    <a:gd name="connsiteY0" fmla="*/ 4817 h 223892"/>
                    <a:gd name="connsiteX1" fmla="*/ 97914 w 220194"/>
                    <a:gd name="connsiteY1" fmla="*/ 7198 h 223892"/>
                    <a:gd name="connsiteX2" fmla="*/ 112202 w 220194"/>
                    <a:gd name="connsiteY2" fmla="*/ 21486 h 223892"/>
                    <a:gd name="connsiteX3" fmla="*/ 119345 w 220194"/>
                    <a:gd name="connsiteY3" fmla="*/ 28629 h 223892"/>
                    <a:gd name="connsiteX4" fmla="*/ 126489 w 220194"/>
                    <a:gd name="connsiteY4" fmla="*/ 35773 h 223892"/>
                    <a:gd name="connsiteX5" fmla="*/ 143158 w 220194"/>
                    <a:gd name="connsiteY5" fmla="*/ 54823 h 223892"/>
                    <a:gd name="connsiteX6" fmla="*/ 159827 w 220194"/>
                    <a:gd name="connsiteY6" fmla="*/ 73873 h 223892"/>
                    <a:gd name="connsiteX7" fmla="*/ 171733 w 220194"/>
                    <a:gd name="connsiteY7" fmla="*/ 85779 h 223892"/>
                    <a:gd name="connsiteX8" fmla="*/ 186020 w 220194"/>
                    <a:gd name="connsiteY8" fmla="*/ 100067 h 223892"/>
                    <a:gd name="connsiteX9" fmla="*/ 190783 w 220194"/>
                    <a:gd name="connsiteY9" fmla="*/ 107211 h 223892"/>
                    <a:gd name="connsiteX10" fmla="*/ 197927 w 220194"/>
                    <a:gd name="connsiteY10" fmla="*/ 109592 h 223892"/>
                    <a:gd name="connsiteX11" fmla="*/ 207452 w 220194"/>
                    <a:gd name="connsiteY11" fmla="*/ 123879 h 223892"/>
                    <a:gd name="connsiteX12" fmla="*/ 214595 w 220194"/>
                    <a:gd name="connsiteY12" fmla="*/ 147692 h 223892"/>
                    <a:gd name="connsiteX13" fmla="*/ 197927 w 220194"/>
                    <a:gd name="connsiteY13" fmla="*/ 223892 h 223892"/>
                    <a:gd name="connsiteX14" fmla="*/ 166970 w 220194"/>
                    <a:gd name="connsiteY14" fmla="*/ 221511 h 223892"/>
                    <a:gd name="connsiteX15" fmla="*/ 157445 w 220194"/>
                    <a:gd name="connsiteY15" fmla="*/ 219129 h 223892"/>
                    <a:gd name="connsiteX16" fmla="*/ 150302 w 220194"/>
                    <a:gd name="connsiteY16" fmla="*/ 204842 h 223892"/>
                    <a:gd name="connsiteX17" fmla="*/ 143158 w 220194"/>
                    <a:gd name="connsiteY17" fmla="*/ 166742 h 223892"/>
                    <a:gd name="connsiteX18" fmla="*/ 136014 w 220194"/>
                    <a:gd name="connsiteY18" fmla="*/ 161979 h 223892"/>
                    <a:gd name="connsiteX19" fmla="*/ 131252 w 220194"/>
                    <a:gd name="connsiteY19" fmla="*/ 154836 h 223892"/>
                    <a:gd name="connsiteX20" fmla="*/ 116964 w 220194"/>
                    <a:gd name="connsiteY20" fmla="*/ 145311 h 223892"/>
                    <a:gd name="connsiteX21" fmla="*/ 107439 w 220194"/>
                    <a:gd name="connsiteY21" fmla="*/ 138167 h 223892"/>
                    <a:gd name="connsiteX22" fmla="*/ 100295 w 220194"/>
                    <a:gd name="connsiteY22" fmla="*/ 135786 h 223892"/>
                    <a:gd name="connsiteX23" fmla="*/ 71720 w 220194"/>
                    <a:gd name="connsiteY23" fmla="*/ 133404 h 223892"/>
                    <a:gd name="connsiteX24" fmla="*/ 57433 w 220194"/>
                    <a:gd name="connsiteY24" fmla="*/ 123879 h 223892"/>
                    <a:gd name="connsiteX25" fmla="*/ 55052 w 220194"/>
                    <a:gd name="connsiteY25" fmla="*/ 116736 h 223892"/>
                    <a:gd name="connsiteX26" fmla="*/ 50289 w 220194"/>
                    <a:gd name="connsiteY26" fmla="*/ 92923 h 223892"/>
                    <a:gd name="connsiteX27" fmla="*/ 45527 w 220194"/>
                    <a:gd name="connsiteY27" fmla="*/ 78636 h 223892"/>
                    <a:gd name="connsiteX28" fmla="*/ 40764 w 220194"/>
                    <a:gd name="connsiteY28" fmla="*/ 71492 h 223892"/>
                    <a:gd name="connsiteX29" fmla="*/ 31239 w 220194"/>
                    <a:gd name="connsiteY29" fmla="*/ 59586 h 223892"/>
                    <a:gd name="connsiteX30" fmla="*/ 21714 w 220194"/>
                    <a:gd name="connsiteY30" fmla="*/ 47679 h 223892"/>
                    <a:gd name="connsiteX31" fmla="*/ 9808 w 220194"/>
                    <a:gd name="connsiteY31" fmla="*/ 35773 h 223892"/>
                    <a:gd name="connsiteX32" fmla="*/ 5045 w 220194"/>
                    <a:gd name="connsiteY32" fmla="*/ 28629 h 223892"/>
                    <a:gd name="connsiteX33" fmla="*/ 2664 w 220194"/>
                    <a:gd name="connsiteY33" fmla="*/ 2436 h 223892"/>
                    <a:gd name="connsiteX34" fmla="*/ 9808 w 220194"/>
                    <a:gd name="connsiteY34" fmla="*/ 54 h 223892"/>
                    <a:gd name="connsiteX35" fmla="*/ 21714 w 220194"/>
                    <a:gd name="connsiteY35" fmla="*/ 4817 h 223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194" h="223892">
                      <a:moveTo>
                        <a:pt x="21714" y="4817"/>
                      </a:moveTo>
                      <a:cubicBezTo>
                        <a:pt x="36398" y="6008"/>
                        <a:pt x="72922" y="2594"/>
                        <a:pt x="97914" y="7198"/>
                      </a:cubicBezTo>
                      <a:cubicBezTo>
                        <a:pt x="104538" y="8418"/>
                        <a:pt x="107439" y="16723"/>
                        <a:pt x="112202" y="21486"/>
                      </a:cubicBezTo>
                      <a:lnTo>
                        <a:pt x="119345" y="28629"/>
                      </a:lnTo>
                      <a:cubicBezTo>
                        <a:pt x="121726" y="31010"/>
                        <a:pt x="124621" y="32971"/>
                        <a:pt x="126489" y="35773"/>
                      </a:cubicBezTo>
                      <a:cubicBezTo>
                        <a:pt x="137601" y="52442"/>
                        <a:pt x="131251" y="46886"/>
                        <a:pt x="143158" y="54823"/>
                      </a:cubicBezTo>
                      <a:cubicBezTo>
                        <a:pt x="154270" y="71492"/>
                        <a:pt x="147920" y="65936"/>
                        <a:pt x="159827" y="73873"/>
                      </a:cubicBezTo>
                      <a:cubicBezTo>
                        <a:pt x="169641" y="88595"/>
                        <a:pt x="158743" y="74233"/>
                        <a:pt x="171733" y="85779"/>
                      </a:cubicBezTo>
                      <a:cubicBezTo>
                        <a:pt x="176767" y="90254"/>
                        <a:pt x="182284" y="94463"/>
                        <a:pt x="186020" y="100067"/>
                      </a:cubicBezTo>
                      <a:cubicBezTo>
                        <a:pt x="187608" y="102448"/>
                        <a:pt x="188548" y="105423"/>
                        <a:pt x="190783" y="107211"/>
                      </a:cubicBezTo>
                      <a:cubicBezTo>
                        <a:pt x="192743" y="108779"/>
                        <a:pt x="195546" y="108798"/>
                        <a:pt x="197927" y="109592"/>
                      </a:cubicBezTo>
                      <a:cubicBezTo>
                        <a:pt x="201102" y="114354"/>
                        <a:pt x="205642" y="118449"/>
                        <a:pt x="207452" y="123879"/>
                      </a:cubicBezTo>
                      <a:cubicBezTo>
                        <a:pt x="213249" y="141272"/>
                        <a:pt x="210997" y="133297"/>
                        <a:pt x="214595" y="147692"/>
                      </a:cubicBezTo>
                      <a:cubicBezTo>
                        <a:pt x="213116" y="193558"/>
                        <a:pt x="236291" y="223892"/>
                        <a:pt x="197927" y="223892"/>
                      </a:cubicBezTo>
                      <a:cubicBezTo>
                        <a:pt x="187578" y="223892"/>
                        <a:pt x="177289" y="222305"/>
                        <a:pt x="166970" y="221511"/>
                      </a:cubicBezTo>
                      <a:cubicBezTo>
                        <a:pt x="163795" y="220717"/>
                        <a:pt x="160168" y="220944"/>
                        <a:pt x="157445" y="219129"/>
                      </a:cubicBezTo>
                      <a:cubicBezTo>
                        <a:pt x="153488" y="216491"/>
                        <a:pt x="151660" y="208917"/>
                        <a:pt x="150302" y="204842"/>
                      </a:cubicBezTo>
                      <a:cubicBezTo>
                        <a:pt x="149284" y="191610"/>
                        <a:pt x="153222" y="176807"/>
                        <a:pt x="143158" y="166742"/>
                      </a:cubicBezTo>
                      <a:cubicBezTo>
                        <a:pt x="141134" y="164718"/>
                        <a:pt x="138395" y="163567"/>
                        <a:pt x="136014" y="161979"/>
                      </a:cubicBezTo>
                      <a:cubicBezTo>
                        <a:pt x="134427" y="159598"/>
                        <a:pt x="133406" y="156720"/>
                        <a:pt x="131252" y="154836"/>
                      </a:cubicBezTo>
                      <a:cubicBezTo>
                        <a:pt x="126944" y="151067"/>
                        <a:pt x="121543" y="148745"/>
                        <a:pt x="116964" y="145311"/>
                      </a:cubicBezTo>
                      <a:cubicBezTo>
                        <a:pt x="113789" y="142930"/>
                        <a:pt x="110885" y="140136"/>
                        <a:pt x="107439" y="138167"/>
                      </a:cubicBezTo>
                      <a:cubicBezTo>
                        <a:pt x="105260" y="136922"/>
                        <a:pt x="102783" y="136118"/>
                        <a:pt x="100295" y="135786"/>
                      </a:cubicBezTo>
                      <a:cubicBezTo>
                        <a:pt x="90821" y="134523"/>
                        <a:pt x="81245" y="134198"/>
                        <a:pt x="71720" y="133404"/>
                      </a:cubicBezTo>
                      <a:cubicBezTo>
                        <a:pt x="66958" y="130229"/>
                        <a:pt x="59243" y="129309"/>
                        <a:pt x="57433" y="123879"/>
                      </a:cubicBezTo>
                      <a:cubicBezTo>
                        <a:pt x="56639" y="121498"/>
                        <a:pt x="55597" y="119186"/>
                        <a:pt x="55052" y="116736"/>
                      </a:cubicBezTo>
                      <a:cubicBezTo>
                        <a:pt x="51375" y="100191"/>
                        <a:pt x="54354" y="106474"/>
                        <a:pt x="50289" y="92923"/>
                      </a:cubicBezTo>
                      <a:cubicBezTo>
                        <a:pt x="48847" y="88115"/>
                        <a:pt x="48312" y="82813"/>
                        <a:pt x="45527" y="78636"/>
                      </a:cubicBezTo>
                      <a:lnTo>
                        <a:pt x="40764" y="71492"/>
                      </a:lnTo>
                      <a:cubicBezTo>
                        <a:pt x="34779" y="53535"/>
                        <a:pt x="43549" y="74973"/>
                        <a:pt x="31239" y="59586"/>
                      </a:cubicBezTo>
                      <a:cubicBezTo>
                        <a:pt x="18091" y="43152"/>
                        <a:pt x="42191" y="61331"/>
                        <a:pt x="21714" y="47679"/>
                      </a:cubicBezTo>
                      <a:cubicBezTo>
                        <a:pt x="9016" y="28633"/>
                        <a:pt x="25682" y="51647"/>
                        <a:pt x="9808" y="35773"/>
                      </a:cubicBezTo>
                      <a:cubicBezTo>
                        <a:pt x="7784" y="33749"/>
                        <a:pt x="6633" y="31010"/>
                        <a:pt x="5045" y="28629"/>
                      </a:cubicBezTo>
                      <a:cubicBezTo>
                        <a:pt x="2250" y="20243"/>
                        <a:pt x="-3319" y="11411"/>
                        <a:pt x="2664" y="2436"/>
                      </a:cubicBezTo>
                      <a:cubicBezTo>
                        <a:pt x="4056" y="347"/>
                        <a:pt x="7308" y="281"/>
                        <a:pt x="9808" y="54"/>
                      </a:cubicBezTo>
                      <a:cubicBezTo>
                        <a:pt x="16132" y="-521"/>
                        <a:pt x="7030" y="3626"/>
                        <a:pt x="21714" y="4817"/>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5" name="Freeform 324"/>
                <p:cNvSpPr/>
                <p:nvPr/>
              </p:nvSpPr>
              <p:spPr>
                <a:xfrm>
                  <a:off x="1871926" y="3342295"/>
                  <a:ext cx="785949" cy="490538"/>
                </a:xfrm>
                <a:custGeom>
                  <a:avLst/>
                  <a:gdLst>
                    <a:gd name="connsiteX0" fmla="*/ 114437 w 785949"/>
                    <a:gd name="connsiteY0" fmla="*/ 47625 h 490538"/>
                    <a:gd name="connsiteX1" fmla="*/ 140630 w 785949"/>
                    <a:gd name="connsiteY1" fmla="*/ 38100 h 490538"/>
                    <a:gd name="connsiteX2" fmla="*/ 150155 w 785949"/>
                    <a:gd name="connsiteY2" fmla="*/ 35719 h 490538"/>
                    <a:gd name="connsiteX3" fmla="*/ 164443 w 785949"/>
                    <a:gd name="connsiteY3" fmla="*/ 30957 h 490538"/>
                    <a:gd name="connsiteX4" fmla="*/ 178730 w 785949"/>
                    <a:gd name="connsiteY4" fmla="*/ 33338 h 490538"/>
                    <a:gd name="connsiteX5" fmla="*/ 193018 w 785949"/>
                    <a:gd name="connsiteY5" fmla="*/ 38100 h 490538"/>
                    <a:gd name="connsiteX6" fmla="*/ 223974 w 785949"/>
                    <a:gd name="connsiteY6" fmla="*/ 40482 h 490538"/>
                    <a:gd name="connsiteX7" fmla="*/ 233499 w 785949"/>
                    <a:gd name="connsiteY7" fmla="*/ 42863 h 490538"/>
                    <a:gd name="connsiteX8" fmla="*/ 247787 w 785949"/>
                    <a:gd name="connsiteY8" fmla="*/ 52388 h 490538"/>
                    <a:gd name="connsiteX9" fmla="*/ 259693 w 785949"/>
                    <a:gd name="connsiteY9" fmla="*/ 61913 h 490538"/>
                    <a:gd name="connsiteX10" fmla="*/ 266837 w 785949"/>
                    <a:gd name="connsiteY10" fmla="*/ 66675 h 490538"/>
                    <a:gd name="connsiteX11" fmla="*/ 281124 w 785949"/>
                    <a:gd name="connsiteY11" fmla="*/ 71438 h 490538"/>
                    <a:gd name="connsiteX12" fmla="*/ 288268 w 785949"/>
                    <a:gd name="connsiteY12" fmla="*/ 73819 h 490538"/>
                    <a:gd name="connsiteX13" fmla="*/ 338274 w 785949"/>
                    <a:gd name="connsiteY13" fmla="*/ 71438 h 490538"/>
                    <a:gd name="connsiteX14" fmla="*/ 340655 w 785949"/>
                    <a:gd name="connsiteY14" fmla="*/ 57150 h 490538"/>
                    <a:gd name="connsiteX15" fmla="*/ 347799 w 785949"/>
                    <a:gd name="connsiteY15" fmla="*/ 52388 h 490538"/>
                    <a:gd name="connsiteX16" fmla="*/ 352562 w 785949"/>
                    <a:gd name="connsiteY16" fmla="*/ 45244 h 490538"/>
                    <a:gd name="connsiteX17" fmla="*/ 359705 w 785949"/>
                    <a:gd name="connsiteY17" fmla="*/ 40482 h 490538"/>
                    <a:gd name="connsiteX18" fmla="*/ 362087 w 785949"/>
                    <a:gd name="connsiteY18" fmla="*/ 28575 h 490538"/>
                    <a:gd name="connsiteX19" fmla="*/ 364468 w 785949"/>
                    <a:gd name="connsiteY19" fmla="*/ 14288 h 490538"/>
                    <a:gd name="connsiteX20" fmla="*/ 385899 w 785949"/>
                    <a:gd name="connsiteY20" fmla="*/ 2382 h 490538"/>
                    <a:gd name="connsiteX21" fmla="*/ 395424 w 785949"/>
                    <a:gd name="connsiteY21" fmla="*/ 0 h 490538"/>
                    <a:gd name="connsiteX22" fmla="*/ 431143 w 785949"/>
                    <a:gd name="connsiteY22" fmla="*/ 4763 h 490538"/>
                    <a:gd name="connsiteX23" fmla="*/ 443049 w 785949"/>
                    <a:gd name="connsiteY23" fmla="*/ 7144 h 490538"/>
                    <a:gd name="connsiteX24" fmla="*/ 457337 w 785949"/>
                    <a:gd name="connsiteY24" fmla="*/ 11907 h 490538"/>
                    <a:gd name="connsiteX25" fmla="*/ 466862 w 785949"/>
                    <a:gd name="connsiteY25" fmla="*/ 14288 h 490538"/>
                    <a:gd name="connsiteX26" fmla="*/ 524012 w 785949"/>
                    <a:gd name="connsiteY26" fmla="*/ 11907 h 490538"/>
                    <a:gd name="connsiteX27" fmla="*/ 531155 w 785949"/>
                    <a:gd name="connsiteY27" fmla="*/ 7144 h 490538"/>
                    <a:gd name="connsiteX28" fmla="*/ 547824 w 785949"/>
                    <a:gd name="connsiteY28" fmla="*/ 2382 h 490538"/>
                    <a:gd name="connsiteX29" fmla="*/ 564493 w 785949"/>
                    <a:gd name="connsiteY29" fmla="*/ 4763 h 490538"/>
                    <a:gd name="connsiteX30" fmla="*/ 569255 w 785949"/>
                    <a:gd name="connsiteY30" fmla="*/ 11907 h 490538"/>
                    <a:gd name="connsiteX31" fmla="*/ 576399 w 785949"/>
                    <a:gd name="connsiteY31" fmla="*/ 19050 h 490538"/>
                    <a:gd name="connsiteX32" fmla="*/ 578780 w 785949"/>
                    <a:gd name="connsiteY32" fmla="*/ 26194 h 490538"/>
                    <a:gd name="connsiteX33" fmla="*/ 593068 w 785949"/>
                    <a:gd name="connsiteY33" fmla="*/ 33338 h 490538"/>
                    <a:gd name="connsiteX34" fmla="*/ 607355 w 785949"/>
                    <a:gd name="connsiteY34" fmla="*/ 42863 h 490538"/>
                    <a:gd name="connsiteX35" fmla="*/ 628787 w 785949"/>
                    <a:gd name="connsiteY35" fmla="*/ 50007 h 490538"/>
                    <a:gd name="connsiteX36" fmla="*/ 635930 w 785949"/>
                    <a:gd name="connsiteY36" fmla="*/ 52388 h 490538"/>
                    <a:gd name="connsiteX37" fmla="*/ 657362 w 785949"/>
                    <a:gd name="connsiteY37" fmla="*/ 54769 h 490538"/>
                    <a:gd name="connsiteX38" fmla="*/ 671649 w 785949"/>
                    <a:gd name="connsiteY38" fmla="*/ 57150 h 490538"/>
                    <a:gd name="connsiteX39" fmla="*/ 690699 w 785949"/>
                    <a:gd name="connsiteY39" fmla="*/ 59532 h 490538"/>
                    <a:gd name="connsiteX40" fmla="*/ 707368 w 785949"/>
                    <a:gd name="connsiteY40" fmla="*/ 61913 h 490538"/>
                    <a:gd name="connsiteX41" fmla="*/ 731180 w 785949"/>
                    <a:gd name="connsiteY41" fmla="*/ 69057 h 490538"/>
                    <a:gd name="connsiteX42" fmla="*/ 738324 w 785949"/>
                    <a:gd name="connsiteY42" fmla="*/ 71438 h 490538"/>
                    <a:gd name="connsiteX43" fmla="*/ 745468 w 785949"/>
                    <a:gd name="connsiteY43" fmla="*/ 73819 h 490538"/>
                    <a:gd name="connsiteX44" fmla="*/ 752612 w 785949"/>
                    <a:gd name="connsiteY44" fmla="*/ 78582 h 490538"/>
                    <a:gd name="connsiteX45" fmla="*/ 757374 w 785949"/>
                    <a:gd name="connsiteY45" fmla="*/ 85725 h 490538"/>
                    <a:gd name="connsiteX46" fmla="*/ 764518 w 785949"/>
                    <a:gd name="connsiteY46" fmla="*/ 92869 h 490538"/>
                    <a:gd name="connsiteX47" fmla="*/ 769280 w 785949"/>
                    <a:gd name="connsiteY47" fmla="*/ 107157 h 490538"/>
                    <a:gd name="connsiteX48" fmla="*/ 774043 w 785949"/>
                    <a:gd name="connsiteY48" fmla="*/ 128588 h 490538"/>
                    <a:gd name="connsiteX49" fmla="*/ 778805 w 785949"/>
                    <a:gd name="connsiteY49" fmla="*/ 161925 h 490538"/>
                    <a:gd name="connsiteX50" fmla="*/ 785949 w 785949"/>
                    <a:gd name="connsiteY50" fmla="*/ 188119 h 490538"/>
                    <a:gd name="connsiteX51" fmla="*/ 783568 w 785949"/>
                    <a:gd name="connsiteY51" fmla="*/ 214313 h 490538"/>
                    <a:gd name="connsiteX52" fmla="*/ 776424 w 785949"/>
                    <a:gd name="connsiteY52" fmla="*/ 216694 h 490538"/>
                    <a:gd name="connsiteX53" fmla="*/ 757374 w 785949"/>
                    <a:gd name="connsiteY53" fmla="*/ 221457 h 490538"/>
                    <a:gd name="connsiteX54" fmla="*/ 743087 w 785949"/>
                    <a:gd name="connsiteY54" fmla="*/ 226219 h 490538"/>
                    <a:gd name="connsiteX55" fmla="*/ 735943 w 785949"/>
                    <a:gd name="connsiteY55" fmla="*/ 230982 h 490538"/>
                    <a:gd name="connsiteX56" fmla="*/ 728799 w 785949"/>
                    <a:gd name="connsiteY56" fmla="*/ 233363 h 490538"/>
                    <a:gd name="connsiteX57" fmla="*/ 676412 w 785949"/>
                    <a:gd name="connsiteY57" fmla="*/ 238125 h 490538"/>
                    <a:gd name="connsiteX58" fmla="*/ 657362 w 785949"/>
                    <a:gd name="connsiteY58" fmla="*/ 240507 h 490538"/>
                    <a:gd name="connsiteX59" fmla="*/ 640693 w 785949"/>
                    <a:gd name="connsiteY59" fmla="*/ 242888 h 490538"/>
                    <a:gd name="connsiteX60" fmla="*/ 619262 w 785949"/>
                    <a:gd name="connsiteY60" fmla="*/ 245269 h 490538"/>
                    <a:gd name="connsiteX61" fmla="*/ 593068 w 785949"/>
                    <a:gd name="connsiteY61" fmla="*/ 250032 h 490538"/>
                    <a:gd name="connsiteX62" fmla="*/ 578780 w 785949"/>
                    <a:gd name="connsiteY62" fmla="*/ 257175 h 490538"/>
                    <a:gd name="connsiteX63" fmla="*/ 571637 w 785949"/>
                    <a:gd name="connsiteY63" fmla="*/ 259557 h 490538"/>
                    <a:gd name="connsiteX64" fmla="*/ 564493 w 785949"/>
                    <a:gd name="connsiteY64" fmla="*/ 264319 h 490538"/>
                    <a:gd name="connsiteX65" fmla="*/ 543062 w 785949"/>
                    <a:gd name="connsiteY65" fmla="*/ 273844 h 490538"/>
                    <a:gd name="connsiteX66" fmla="*/ 538299 w 785949"/>
                    <a:gd name="connsiteY66" fmla="*/ 280988 h 490538"/>
                    <a:gd name="connsiteX67" fmla="*/ 531155 w 785949"/>
                    <a:gd name="connsiteY67" fmla="*/ 288132 h 490538"/>
                    <a:gd name="connsiteX68" fmla="*/ 528774 w 785949"/>
                    <a:gd name="connsiteY68" fmla="*/ 295275 h 490538"/>
                    <a:gd name="connsiteX69" fmla="*/ 526393 w 785949"/>
                    <a:gd name="connsiteY69" fmla="*/ 323850 h 490538"/>
                    <a:gd name="connsiteX70" fmla="*/ 524012 w 785949"/>
                    <a:gd name="connsiteY70" fmla="*/ 333375 h 490538"/>
                    <a:gd name="connsiteX71" fmla="*/ 512105 w 785949"/>
                    <a:gd name="connsiteY71" fmla="*/ 383382 h 490538"/>
                    <a:gd name="connsiteX72" fmla="*/ 452574 w 785949"/>
                    <a:gd name="connsiteY72" fmla="*/ 381000 h 490538"/>
                    <a:gd name="connsiteX73" fmla="*/ 447812 w 785949"/>
                    <a:gd name="connsiteY73" fmla="*/ 366713 h 490538"/>
                    <a:gd name="connsiteX74" fmla="*/ 445430 w 785949"/>
                    <a:gd name="connsiteY74" fmla="*/ 350044 h 490538"/>
                    <a:gd name="connsiteX75" fmla="*/ 435905 w 785949"/>
                    <a:gd name="connsiteY75" fmla="*/ 347663 h 490538"/>
                    <a:gd name="connsiteX76" fmla="*/ 390662 w 785949"/>
                    <a:gd name="connsiteY76" fmla="*/ 350044 h 490538"/>
                    <a:gd name="connsiteX77" fmla="*/ 366849 w 785949"/>
                    <a:gd name="connsiteY77" fmla="*/ 359569 h 490538"/>
                    <a:gd name="connsiteX78" fmla="*/ 362087 w 785949"/>
                    <a:gd name="connsiteY78" fmla="*/ 366713 h 490538"/>
                    <a:gd name="connsiteX79" fmla="*/ 357324 w 785949"/>
                    <a:gd name="connsiteY79" fmla="*/ 381000 h 490538"/>
                    <a:gd name="connsiteX80" fmla="*/ 354943 w 785949"/>
                    <a:gd name="connsiteY80" fmla="*/ 407194 h 490538"/>
                    <a:gd name="connsiteX81" fmla="*/ 350180 w 785949"/>
                    <a:gd name="connsiteY81" fmla="*/ 414338 h 490538"/>
                    <a:gd name="connsiteX82" fmla="*/ 328749 w 785949"/>
                    <a:gd name="connsiteY82" fmla="*/ 426244 h 490538"/>
                    <a:gd name="connsiteX83" fmla="*/ 314462 w 785949"/>
                    <a:gd name="connsiteY83" fmla="*/ 428625 h 490538"/>
                    <a:gd name="connsiteX84" fmla="*/ 276362 w 785949"/>
                    <a:gd name="connsiteY84" fmla="*/ 431007 h 490538"/>
                    <a:gd name="connsiteX85" fmla="*/ 226355 w 785949"/>
                    <a:gd name="connsiteY85" fmla="*/ 447675 h 490538"/>
                    <a:gd name="connsiteX86" fmla="*/ 212068 w 785949"/>
                    <a:gd name="connsiteY86" fmla="*/ 452438 h 490538"/>
                    <a:gd name="connsiteX87" fmla="*/ 204924 w 785949"/>
                    <a:gd name="connsiteY87" fmla="*/ 454819 h 490538"/>
                    <a:gd name="connsiteX88" fmla="*/ 193018 w 785949"/>
                    <a:gd name="connsiteY88" fmla="*/ 466725 h 490538"/>
                    <a:gd name="connsiteX89" fmla="*/ 181112 w 785949"/>
                    <a:gd name="connsiteY89" fmla="*/ 476250 h 490538"/>
                    <a:gd name="connsiteX90" fmla="*/ 173968 w 785949"/>
                    <a:gd name="connsiteY90" fmla="*/ 481013 h 490538"/>
                    <a:gd name="connsiteX91" fmla="*/ 169205 w 785949"/>
                    <a:gd name="connsiteY91" fmla="*/ 488157 h 490538"/>
                    <a:gd name="connsiteX92" fmla="*/ 162062 w 785949"/>
                    <a:gd name="connsiteY92" fmla="*/ 490538 h 490538"/>
                    <a:gd name="connsiteX93" fmla="*/ 154918 w 785949"/>
                    <a:gd name="connsiteY93" fmla="*/ 485775 h 490538"/>
                    <a:gd name="connsiteX94" fmla="*/ 150155 w 785949"/>
                    <a:gd name="connsiteY94" fmla="*/ 478632 h 490538"/>
                    <a:gd name="connsiteX95" fmla="*/ 135868 w 785949"/>
                    <a:gd name="connsiteY95" fmla="*/ 473869 h 490538"/>
                    <a:gd name="connsiteX96" fmla="*/ 126343 w 785949"/>
                    <a:gd name="connsiteY96" fmla="*/ 471488 h 490538"/>
                    <a:gd name="connsiteX97" fmla="*/ 107293 w 785949"/>
                    <a:gd name="connsiteY97" fmla="*/ 466725 h 490538"/>
                    <a:gd name="connsiteX98" fmla="*/ 100149 w 785949"/>
                    <a:gd name="connsiteY98" fmla="*/ 461963 h 490538"/>
                    <a:gd name="connsiteX99" fmla="*/ 85862 w 785949"/>
                    <a:gd name="connsiteY99" fmla="*/ 447675 h 490538"/>
                    <a:gd name="connsiteX100" fmla="*/ 71574 w 785949"/>
                    <a:gd name="connsiteY100" fmla="*/ 438150 h 490538"/>
                    <a:gd name="connsiteX101" fmla="*/ 66812 w 785949"/>
                    <a:gd name="connsiteY101" fmla="*/ 431007 h 490538"/>
                    <a:gd name="connsiteX102" fmla="*/ 59668 w 785949"/>
                    <a:gd name="connsiteY102" fmla="*/ 426244 h 490538"/>
                    <a:gd name="connsiteX103" fmla="*/ 57287 w 785949"/>
                    <a:gd name="connsiteY103" fmla="*/ 409575 h 490538"/>
                    <a:gd name="connsiteX104" fmla="*/ 54905 w 785949"/>
                    <a:gd name="connsiteY104" fmla="*/ 376238 h 490538"/>
                    <a:gd name="connsiteX105" fmla="*/ 47762 w 785949"/>
                    <a:gd name="connsiteY105" fmla="*/ 361950 h 490538"/>
                    <a:gd name="connsiteX106" fmla="*/ 16805 w 785949"/>
                    <a:gd name="connsiteY106" fmla="*/ 359569 h 490538"/>
                    <a:gd name="connsiteX107" fmla="*/ 7280 w 785949"/>
                    <a:gd name="connsiteY107" fmla="*/ 357188 h 490538"/>
                    <a:gd name="connsiteX108" fmla="*/ 137 w 785949"/>
                    <a:gd name="connsiteY108" fmla="*/ 354807 h 490538"/>
                    <a:gd name="connsiteX109" fmla="*/ 4899 w 785949"/>
                    <a:gd name="connsiteY109" fmla="*/ 328613 h 490538"/>
                    <a:gd name="connsiteX110" fmla="*/ 9662 w 785949"/>
                    <a:gd name="connsiteY110" fmla="*/ 321469 h 490538"/>
                    <a:gd name="connsiteX111" fmla="*/ 14424 w 785949"/>
                    <a:gd name="connsiteY111" fmla="*/ 307182 h 490538"/>
                    <a:gd name="connsiteX112" fmla="*/ 16805 w 785949"/>
                    <a:gd name="connsiteY112" fmla="*/ 300038 h 490538"/>
                    <a:gd name="connsiteX113" fmla="*/ 19187 w 785949"/>
                    <a:gd name="connsiteY113" fmla="*/ 290513 h 490538"/>
                    <a:gd name="connsiteX114" fmla="*/ 23949 w 785949"/>
                    <a:gd name="connsiteY114" fmla="*/ 276225 h 490538"/>
                    <a:gd name="connsiteX115" fmla="*/ 23949 w 785949"/>
                    <a:gd name="connsiteY115" fmla="*/ 202407 h 490538"/>
                    <a:gd name="connsiteX116" fmla="*/ 28712 w 785949"/>
                    <a:gd name="connsiteY116" fmla="*/ 188119 h 490538"/>
                    <a:gd name="connsiteX117" fmla="*/ 42999 w 785949"/>
                    <a:gd name="connsiteY117" fmla="*/ 173832 h 490538"/>
                    <a:gd name="connsiteX118" fmla="*/ 57287 w 785949"/>
                    <a:gd name="connsiteY118" fmla="*/ 169069 h 490538"/>
                    <a:gd name="connsiteX119" fmla="*/ 64430 w 785949"/>
                    <a:gd name="connsiteY119" fmla="*/ 166688 h 490538"/>
                    <a:gd name="connsiteX120" fmla="*/ 69193 w 785949"/>
                    <a:gd name="connsiteY120" fmla="*/ 159544 h 490538"/>
                    <a:gd name="connsiteX121" fmla="*/ 83480 w 785949"/>
                    <a:gd name="connsiteY121" fmla="*/ 145257 h 490538"/>
                    <a:gd name="connsiteX122" fmla="*/ 88243 w 785949"/>
                    <a:gd name="connsiteY122" fmla="*/ 130969 h 490538"/>
                    <a:gd name="connsiteX123" fmla="*/ 93005 w 785949"/>
                    <a:gd name="connsiteY123" fmla="*/ 123825 h 490538"/>
                    <a:gd name="connsiteX124" fmla="*/ 95387 w 785949"/>
                    <a:gd name="connsiteY124" fmla="*/ 116682 h 490538"/>
                    <a:gd name="connsiteX125" fmla="*/ 104912 w 785949"/>
                    <a:gd name="connsiteY125" fmla="*/ 102394 h 490538"/>
                    <a:gd name="connsiteX126" fmla="*/ 107293 w 785949"/>
                    <a:gd name="connsiteY126" fmla="*/ 95250 h 490538"/>
                    <a:gd name="connsiteX127" fmla="*/ 119199 w 785949"/>
                    <a:gd name="connsiteY127" fmla="*/ 80963 h 490538"/>
                    <a:gd name="connsiteX128" fmla="*/ 114437 w 785949"/>
                    <a:gd name="connsiteY128" fmla="*/ 47625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785949" h="490538">
                      <a:moveTo>
                        <a:pt x="114437" y="47625"/>
                      </a:moveTo>
                      <a:cubicBezTo>
                        <a:pt x="118009" y="40481"/>
                        <a:pt x="132487" y="40135"/>
                        <a:pt x="140630" y="38100"/>
                      </a:cubicBezTo>
                      <a:cubicBezTo>
                        <a:pt x="143805" y="37306"/>
                        <a:pt x="147020" y="36659"/>
                        <a:pt x="150155" y="35719"/>
                      </a:cubicBezTo>
                      <a:cubicBezTo>
                        <a:pt x="154964" y="34277"/>
                        <a:pt x="164443" y="30957"/>
                        <a:pt x="164443" y="30957"/>
                      </a:cubicBezTo>
                      <a:cubicBezTo>
                        <a:pt x="169205" y="31751"/>
                        <a:pt x="174046" y="32167"/>
                        <a:pt x="178730" y="33338"/>
                      </a:cubicBezTo>
                      <a:cubicBezTo>
                        <a:pt x="183600" y="34555"/>
                        <a:pt x="188013" y="37715"/>
                        <a:pt x="193018" y="38100"/>
                      </a:cubicBezTo>
                      <a:lnTo>
                        <a:pt x="223974" y="40482"/>
                      </a:lnTo>
                      <a:cubicBezTo>
                        <a:pt x="227149" y="41276"/>
                        <a:pt x="230572" y="41399"/>
                        <a:pt x="233499" y="42863"/>
                      </a:cubicBezTo>
                      <a:cubicBezTo>
                        <a:pt x="238619" y="45423"/>
                        <a:pt x="247787" y="52388"/>
                        <a:pt x="247787" y="52388"/>
                      </a:cubicBezTo>
                      <a:cubicBezTo>
                        <a:pt x="255814" y="64430"/>
                        <a:pt x="248191" y="56163"/>
                        <a:pt x="259693" y="61913"/>
                      </a:cubicBezTo>
                      <a:cubicBezTo>
                        <a:pt x="262253" y="63193"/>
                        <a:pt x="264222" y="65513"/>
                        <a:pt x="266837" y="66675"/>
                      </a:cubicBezTo>
                      <a:cubicBezTo>
                        <a:pt x="271424" y="68714"/>
                        <a:pt x="276362" y="69850"/>
                        <a:pt x="281124" y="71438"/>
                      </a:cubicBezTo>
                      <a:lnTo>
                        <a:pt x="288268" y="73819"/>
                      </a:lnTo>
                      <a:cubicBezTo>
                        <a:pt x="304937" y="73025"/>
                        <a:pt x="322372" y="76498"/>
                        <a:pt x="338274" y="71438"/>
                      </a:cubicBezTo>
                      <a:cubicBezTo>
                        <a:pt x="342875" y="69974"/>
                        <a:pt x="338496" y="61469"/>
                        <a:pt x="340655" y="57150"/>
                      </a:cubicBezTo>
                      <a:cubicBezTo>
                        <a:pt x="341935" y="54590"/>
                        <a:pt x="345418" y="53975"/>
                        <a:pt x="347799" y="52388"/>
                      </a:cubicBezTo>
                      <a:cubicBezTo>
                        <a:pt x="349387" y="50007"/>
                        <a:pt x="350538" y="47268"/>
                        <a:pt x="352562" y="45244"/>
                      </a:cubicBezTo>
                      <a:cubicBezTo>
                        <a:pt x="354585" y="43221"/>
                        <a:pt x="358285" y="42967"/>
                        <a:pt x="359705" y="40482"/>
                      </a:cubicBezTo>
                      <a:cubicBezTo>
                        <a:pt x="361713" y="36968"/>
                        <a:pt x="361363" y="32557"/>
                        <a:pt x="362087" y="28575"/>
                      </a:cubicBezTo>
                      <a:cubicBezTo>
                        <a:pt x="362951" y="23825"/>
                        <a:pt x="361699" y="18243"/>
                        <a:pt x="364468" y="14288"/>
                      </a:cubicBezTo>
                      <a:cubicBezTo>
                        <a:pt x="368734" y="8194"/>
                        <a:pt x="378636" y="4457"/>
                        <a:pt x="385899" y="2382"/>
                      </a:cubicBezTo>
                      <a:cubicBezTo>
                        <a:pt x="389046" y="1483"/>
                        <a:pt x="392249" y="794"/>
                        <a:pt x="395424" y="0"/>
                      </a:cubicBezTo>
                      <a:cubicBezTo>
                        <a:pt x="405035" y="1202"/>
                        <a:pt x="421302" y="3123"/>
                        <a:pt x="431143" y="4763"/>
                      </a:cubicBezTo>
                      <a:cubicBezTo>
                        <a:pt x="435135" y="5428"/>
                        <a:pt x="439144" y="6079"/>
                        <a:pt x="443049" y="7144"/>
                      </a:cubicBezTo>
                      <a:cubicBezTo>
                        <a:pt x="447892" y="8465"/>
                        <a:pt x="452467" y="10690"/>
                        <a:pt x="457337" y="11907"/>
                      </a:cubicBezTo>
                      <a:lnTo>
                        <a:pt x="466862" y="14288"/>
                      </a:lnTo>
                      <a:cubicBezTo>
                        <a:pt x="485912" y="13494"/>
                        <a:pt x="505062" y="14013"/>
                        <a:pt x="524012" y="11907"/>
                      </a:cubicBezTo>
                      <a:cubicBezTo>
                        <a:pt x="526856" y="11591"/>
                        <a:pt x="528595" y="8424"/>
                        <a:pt x="531155" y="7144"/>
                      </a:cubicBezTo>
                      <a:cubicBezTo>
                        <a:pt x="534570" y="5437"/>
                        <a:pt x="544774" y="3144"/>
                        <a:pt x="547824" y="2382"/>
                      </a:cubicBezTo>
                      <a:cubicBezTo>
                        <a:pt x="553380" y="3176"/>
                        <a:pt x="559364" y="2483"/>
                        <a:pt x="564493" y="4763"/>
                      </a:cubicBezTo>
                      <a:cubicBezTo>
                        <a:pt x="567108" y="5925"/>
                        <a:pt x="567423" y="9708"/>
                        <a:pt x="569255" y="11907"/>
                      </a:cubicBezTo>
                      <a:cubicBezTo>
                        <a:pt x="571411" y="14494"/>
                        <a:pt x="574018" y="16669"/>
                        <a:pt x="576399" y="19050"/>
                      </a:cubicBezTo>
                      <a:cubicBezTo>
                        <a:pt x="577193" y="21431"/>
                        <a:pt x="577212" y="24234"/>
                        <a:pt x="578780" y="26194"/>
                      </a:cubicBezTo>
                      <a:cubicBezTo>
                        <a:pt x="583855" y="32538"/>
                        <a:pt x="586855" y="29886"/>
                        <a:pt x="593068" y="33338"/>
                      </a:cubicBezTo>
                      <a:cubicBezTo>
                        <a:pt x="598071" y="36118"/>
                        <a:pt x="601925" y="41053"/>
                        <a:pt x="607355" y="42863"/>
                      </a:cubicBezTo>
                      <a:lnTo>
                        <a:pt x="628787" y="50007"/>
                      </a:lnTo>
                      <a:cubicBezTo>
                        <a:pt x="631168" y="50801"/>
                        <a:pt x="633436" y="52111"/>
                        <a:pt x="635930" y="52388"/>
                      </a:cubicBezTo>
                      <a:cubicBezTo>
                        <a:pt x="643074" y="53182"/>
                        <a:pt x="650237" y="53819"/>
                        <a:pt x="657362" y="54769"/>
                      </a:cubicBezTo>
                      <a:cubicBezTo>
                        <a:pt x="662148" y="55407"/>
                        <a:pt x="666870" y="56467"/>
                        <a:pt x="671649" y="57150"/>
                      </a:cubicBezTo>
                      <a:cubicBezTo>
                        <a:pt x="677984" y="58055"/>
                        <a:pt x="684356" y="58686"/>
                        <a:pt x="690699" y="59532"/>
                      </a:cubicBezTo>
                      <a:cubicBezTo>
                        <a:pt x="696262" y="60274"/>
                        <a:pt x="701846" y="60909"/>
                        <a:pt x="707368" y="61913"/>
                      </a:cubicBezTo>
                      <a:cubicBezTo>
                        <a:pt x="715290" y="63353"/>
                        <a:pt x="723718" y="66570"/>
                        <a:pt x="731180" y="69057"/>
                      </a:cubicBezTo>
                      <a:lnTo>
                        <a:pt x="738324" y="71438"/>
                      </a:lnTo>
                      <a:lnTo>
                        <a:pt x="745468" y="73819"/>
                      </a:lnTo>
                      <a:cubicBezTo>
                        <a:pt x="747849" y="75407"/>
                        <a:pt x="750588" y="76558"/>
                        <a:pt x="752612" y="78582"/>
                      </a:cubicBezTo>
                      <a:cubicBezTo>
                        <a:pt x="754635" y="80605"/>
                        <a:pt x="755542" y="83527"/>
                        <a:pt x="757374" y="85725"/>
                      </a:cubicBezTo>
                      <a:cubicBezTo>
                        <a:pt x="759530" y="88312"/>
                        <a:pt x="762137" y="90488"/>
                        <a:pt x="764518" y="92869"/>
                      </a:cubicBezTo>
                      <a:cubicBezTo>
                        <a:pt x="766105" y="97632"/>
                        <a:pt x="768062" y="102287"/>
                        <a:pt x="769280" y="107157"/>
                      </a:cubicBezTo>
                      <a:cubicBezTo>
                        <a:pt x="771248" y="115027"/>
                        <a:pt x="772746" y="120375"/>
                        <a:pt x="774043" y="128588"/>
                      </a:cubicBezTo>
                      <a:cubicBezTo>
                        <a:pt x="775794" y="139676"/>
                        <a:pt x="776082" y="151035"/>
                        <a:pt x="778805" y="161925"/>
                      </a:cubicBezTo>
                      <a:cubicBezTo>
                        <a:pt x="784177" y="183410"/>
                        <a:pt x="781498" y="174765"/>
                        <a:pt x="785949" y="188119"/>
                      </a:cubicBezTo>
                      <a:cubicBezTo>
                        <a:pt x="785155" y="196850"/>
                        <a:pt x="786340" y="205996"/>
                        <a:pt x="783568" y="214313"/>
                      </a:cubicBezTo>
                      <a:cubicBezTo>
                        <a:pt x="782774" y="216694"/>
                        <a:pt x="778846" y="216034"/>
                        <a:pt x="776424" y="216694"/>
                      </a:cubicBezTo>
                      <a:cubicBezTo>
                        <a:pt x="770109" y="218416"/>
                        <a:pt x="763584" y="219387"/>
                        <a:pt x="757374" y="221457"/>
                      </a:cubicBezTo>
                      <a:lnTo>
                        <a:pt x="743087" y="226219"/>
                      </a:lnTo>
                      <a:cubicBezTo>
                        <a:pt x="740706" y="227807"/>
                        <a:pt x="738503" y="229702"/>
                        <a:pt x="735943" y="230982"/>
                      </a:cubicBezTo>
                      <a:cubicBezTo>
                        <a:pt x="733698" y="232105"/>
                        <a:pt x="731213" y="232673"/>
                        <a:pt x="728799" y="233363"/>
                      </a:cubicBezTo>
                      <a:cubicBezTo>
                        <a:pt x="709024" y="239012"/>
                        <a:pt x="706662" y="236445"/>
                        <a:pt x="676412" y="238125"/>
                      </a:cubicBezTo>
                      <a:lnTo>
                        <a:pt x="657362" y="240507"/>
                      </a:lnTo>
                      <a:lnTo>
                        <a:pt x="640693" y="242888"/>
                      </a:lnTo>
                      <a:cubicBezTo>
                        <a:pt x="633561" y="243779"/>
                        <a:pt x="626387" y="244319"/>
                        <a:pt x="619262" y="245269"/>
                      </a:cubicBezTo>
                      <a:cubicBezTo>
                        <a:pt x="614699" y="245877"/>
                        <a:pt x="598210" y="248746"/>
                        <a:pt x="593068" y="250032"/>
                      </a:cubicBezTo>
                      <a:cubicBezTo>
                        <a:pt x="581098" y="253025"/>
                        <a:pt x="590419" y="251355"/>
                        <a:pt x="578780" y="257175"/>
                      </a:cubicBezTo>
                      <a:cubicBezTo>
                        <a:pt x="576535" y="258298"/>
                        <a:pt x="573882" y="258434"/>
                        <a:pt x="571637" y="259557"/>
                      </a:cubicBezTo>
                      <a:cubicBezTo>
                        <a:pt x="569077" y="260837"/>
                        <a:pt x="567108" y="263157"/>
                        <a:pt x="564493" y="264319"/>
                      </a:cubicBezTo>
                      <a:cubicBezTo>
                        <a:pt x="538992" y="275652"/>
                        <a:pt x="559226" y="263068"/>
                        <a:pt x="543062" y="273844"/>
                      </a:cubicBezTo>
                      <a:cubicBezTo>
                        <a:pt x="541474" y="276225"/>
                        <a:pt x="540131" y="278789"/>
                        <a:pt x="538299" y="280988"/>
                      </a:cubicBezTo>
                      <a:cubicBezTo>
                        <a:pt x="536143" y="283575"/>
                        <a:pt x="533023" y="285330"/>
                        <a:pt x="531155" y="288132"/>
                      </a:cubicBezTo>
                      <a:cubicBezTo>
                        <a:pt x="529763" y="290220"/>
                        <a:pt x="529568" y="292894"/>
                        <a:pt x="528774" y="295275"/>
                      </a:cubicBezTo>
                      <a:cubicBezTo>
                        <a:pt x="527980" y="304800"/>
                        <a:pt x="527578" y="314366"/>
                        <a:pt x="526393" y="323850"/>
                      </a:cubicBezTo>
                      <a:cubicBezTo>
                        <a:pt x="525987" y="327097"/>
                        <a:pt x="524418" y="330128"/>
                        <a:pt x="524012" y="333375"/>
                      </a:cubicBezTo>
                      <a:cubicBezTo>
                        <a:pt x="517692" y="383934"/>
                        <a:pt x="534590" y="375885"/>
                        <a:pt x="512105" y="383382"/>
                      </a:cubicBezTo>
                      <a:cubicBezTo>
                        <a:pt x="492261" y="382588"/>
                        <a:pt x="471798" y="385984"/>
                        <a:pt x="452574" y="381000"/>
                      </a:cubicBezTo>
                      <a:cubicBezTo>
                        <a:pt x="447715" y="379740"/>
                        <a:pt x="447812" y="366713"/>
                        <a:pt x="447812" y="366713"/>
                      </a:cubicBezTo>
                      <a:cubicBezTo>
                        <a:pt x="447018" y="361157"/>
                        <a:pt x="448405" y="354804"/>
                        <a:pt x="445430" y="350044"/>
                      </a:cubicBezTo>
                      <a:cubicBezTo>
                        <a:pt x="443695" y="347269"/>
                        <a:pt x="439178" y="347663"/>
                        <a:pt x="435905" y="347663"/>
                      </a:cubicBezTo>
                      <a:cubicBezTo>
                        <a:pt x="420803" y="347663"/>
                        <a:pt x="405743" y="349250"/>
                        <a:pt x="390662" y="350044"/>
                      </a:cubicBezTo>
                      <a:cubicBezTo>
                        <a:pt x="374164" y="352401"/>
                        <a:pt x="375859" y="348757"/>
                        <a:pt x="366849" y="359569"/>
                      </a:cubicBezTo>
                      <a:cubicBezTo>
                        <a:pt x="365017" y="361768"/>
                        <a:pt x="363249" y="364098"/>
                        <a:pt x="362087" y="366713"/>
                      </a:cubicBezTo>
                      <a:cubicBezTo>
                        <a:pt x="360048" y="371300"/>
                        <a:pt x="357324" y="381000"/>
                        <a:pt x="357324" y="381000"/>
                      </a:cubicBezTo>
                      <a:cubicBezTo>
                        <a:pt x="356530" y="389731"/>
                        <a:pt x="356780" y="398621"/>
                        <a:pt x="354943" y="407194"/>
                      </a:cubicBezTo>
                      <a:cubicBezTo>
                        <a:pt x="354343" y="409993"/>
                        <a:pt x="352334" y="412453"/>
                        <a:pt x="350180" y="414338"/>
                      </a:cubicBezTo>
                      <a:cubicBezTo>
                        <a:pt x="343909" y="419825"/>
                        <a:pt x="336892" y="424435"/>
                        <a:pt x="328749" y="426244"/>
                      </a:cubicBezTo>
                      <a:cubicBezTo>
                        <a:pt x="324036" y="427291"/>
                        <a:pt x="319270" y="428188"/>
                        <a:pt x="314462" y="428625"/>
                      </a:cubicBezTo>
                      <a:cubicBezTo>
                        <a:pt x="301789" y="429777"/>
                        <a:pt x="289062" y="430213"/>
                        <a:pt x="276362" y="431007"/>
                      </a:cubicBezTo>
                      <a:lnTo>
                        <a:pt x="226355" y="447675"/>
                      </a:lnTo>
                      <a:lnTo>
                        <a:pt x="212068" y="452438"/>
                      </a:lnTo>
                      <a:lnTo>
                        <a:pt x="204924" y="454819"/>
                      </a:lnTo>
                      <a:cubicBezTo>
                        <a:pt x="192228" y="473866"/>
                        <a:pt x="208890" y="450854"/>
                        <a:pt x="193018" y="466725"/>
                      </a:cubicBezTo>
                      <a:cubicBezTo>
                        <a:pt x="182246" y="477496"/>
                        <a:pt x="195019" y="471614"/>
                        <a:pt x="181112" y="476250"/>
                      </a:cubicBezTo>
                      <a:cubicBezTo>
                        <a:pt x="178731" y="477838"/>
                        <a:pt x="175992" y="478989"/>
                        <a:pt x="173968" y="481013"/>
                      </a:cubicBezTo>
                      <a:cubicBezTo>
                        <a:pt x="171944" y="483037"/>
                        <a:pt x="171440" y="486369"/>
                        <a:pt x="169205" y="488157"/>
                      </a:cubicBezTo>
                      <a:cubicBezTo>
                        <a:pt x="167245" y="489725"/>
                        <a:pt x="164443" y="489744"/>
                        <a:pt x="162062" y="490538"/>
                      </a:cubicBezTo>
                      <a:cubicBezTo>
                        <a:pt x="159681" y="488950"/>
                        <a:pt x="156942" y="487799"/>
                        <a:pt x="154918" y="485775"/>
                      </a:cubicBezTo>
                      <a:cubicBezTo>
                        <a:pt x="152894" y="483751"/>
                        <a:pt x="152582" y="480149"/>
                        <a:pt x="150155" y="478632"/>
                      </a:cubicBezTo>
                      <a:cubicBezTo>
                        <a:pt x="145898" y="475971"/>
                        <a:pt x="140738" y="475086"/>
                        <a:pt x="135868" y="473869"/>
                      </a:cubicBezTo>
                      <a:cubicBezTo>
                        <a:pt x="132693" y="473075"/>
                        <a:pt x="129538" y="472198"/>
                        <a:pt x="126343" y="471488"/>
                      </a:cubicBezTo>
                      <a:cubicBezTo>
                        <a:pt x="121445" y="470400"/>
                        <a:pt x="112403" y="469280"/>
                        <a:pt x="107293" y="466725"/>
                      </a:cubicBezTo>
                      <a:cubicBezTo>
                        <a:pt x="104733" y="465445"/>
                        <a:pt x="102288" y="463864"/>
                        <a:pt x="100149" y="461963"/>
                      </a:cubicBezTo>
                      <a:cubicBezTo>
                        <a:pt x="95115" y="457488"/>
                        <a:pt x="91466" y="451411"/>
                        <a:pt x="85862" y="447675"/>
                      </a:cubicBezTo>
                      <a:lnTo>
                        <a:pt x="71574" y="438150"/>
                      </a:lnTo>
                      <a:cubicBezTo>
                        <a:pt x="69987" y="435769"/>
                        <a:pt x="68835" y="433030"/>
                        <a:pt x="66812" y="431007"/>
                      </a:cubicBezTo>
                      <a:cubicBezTo>
                        <a:pt x="64788" y="428983"/>
                        <a:pt x="60830" y="428859"/>
                        <a:pt x="59668" y="426244"/>
                      </a:cubicBezTo>
                      <a:cubicBezTo>
                        <a:pt x="57389" y="421115"/>
                        <a:pt x="57819" y="415162"/>
                        <a:pt x="57287" y="409575"/>
                      </a:cubicBezTo>
                      <a:cubicBezTo>
                        <a:pt x="56231" y="398485"/>
                        <a:pt x="56207" y="387302"/>
                        <a:pt x="54905" y="376238"/>
                      </a:cubicBezTo>
                      <a:cubicBezTo>
                        <a:pt x="54623" y="373838"/>
                        <a:pt x="50492" y="362678"/>
                        <a:pt x="47762" y="361950"/>
                      </a:cubicBezTo>
                      <a:cubicBezTo>
                        <a:pt x="37762" y="359283"/>
                        <a:pt x="27124" y="360363"/>
                        <a:pt x="16805" y="359569"/>
                      </a:cubicBezTo>
                      <a:cubicBezTo>
                        <a:pt x="13630" y="358775"/>
                        <a:pt x="10427" y="358087"/>
                        <a:pt x="7280" y="357188"/>
                      </a:cubicBezTo>
                      <a:cubicBezTo>
                        <a:pt x="4867" y="356499"/>
                        <a:pt x="681" y="357257"/>
                        <a:pt x="137" y="354807"/>
                      </a:cubicBezTo>
                      <a:cubicBezTo>
                        <a:pt x="-620" y="351399"/>
                        <a:pt x="1848" y="334716"/>
                        <a:pt x="4899" y="328613"/>
                      </a:cubicBezTo>
                      <a:cubicBezTo>
                        <a:pt x="6179" y="326053"/>
                        <a:pt x="8074" y="323850"/>
                        <a:pt x="9662" y="321469"/>
                      </a:cubicBezTo>
                      <a:lnTo>
                        <a:pt x="14424" y="307182"/>
                      </a:lnTo>
                      <a:cubicBezTo>
                        <a:pt x="15218" y="304801"/>
                        <a:pt x="16196" y="302473"/>
                        <a:pt x="16805" y="300038"/>
                      </a:cubicBezTo>
                      <a:cubicBezTo>
                        <a:pt x="17599" y="296863"/>
                        <a:pt x="18247" y="293648"/>
                        <a:pt x="19187" y="290513"/>
                      </a:cubicBezTo>
                      <a:cubicBezTo>
                        <a:pt x="20630" y="285705"/>
                        <a:pt x="23949" y="276225"/>
                        <a:pt x="23949" y="276225"/>
                      </a:cubicBezTo>
                      <a:cubicBezTo>
                        <a:pt x="22021" y="245374"/>
                        <a:pt x="19599" y="232856"/>
                        <a:pt x="23949" y="202407"/>
                      </a:cubicBezTo>
                      <a:cubicBezTo>
                        <a:pt x="24659" y="197437"/>
                        <a:pt x="25162" y="191669"/>
                        <a:pt x="28712" y="188119"/>
                      </a:cubicBezTo>
                      <a:cubicBezTo>
                        <a:pt x="33474" y="183357"/>
                        <a:pt x="36610" y="175962"/>
                        <a:pt x="42999" y="173832"/>
                      </a:cubicBezTo>
                      <a:lnTo>
                        <a:pt x="57287" y="169069"/>
                      </a:lnTo>
                      <a:lnTo>
                        <a:pt x="64430" y="166688"/>
                      </a:lnTo>
                      <a:cubicBezTo>
                        <a:pt x="66018" y="164307"/>
                        <a:pt x="67292" y="161683"/>
                        <a:pt x="69193" y="159544"/>
                      </a:cubicBezTo>
                      <a:cubicBezTo>
                        <a:pt x="73667" y="154510"/>
                        <a:pt x="83480" y="145257"/>
                        <a:pt x="83480" y="145257"/>
                      </a:cubicBezTo>
                      <a:cubicBezTo>
                        <a:pt x="85068" y="140494"/>
                        <a:pt x="85458" y="135146"/>
                        <a:pt x="88243" y="130969"/>
                      </a:cubicBezTo>
                      <a:cubicBezTo>
                        <a:pt x="89830" y="128588"/>
                        <a:pt x="91725" y="126385"/>
                        <a:pt x="93005" y="123825"/>
                      </a:cubicBezTo>
                      <a:cubicBezTo>
                        <a:pt x="94128" y="121580"/>
                        <a:pt x="94168" y="118876"/>
                        <a:pt x="95387" y="116682"/>
                      </a:cubicBezTo>
                      <a:cubicBezTo>
                        <a:pt x="98167" y="111678"/>
                        <a:pt x="104912" y="102394"/>
                        <a:pt x="104912" y="102394"/>
                      </a:cubicBezTo>
                      <a:cubicBezTo>
                        <a:pt x="105706" y="100013"/>
                        <a:pt x="105901" y="97339"/>
                        <a:pt x="107293" y="95250"/>
                      </a:cubicBezTo>
                      <a:cubicBezTo>
                        <a:pt x="110494" y="90448"/>
                        <a:pt x="117640" y="87199"/>
                        <a:pt x="119199" y="80963"/>
                      </a:cubicBezTo>
                      <a:cubicBezTo>
                        <a:pt x="120161" y="77113"/>
                        <a:pt x="110865" y="54769"/>
                        <a:pt x="114437" y="476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6" name="Freeform 325"/>
                <p:cNvSpPr/>
                <p:nvPr/>
              </p:nvSpPr>
              <p:spPr>
                <a:xfrm>
                  <a:off x="1771788" y="3701864"/>
                  <a:ext cx="703122" cy="711994"/>
                </a:xfrm>
                <a:custGeom>
                  <a:avLst/>
                  <a:gdLst>
                    <a:gd name="connsiteX0" fmla="*/ 262 w 703122"/>
                    <a:gd name="connsiteY0" fmla="*/ 54769 h 711994"/>
                    <a:gd name="connsiteX1" fmla="*/ 19312 w 703122"/>
                    <a:gd name="connsiteY1" fmla="*/ 50006 h 711994"/>
                    <a:gd name="connsiteX2" fmla="*/ 33600 w 703122"/>
                    <a:gd name="connsiteY2" fmla="*/ 40481 h 711994"/>
                    <a:gd name="connsiteX3" fmla="*/ 40743 w 703122"/>
                    <a:gd name="connsiteY3" fmla="*/ 35719 h 711994"/>
                    <a:gd name="connsiteX4" fmla="*/ 55031 w 703122"/>
                    <a:gd name="connsiteY4" fmla="*/ 21431 h 711994"/>
                    <a:gd name="connsiteX5" fmla="*/ 69318 w 703122"/>
                    <a:gd name="connsiteY5" fmla="*/ 19050 h 711994"/>
                    <a:gd name="connsiteX6" fmla="*/ 76462 w 703122"/>
                    <a:gd name="connsiteY6" fmla="*/ 16669 h 711994"/>
                    <a:gd name="connsiteX7" fmla="*/ 90750 w 703122"/>
                    <a:gd name="connsiteY7" fmla="*/ 14288 h 711994"/>
                    <a:gd name="connsiteX8" fmla="*/ 97893 w 703122"/>
                    <a:gd name="connsiteY8" fmla="*/ 11906 h 711994"/>
                    <a:gd name="connsiteX9" fmla="*/ 102656 w 703122"/>
                    <a:gd name="connsiteY9" fmla="*/ 4763 h 711994"/>
                    <a:gd name="connsiteX10" fmla="*/ 109800 w 703122"/>
                    <a:gd name="connsiteY10" fmla="*/ 0 h 711994"/>
                    <a:gd name="connsiteX11" fmla="*/ 152662 w 703122"/>
                    <a:gd name="connsiteY11" fmla="*/ 2381 h 711994"/>
                    <a:gd name="connsiteX12" fmla="*/ 155043 w 703122"/>
                    <a:gd name="connsiteY12" fmla="*/ 9525 h 711994"/>
                    <a:gd name="connsiteX13" fmla="*/ 157425 w 703122"/>
                    <a:gd name="connsiteY13" fmla="*/ 57150 h 711994"/>
                    <a:gd name="connsiteX14" fmla="*/ 169331 w 703122"/>
                    <a:gd name="connsiteY14" fmla="*/ 78581 h 711994"/>
                    <a:gd name="connsiteX15" fmla="*/ 176475 w 703122"/>
                    <a:gd name="connsiteY15" fmla="*/ 83344 h 711994"/>
                    <a:gd name="connsiteX16" fmla="*/ 183618 w 703122"/>
                    <a:gd name="connsiteY16" fmla="*/ 85725 h 711994"/>
                    <a:gd name="connsiteX17" fmla="*/ 190762 w 703122"/>
                    <a:gd name="connsiteY17" fmla="*/ 90488 h 711994"/>
                    <a:gd name="connsiteX18" fmla="*/ 200287 w 703122"/>
                    <a:gd name="connsiteY18" fmla="*/ 104775 h 711994"/>
                    <a:gd name="connsiteX19" fmla="*/ 207431 w 703122"/>
                    <a:gd name="connsiteY19" fmla="*/ 107156 h 711994"/>
                    <a:gd name="connsiteX20" fmla="*/ 214575 w 703122"/>
                    <a:gd name="connsiteY20" fmla="*/ 111919 h 711994"/>
                    <a:gd name="connsiteX21" fmla="*/ 228862 w 703122"/>
                    <a:gd name="connsiteY21" fmla="*/ 116681 h 711994"/>
                    <a:gd name="connsiteX22" fmla="*/ 245531 w 703122"/>
                    <a:gd name="connsiteY22" fmla="*/ 121444 h 711994"/>
                    <a:gd name="connsiteX23" fmla="*/ 266962 w 703122"/>
                    <a:gd name="connsiteY23" fmla="*/ 133350 h 711994"/>
                    <a:gd name="connsiteX24" fmla="*/ 281250 w 703122"/>
                    <a:gd name="connsiteY24" fmla="*/ 135731 h 711994"/>
                    <a:gd name="connsiteX25" fmla="*/ 288393 w 703122"/>
                    <a:gd name="connsiteY25" fmla="*/ 138113 h 711994"/>
                    <a:gd name="connsiteX26" fmla="*/ 300300 w 703122"/>
                    <a:gd name="connsiteY26" fmla="*/ 152400 h 711994"/>
                    <a:gd name="connsiteX27" fmla="*/ 302681 w 703122"/>
                    <a:gd name="connsiteY27" fmla="*/ 159544 h 711994"/>
                    <a:gd name="connsiteX28" fmla="*/ 307443 w 703122"/>
                    <a:gd name="connsiteY28" fmla="*/ 166688 h 711994"/>
                    <a:gd name="connsiteX29" fmla="*/ 309825 w 703122"/>
                    <a:gd name="connsiteY29" fmla="*/ 178594 h 711994"/>
                    <a:gd name="connsiteX30" fmla="*/ 312206 w 703122"/>
                    <a:gd name="connsiteY30" fmla="*/ 204788 h 711994"/>
                    <a:gd name="connsiteX31" fmla="*/ 319350 w 703122"/>
                    <a:gd name="connsiteY31" fmla="*/ 211931 h 711994"/>
                    <a:gd name="connsiteX32" fmla="*/ 362212 w 703122"/>
                    <a:gd name="connsiteY32" fmla="*/ 214313 h 711994"/>
                    <a:gd name="connsiteX33" fmla="*/ 366975 w 703122"/>
                    <a:gd name="connsiteY33" fmla="*/ 221456 h 711994"/>
                    <a:gd name="connsiteX34" fmla="*/ 374118 w 703122"/>
                    <a:gd name="connsiteY34" fmla="*/ 242888 h 711994"/>
                    <a:gd name="connsiteX35" fmla="*/ 376500 w 703122"/>
                    <a:gd name="connsiteY35" fmla="*/ 250031 h 711994"/>
                    <a:gd name="connsiteX36" fmla="*/ 378881 w 703122"/>
                    <a:gd name="connsiteY36" fmla="*/ 257175 h 711994"/>
                    <a:gd name="connsiteX37" fmla="*/ 383643 w 703122"/>
                    <a:gd name="connsiteY37" fmla="*/ 264319 h 711994"/>
                    <a:gd name="connsiteX38" fmla="*/ 386025 w 703122"/>
                    <a:gd name="connsiteY38" fmla="*/ 271463 h 711994"/>
                    <a:gd name="connsiteX39" fmla="*/ 400312 w 703122"/>
                    <a:gd name="connsiteY39" fmla="*/ 285750 h 711994"/>
                    <a:gd name="connsiteX40" fmla="*/ 407456 w 703122"/>
                    <a:gd name="connsiteY40" fmla="*/ 292894 h 711994"/>
                    <a:gd name="connsiteX41" fmla="*/ 483656 w 703122"/>
                    <a:gd name="connsiteY41" fmla="*/ 295275 h 711994"/>
                    <a:gd name="connsiteX42" fmla="*/ 505087 w 703122"/>
                    <a:gd name="connsiteY42" fmla="*/ 297656 h 711994"/>
                    <a:gd name="connsiteX43" fmla="*/ 509850 w 703122"/>
                    <a:gd name="connsiteY43" fmla="*/ 311944 h 711994"/>
                    <a:gd name="connsiteX44" fmla="*/ 516993 w 703122"/>
                    <a:gd name="connsiteY44" fmla="*/ 326231 h 711994"/>
                    <a:gd name="connsiteX45" fmla="*/ 514612 w 703122"/>
                    <a:gd name="connsiteY45" fmla="*/ 333375 h 711994"/>
                    <a:gd name="connsiteX46" fmla="*/ 507468 w 703122"/>
                    <a:gd name="connsiteY46" fmla="*/ 335756 h 711994"/>
                    <a:gd name="connsiteX47" fmla="*/ 490800 w 703122"/>
                    <a:gd name="connsiteY47" fmla="*/ 338138 h 711994"/>
                    <a:gd name="connsiteX48" fmla="*/ 476512 w 703122"/>
                    <a:gd name="connsiteY48" fmla="*/ 342900 h 711994"/>
                    <a:gd name="connsiteX49" fmla="*/ 469368 w 703122"/>
                    <a:gd name="connsiteY49" fmla="*/ 345281 h 711994"/>
                    <a:gd name="connsiteX50" fmla="*/ 459843 w 703122"/>
                    <a:gd name="connsiteY50" fmla="*/ 357188 h 711994"/>
                    <a:gd name="connsiteX51" fmla="*/ 450318 w 703122"/>
                    <a:gd name="connsiteY51" fmla="*/ 371475 h 711994"/>
                    <a:gd name="connsiteX52" fmla="*/ 440793 w 703122"/>
                    <a:gd name="connsiteY52" fmla="*/ 383381 h 711994"/>
                    <a:gd name="connsiteX53" fmla="*/ 433650 w 703122"/>
                    <a:gd name="connsiteY53" fmla="*/ 397669 h 711994"/>
                    <a:gd name="connsiteX54" fmla="*/ 436031 w 703122"/>
                    <a:gd name="connsiteY54" fmla="*/ 409575 h 711994"/>
                    <a:gd name="connsiteX55" fmla="*/ 457462 w 703122"/>
                    <a:gd name="connsiteY55" fmla="*/ 421481 h 711994"/>
                    <a:gd name="connsiteX56" fmla="*/ 466987 w 703122"/>
                    <a:gd name="connsiteY56" fmla="*/ 442913 h 711994"/>
                    <a:gd name="connsiteX57" fmla="*/ 469368 w 703122"/>
                    <a:gd name="connsiteY57" fmla="*/ 450056 h 711994"/>
                    <a:gd name="connsiteX58" fmla="*/ 483656 w 703122"/>
                    <a:gd name="connsiteY58" fmla="*/ 464344 h 711994"/>
                    <a:gd name="connsiteX59" fmla="*/ 493181 w 703122"/>
                    <a:gd name="connsiteY59" fmla="*/ 478631 h 711994"/>
                    <a:gd name="connsiteX60" fmla="*/ 497943 w 703122"/>
                    <a:gd name="connsiteY60" fmla="*/ 485775 h 711994"/>
                    <a:gd name="connsiteX61" fmla="*/ 505087 w 703122"/>
                    <a:gd name="connsiteY61" fmla="*/ 490538 h 711994"/>
                    <a:gd name="connsiteX62" fmla="*/ 519375 w 703122"/>
                    <a:gd name="connsiteY62" fmla="*/ 495300 h 711994"/>
                    <a:gd name="connsiteX63" fmla="*/ 526518 w 703122"/>
                    <a:gd name="connsiteY63" fmla="*/ 502444 h 711994"/>
                    <a:gd name="connsiteX64" fmla="*/ 531281 w 703122"/>
                    <a:gd name="connsiteY64" fmla="*/ 509588 h 711994"/>
                    <a:gd name="connsiteX65" fmla="*/ 538425 w 703122"/>
                    <a:gd name="connsiteY65" fmla="*/ 514350 h 711994"/>
                    <a:gd name="connsiteX66" fmla="*/ 545568 w 703122"/>
                    <a:gd name="connsiteY66" fmla="*/ 516731 h 711994"/>
                    <a:gd name="connsiteX67" fmla="*/ 605100 w 703122"/>
                    <a:gd name="connsiteY67" fmla="*/ 519113 h 711994"/>
                    <a:gd name="connsiteX68" fmla="*/ 612243 w 703122"/>
                    <a:gd name="connsiteY68" fmla="*/ 526256 h 711994"/>
                    <a:gd name="connsiteX69" fmla="*/ 617006 w 703122"/>
                    <a:gd name="connsiteY69" fmla="*/ 533400 h 711994"/>
                    <a:gd name="connsiteX70" fmla="*/ 638437 w 703122"/>
                    <a:gd name="connsiteY70" fmla="*/ 552450 h 711994"/>
                    <a:gd name="connsiteX71" fmla="*/ 645581 w 703122"/>
                    <a:gd name="connsiteY71" fmla="*/ 554831 h 711994"/>
                    <a:gd name="connsiteX72" fmla="*/ 659868 w 703122"/>
                    <a:gd name="connsiteY72" fmla="*/ 564356 h 711994"/>
                    <a:gd name="connsiteX73" fmla="*/ 667012 w 703122"/>
                    <a:gd name="connsiteY73" fmla="*/ 566738 h 711994"/>
                    <a:gd name="connsiteX74" fmla="*/ 681300 w 703122"/>
                    <a:gd name="connsiteY74" fmla="*/ 576263 h 711994"/>
                    <a:gd name="connsiteX75" fmla="*/ 690825 w 703122"/>
                    <a:gd name="connsiteY75" fmla="*/ 597694 h 711994"/>
                    <a:gd name="connsiteX76" fmla="*/ 697968 w 703122"/>
                    <a:gd name="connsiteY76" fmla="*/ 602456 h 711994"/>
                    <a:gd name="connsiteX77" fmla="*/ 700350 w 703122"/>
                    <a:gd name="connsiteY77" fmla="*/ 609600 h 711994"/>
                    <a:gd name="connsiteX78" fmla="*/ 700350 w 703122"/>
                    <a:gd name="connsiteY78" fmla="*/ 671513 h 711994"/>
                    <a:gd name="connsiteX79" fmla="*/ 697968 w 703122"/>
                    <a:gd name="connsiteY79" fmla="*/ 711994 h 711994"/>
                    <a:gd name="connsiteX80" fmla="*/ 676537 w 703122"/>
                    <a:gd name="connsiteY80" fmla="*/ 707231 h 711994"/>
                    <a:gd name="connsiteX81" fmla="*/ 662250 w 703122"/>
                    <a:gd name="connsiteY81" fmla="*/ 697706 h 711994"/>
                    <a:gd name="connsiteX82" fmla="*/ 652725 w 703122"/>
                    <a:gd name="connsiteY82" fmla="*/ 683419 h 711994"/>
                    <a:gd name="connsiteX83" fmla="*/ 645581 w 703122"/>
                    <a:gd name="connsiteY83" fmla="*/ 669131 h 711994"/>
                    <a:gd name="connsiteX84" fmla="*/ 631293 w 703122"/>
                    <a:gd name="connsiteY84" fmla="*/ 661988 h 711994"/>
                    <a:gd name="connsiteX85" fmla="*/ 609862 w 703122"/>
                    <a:gd name="connsiteY85" fmla="*/ 647700 h 711994"/>
                    <a:gd name="connsiteX86" fmla="*/ 602718 w 703122"/>
                    <a:gd name="connsiteY86" fmla="*/ 642938 h 711994"/>
                    <a:gd name="connsiteX87" fmla="*/ 595575 w 703122"/>
                    <a:gd name="connsiteY87" fmla="*/ 640556 h 711994"/>
                    <a:gd name="connsiteX88" fmla="*/ 581287 w 703122"/>
                    <a:gd name="connsiteY88" fmla="*/ 633413 h 711994"/>
                    <a:gd name="connsiteX89" fmla="*/ 567000 w 703122"/>
                    <a:gd name="connsiteY89" fmla="*/ 623888 h 711994"/>
                    <a:gd name="connsiteX90" fmla="*/ 552712 w 703122"/>
                    <a:gd name="connsiteY90" fmla="*/ 611981 h 711994"/>
                    <a:gd name="connsiteX91" fmla="*/ 547950 w 703122"/>
                    <a:gd name="connsiteY91" fmla="*/ 604838 h 711994"/>
                    <a:gd name="connsiteX92" fmla="*/ 533662 w 703122"/>
                    <a:gd name="connsiteY92" fmla="*/ 590550 h 711994"/>
                    <a:gd name="connsiteX93" fmla="*/ 519375 w 703122"/>
                    <a:gd name="connsiteY93" fmla="*/ 578644 h 711994"/>
                    <a:gd name="connsiteX94" fmla="*/ 512231 w 703122"/>
                    <a:gd name="connsiteY94" fmla="*/ 576263 h 711994"/>
                    <a:gd name="connsiteX95" fmla="*/ 490800 w 703122"/>
                    <a:gd name="connsiteY95" fmla="*/ 564356 h 711994"/>
                    <a:gd name="connsiteX96" fmla="*/ 483656 w 703122"/>
                    <a:gd name="connsiteY96" fmla="*/ 557213 h 711994"/>
                    <a:gd name="connsiteX97" fmla="*/ 476512 w 703122"/>
                    <a:gd name="connsiteY97" fmla="*/ 552450 h 711994"/>
                    <a:gd name="connsiteX98" fmla="*/ 471750 w 703122"/>
                    <a:gd name="connsiteY98" fmla="*/ 545306 h 711994"/>
                    <a:gd name="connsiteX99" fmla="*/ 457462 w 703122"/>
                    <a:gd name="connsiteY99" fmla="*/ 538163 h 711994"/>
                    <a:gd name="connsiteX100" fmla="*/ 443175 w 703122"/>
                    <a:gd name="connsiteY100" fmla="*/ 528638 h 711994"/>
                    <a:gd name="connsiteX101" fmla="*/ 436031 w 703122"/>
                    <a:gd name="connsiteY101" fmla="*/ 523875 h 711994"/>
                    <a:gd name="connsiteX102" fmla="*/ 428887 w 703122"/>
                    <a:gd name="connsiteY102" fmla="*/ 521494 h 711994"/>
                    <a:gd name="connsiteX103" fmla="*/ 400312 w 703122"/>
                    <a:gd name="connsiteY103" fmla="*/ 497681 h 711994"/>
                    <a:gd name="connsiteX104" fmla="*/ 388406 w 703122"/>
                    <a:gd name="connsiteY104" fmla="*/ 483394 h 711994"/>
                    <a:gd name="connsiteX105" fmla="*/ 376500 w 703122"/>
                    <a:gd name="connsiteY105" fmla="*/ 471488 h 711994"/>
                    <a:gd name="connsiteX106" fmla="*/ 364593 w 703122"/>
                    <a:gd name="connsiteY106" fmla="*/ 457200 h 711994"/>
                    <a:gd name="connsiteX107" fmla="*/ 357450 w 703122"/>
                    <a:gd name="connsiteY107" fmla="*/ 452438 h 711994"/>
                    <a:gd name="connsiteX108" fmla="*/ 343162 w 703122"/>
                    <a:gd name="connsiteY108" fmla="*/ 438150 h 711994"/>
                    <a:gd name="connsiteX109" fmla="*/ 340781 w 703122"/>
                    <a:gd name="connsiteY109" fmla="*/ 431006 h 711994"/>
                    <a:gd name="connsiteX110" fmla="*/ 331256 w 703122"/>
                    <a:gd name="connsiteY110" fmla="*/ 416719 h 711994"/>
                    <a:gd name="connsiteX111" fmla="*/ 328875 w 703122"/>
                    <a:gd name="connsiteY111" fmla="*/ 407194 h 711994"/>
                    <a:gd name="connsiteX112" fmla="*/ 324112 w 703122"/>
                    <a:gd name="connsiteY112" fmla="*/ 392906 h 711994"/>
                    <a:gd name="connsiteX113" fmla="*/ 319350 w 703122"/>
                    <a:gd name="connsiteY113" fmla="*/ 371475 h 711994"/>
                    <a:gd name="connsiteX114" fmla="*/ 314587 w 703122"/>
                    <a:gd name="connsiteY114" fmla="*/ 357188 h 711994"/>
                    <a:gd name="connsiteX115" fmla="*/ 305062 w 703122"/>
                    <a:gd name="connsiteY115" fmla="*/ 342900 h 711994"/>
                    <a:gd name="connsiteX116" fmla="*/ 290775 w 703122"/>
                    <a:gd name="connsiteY116" fmla="*/ 330994 h 711994"/>
                    <a:gd name="connsiteX117" fmla="*/ 276487 w 703122"/>
                    <a:gd name="connsiteY117" fmla="*/ 321469 h 711994"/>
                    <a:gd name="connsiteX118" fmla="*/ 269343 w 703122"/>
                    <a:gd name="connsiteY118" fmla="*/ 316706 h 711994"/>
                    <a:gd name="connsiteX119" fmla="*/ 255056 w 703122"/>
                    <a:gd name="connsiteY119" fmla="*/ 311944 h 711994"/>
                    <a:gd name="connsiteX120" fmla="*/ 247912 w 703122"/>
                    <a:gd name="connsiteY120" fmla="*/ 309563 h 711994"/>
                    <a:gd name="connsiteX121" fmla="*/ 240768 w 703122"/>
                    <a:gd name="connsiteY121" fmla="*/ 304800 h 711994"/>
                    <a:gd name="connsiteX122" fmla="*/ 226481 w 703122"/>
                    <a:gd name="connsiteY122" fmla="*/ 297656 h 711994"/>
                    <a:gd name="connsiteX123" fmla="*/ 219337 w 703122"/>
                    <a:gd name="connsiteY123" fmla="*/ 290513 h 711994"/>
                    <a:gd name="connsiteX124" fmla="*/ 197906 w 703122"/>
                    <a:gd name="connsiteY124" fmla="*/ 278606 h 711994"/>
                    <a:gd name="connsiteX125" fmla="*/ 190762 w 703122"/>
                    <a:gd name="connsiteY125" fmla="*/ 271463 h 711994"/>
                    <a:gd name="connsiteX126" fmla="*/ 183618 w 703122"/>
                    <a:gd name="connsiteY126" fmla="*/ 266700 h 711994"/>
                    <a:gd name="connsiteX127" fmla="*/ 178856 w 703122"/>
                    <a:gd name="connsiteY127" fmla="*/ 259556 h 711994"/>
                    <a:gd name="connsiteX128" fmla="*/ 171712 w 703122"/>
                    <a:gd name="connsiteY128" fmla="*/ 250031 h 711994"/>
                    <a:gd name="connsiteX129" fmla="*/ 164568 w 703122"/>
                    <a:gd name="connsiteY129" fmla="*/ 235744 h 711994"/>
                    <a:gd name="connsiteX130" fmla="*/ 157425 w 703122"/>
                    <a:gd name="connsiteY130" fmla="*/ 228600 h 711994"/>
                    <a:gd name="connsiteX131" fmla="*/ 147900 w 703122"/>
                    <a:gd name="connsiteY131" fmla="*/ 214313 h 711994"/>
                    <a:gd name="connsiteX132" fmla="*/ 133612 w 703122"/>
                    <a:gd name="connsiteY132" fmla="*/ 192881 h 711994"/>
                    <a:gd name="connsiteX133" fmla="*/ 128850 w 703122"/>
                    <a:gd name="connsiteY133" fmla="*/ 185738 h 711994"/>
                    <a:gd name="connsiteX134" fmla="*/ 119325 w 703122"/>
                    <a:gd name="connsiteY134" fmla="*/ 171450 h 711994"/>
                    <a:gd name="connsiteX135" fmla="*/ 116943 w 703122"/>
                    <a:gd name="connsiteY135" fmla="*/ 164306 h 711994"/>
                    <a:gd name="connsiteX136" fmla="*/ 107418 w 703122"/>
                    <a:gd name="connsiteY136" fmla="*/ 150019 h 711994"/>
                    <a:gd name="connsiteX137" fmla="*/ 102656 w 703122"/>
                    <a:gd name="connsiteY137" fmla="*/ 142875 h 711994"/>
                    <a:gd name="connsiteX138" fmla="*/ 93131 w 703122"/>
                    <a:gd name="connsiteY138" fmla="*/ 128588 h 711994"/>
                    <a:gd name="connsiteX139" fmla="*/ 88368 w 703122"/>
                    <a:gd name="connsiteY139" fmla="*/ 121444 h 711994"/>
                    <a:gd name="connsiteX140" fmla="*/ 66937 w 703122"/>
                    <a:gd name="connsiteY140" fmla="*/ 109538 h 711994"/>
                    <a:gd name="connsiteX141" fmla="*/ 38362 w 703122"/>
                    <a:gd name="connsiteY141" fmla="*/ 90488 h 711994"/>
                    <a:gd name="connsiteX142" fmla="*/ 24075 w 703122"/>
                    <a:gd name="connsiteY142" fmla="*/ 80963 h 711994"/>
                    <a:gd name="connsiteX143" fmla="*/ 9787 w 703122"/>
                    <a:gd name="connsiteY143" fmla="*/ 73819 h 711994"/>
                    <a:gd name="connsiteX144" fmla="*/ 262 w 703122"/>
                    <a:gd name="connsiteY144" fmla="*/ 54769 h 7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03122" h="711994">
                      <a:moveTo>
                        <a:pt x="262" y="54769"/>
                      </a:moveTo>
                      <a:cubicBezTo>
                        <a:pt x="1850" y="50800"/>
                        <a:pt x="15190" y="52296"/>
                        <a:pt x="19312" y="50006"/>
                      </a:cubicBezTo>
                      <a:cubicBezTo>
                        <a:pt x="24316" y="47226"/>
                        <a:pt x="28837" y="43656"/>
                        <a:pt x="33600" y="40481"/>
                      </a:cubicBezTo>
                      <a:cubicBezTo>
                        <a:pt x="35981" y="38894"/>
                        <a:pt x="38720" y="37742"/>
                        <a:pt x="40743" y="35719"/>
                      </a:cubicBezTo>
                      <a:cubicBezTo>
                        <a:pt x="45506" y="30956"/>
                        <a:pt x="48387" y="22538"/>
                        <a:pt x="55031" y="21431"/>
                      </a:cubicBezTo>
                      <a:cubicBezTo>
                        <a:pt x="59793" y="20637"/>
                        <a:pt x="64605" y="20097"/>
                        <a:pt x="69318" y="19050"/>
                      </a:cubicBezTo>
                      <a:cubicBezTo>
                        <a:pt x="71768" y="18506"/>
                        <a:pt x="74012" y="17213"/>
                        <a:pt x="76462" y="16669"/>
                      </a:cubicBezTo>
                      <a:cubicBezTo>
                        <a:pt x="81175" y="15622"/>
                        <a:pt x="85987" y="15082"/>
                        <a:pt x="90750" y="14288"/>
                      </a:cubicBezTo>
                      <a:cubicBezTo>
                        <a:pt x="93131" y="13494"/>
                        <a:pt x="95933" y="13474"/>
                        <a:pt x="97893" y="11906"/>
                      </a:cubicBezTo>
                      <a:cubicBezTo>
                        <a:pt x="100128" y="10118"/>
                        <a:pt x="100632" y="6787"/>
                        <a:pt x="102656" y="4763"/>
                      </a:cubicBezTo>
                      <a:cubicBezTo>
                        <a:pt x="104680" y="2739"/>
                        <a:pt x="107419" y="1588"/>
                        <a:pt x="109800" y="0"/>
                      </a:cubicBezTo>
                      <a:cubicBezTo>
                        <a:pt x="124087" y="794"/>
                        <a:pt x="138660" y="-567"/>
                        <a:pt x="152662" y="2381"/>
                      </a:cubicBezTo>
                      <a:cubicBezTo>
                        <a:pt x="155118" y="2898"/>
                        <a:pt x="154826" y="7024"/>
                        <a:pt x="155043" y="9525"/>
                      </a:cubicBezTo>
                      <a:cubicBezTo>
                        <a:pt x="156420" y="25360"/>
                        <a:pt x="155603" y="41360"/>
                        <a:pt x="157425" y="57150"/>
                      </a:cubicBezTo>
                      <a:cubicBezTo>
                        <a:pt x="158698" y="68183"/>
                        <a:pt x="161691" y="72215"/>
                        <a:pt x="169331" y="78581"/>
                      </a:cubicBezTo>
                      <a:cubicBezTo>
                        <a:pt x="171530" y="80413"/>
                        <a:pt x="173915" y="82064"/>
                        <a:pt x="176475" y="83344"/>
                      </a:cubicBezTo>
                      <a:cubicBezTo>
                        <a:pt x="178720" y="84466"/>
                        <a:pt x="181237" y="84931"/>
                        <a:pt x="183618" y="85725"/>
                      </a:cubicBezTo>
                      <a:cubicBezTo>
                        <a:pt x="185999" y="87313"/>
                        <a:pt x="188974" y="88253"/>
                        <a:pt x="190762" y="90488"/>
                      </a:cubicBezTo>
                      <a:cubicBezTo>
                        <a:pt x="200748" y="102970"/>
                        <a:pt x="182593" y="92979"/>
                        <a:pt x="200287" y="104775"/>
                      </a:cubicBezTo>
                      <a:cubicBezTo>
                        <a:pt x="202376" y="106167"/>
                        <a:pt x="205050" y="106362"/>
                        <a:pt x="207431" y="107156"/>
                      </a:cubicBezTo>
                      <a:cubicBezTo>
                        <a:pt x="209812" y="108744"/>
                        <a:pt x="211960" y="110757"/>
                        <a:pt x="214575" y="111919"/>
                      </a:cubicBezTo>
                      <a:cubicBezTo>
                        <a:pt x="219162" y="113958"/>
                        <a:pt x="224100" y="115094"/>
                        <a:pt x="228862" y="116681"/>
                      </a:cubicBezTo>
                      <a:cubicBezTo>
                        <a:pt x="239120" y="120101"/>
                        <a:pt x="233558" y="118451"/>
                        <a:pt x="245531" y="121444"/>
                      </a:cubicBezTo>
                      <a:cubicBezTo>
                        <a:pt x="254740" y="127584"/>
                        <a:pt x="257531" y="131254"/>
                        <a:pt x="266962" y="133350"/>
                      </a:cubicBezTo>
                      <a:cubicBezTo>
                        <a:pt x="271675" y="134397"/>
                        <a:pt x="276487" y="134937"/>
                        <a:pt x="281250" y="135731"/>
                      </a:cubicBezTo>
                      <a:cubicBezTo>
                        <a:pt x="283631" y="136525"/>
                        <a:pt x="286305" y="136721"/>
                        <a:pt x="288393" y="138113"/>
                      </a:cubicBezTo>
                      <a:cubicBezTo>
                        <a:pt x="293895" y="141781"/>
                        <a:pt x="296785" y="147127"/>
                        <a:pt x="300300" y="152400"/>
                      </a:cubicBezTo>
                      <a:cubicBezTo>
                        <a:pt x="301094" y="154781"/>
                        <a:pt x="301559" y="157299"/>
                        <a:pt x="302681" y="159544"/>
                      </a:cubicBezTo>
                      <a:cubicBezTo>
                        <a:pt x="303961" y="162104"/>
                        <a:pt x="306438" y="164008"/>
                        <a:pt x="307443" y="166688"/>
                      </a:cubicBezTo>
                      <a:cubicBezTo>
                        <a:pt x="308864" y="170478"/>
                        <a:pt x="309031" y="174625"/>
                        <a:pt x="309825" y="178594"/>
                      </a:cubicBezTo>
                      <a:cubicBezTo>
                        <a:pt x="310619" y="187325"/>
                        <a:pt x="309797" y="196358"/>
                        <a:pt x="312206" y="204788"/>
                      </a:cubicBezTo>
                      <a:cubicBezTo>
                        <a:pt x="313131" y="208026"/>
                        <a:pt x="316042" y="211301"/>
                        <a:pt x="319350" y="211931"/>
                      </a:cubicBezTo>
                      <a:cubicBezTo>
                        <a:pt x="333407" y="214608"/>
                        <a:pt x="347925" y="213519"/>
                        <a:pt x="362212" y="214313"/>
                      </a:cubicBezTo>
                      <a:cubicBezTo>
                        <a:pt x="363800" y="216694"/>
                        <a:pt x="365813" y="218841"/>
                        <a:pt x="366975" y="221456"/>
                      </a:cubicBezTo>
                      <a:cubicBezTo>
                        <a:pt x="366978" y="221462"/>
                        <a:pt x="372926" y="239313"/>
                        <a:pt x="374118" y="242888"/>
                      </a:cubicBezTo>
                      <a:lnTo>
                        <a:pt x="376500" y="250031"/>
                      </a:lnTo>
                      <a:cubicBezTo>
                        <a:pt x="377294" y="252412"/>
                        <a:pt x="377489" y="255086"/>
                        <a:pt x="378881" y="257175"/>
                      </a:cubicBezTo>
                      <a:cubicBezTo>
                        <a:pt x="380468" y="259556"/>
                        <a:pt x="382363" y="261759"/>
                        <a:pt x="383643" y="264319"/>
                      </a:cubicBezTo>
                      <a:cubicBezTo>
                        <a:pt x="384766" y="266564"/>
                        <a:pt x="384484" y="269482"/>
                        <a:pt x="386025" y="271463"/>
                      </a:cubicBezTo>
                      <a:cubicBezTo>
                        <a:pt x="390160" y="276779"/>
                        <a:pt x="395550" y="280988"/>
                        <a:pt x="400312" y="285750"/>
                      </a:cubicBezTo>
                      <a:cubicBezTo>
                        <a:pt x="402693" y="288131"/>
                        <a:pt x="404090" y="292789"/>
                        <a:pt x="407456" y="292894"/>
                      </a:cubicBezTo>
                      <a:lnTo>
                        <a:pt x="483656" y="295275"/>
                      </a:lnTo>
                      <a:cubicBezTo>
                        <a:pt x="490800" y="296069"/>
                        <a:pt x="499023" y="293797"/>
                        <a:pt x="505087" y="297656"/>
                      </a:cubicBezTo>
                      <a:cubicBezTo>
                        <a:pt x="509322" y="300351"/>
                        <a:pt x="508262" y="307181"/>
                        <a:pt x="509850" y="311944"/>
                      </a:cubicBezTo>
                      <a:cubicBezTo>
                        <a:pt x="513137" y="321804"/>
                        <a:pt x="510838" y="316998"/>
                        <a:pt x="516993" y="326231"/>
                      </a:cubicBezTo>
                      <a:cubicBezTo>
                        <a:pt x="516199" y="328612"/>
                        <a:pt x="516387" y="331600"/>
                        <a:pt x="514612" y="333375"/>
                      </a:cubicBezTo>
                      <a:cubicBezTo>
                        <a:pt x="512837" y="335150"/>
                        <a:pt x="509929" y="335264"/>
                        <a:pt x="507468" y="335756"/>
                      </a:cubicBezTo>
                      <a:cubicBezTo>
                        <a:pt x="501965" y="336857"/>
                        <a:pt x="496356" y="337344"/>
                        <a:pt x="490800" y="338138"/>
                      </a:cubicBezTo>
                      <a:lnTo>
                        <a:pt x="476512" y="342900"/>
                      </a:lnTo>
                      <a:lnTo>
                        <a:pt x="469368" y="345281"/>
                      </a:lnTo>
                      <a:cubicBezTo>
                        <a:pt x="456170" y="354082"/>
                        <a:pt x="466610" y="345009"/>
                        <a:pt x="459843" y="357188"/>
                      </a:cubicBezTo>
                      <a:cubicBezTo>
                        <a:pt x="457063" y="362191"/>
                        <a:pt x="450318" y="371475"/>
                        <a:pt x="450318" y="371475"/>
                      </a:cubicBezTo>
                      <a:cubicBezTo>
                        <a:pt x="445682" y="385384"/>
                        <a:pt x="451565" y="372609"/>
                        <a:pt x="440793" y="383381"/>
                      </a:cubicBezTo>
                      <a:cubicBezTo>
                        <a:pt x="436178" y="387996"/>
                        <a:pt x="435586" y="391860"/>
                        <a:pt x="433650" y="397669"/>
                      </a:cubicBezTo>
                      <a:cubicBezTo>
                        <a:pt x="434444" y="401638"/>
                        <a:pt x="433546" y="406380"/>
                        <a:pt x="436031" y="409575"/>
                      </a:cubicBezTo>
                      <a:cubicBezTo>
                        <a:pt x="441763" y="416945"/>
                        <a:pt x="449556" y="418846"/>
                        <a:pt x="457462" y="421481"/>
                      </a:cubicBezTo>
                      <a:cubicBezTo>
                        <a:pt x="469751" y="458344"/>
                        <a:pt x="455666" y="420270"/>
                        <a:pt x="466987" y="442913"/>
                      </a:cubicBezTo>
                      <a:cubicBezTo>
                        <a:pt x="468109" y="445158"/>
                        <a:pt x="467827" y="448075"/>
                        <a:pt x="469368" y="450056"/>
                      </a:cubicBezTo>
                      <a:cubicBezTo>
                        <a:pt x="473503" y="455373"/>
                        <a:pt x="479920" y="458740"/>
                        <a:pt x="483656" y="464344"/>
                      </a:cubicBezTo>
                      <a:lnTo>
                        <a:pt x="493181" y="478631"/>
                      </a:lnTo>
                      <a:cubicBezTo>
                        <a:pt x="494768" y="481012"/>
                        <a:pt x="495562" y="484187"/>
                        <a:pt x="497943" y="485775"/>
                      </a:cubicBezTo>
                      <a:cubicBezTo>
                        <a:pt x="500324" y="487363"/>
                        <a:pt x="502472" y="489376"/>
                        <a:pt x="505087" y="490538"/>
                      </a:cubicBezTo>
                      <a:cubicBezTo>
                        <a:pt x="509675" y="492577"/>
                        <a:pt x="519375" y="495300"/>
                        <a:pt x="519375" y="495300"/>
                      </a:cubicBezTo>
                      <a:cubicBezTo>
                        <a:pt x="521756" y="497681"/>
                        <a:pt x="524362" y="499857"/>
                        <a:pt x="526518" y="502444"/>
                      </a:cubicBezTo>
                      <a:cubicBezTo>
                        <a:pt x="528350" y="504643"/>
                        <a:pt x="529257" y="507564"/>
                        <a:pt x="531281" y="509588"/>
                      </a:cubicBezTo>
                      <a:cubicBezTo>
                        <a:pt x="533305" y="511612"/>
                        <a:pt x="535865" y="513070"/>
                        <a:pt x="538425" y="514350"/>
                      </a:cubicBezTo>
                      <a:cubicBezTo>
                        <a:pt x="540670" y="515472"/>
                        <a:pt x="543065" y="516552"/>
                        <a:pt x="545568" y="516731"/>
                      </a:cubicBezTo>
                      <a:cubicBezTo>
                        <a:pt x="565377" y="518146"/>
                        <a:pt x="585256" y="518319"/>
                        <a:pt x="605100" y="519113"/>
                      </a:cubicBezTo>
                      <a:cubicBezTo>
                        <a:pt x="607481" y="521494"/>
                        <a:pt x="610087" y="523669"/>
                        <a:pt x="612243" y="526256"/>
                      </a:cubicBezTo>
                      <a:cubicBezTo>
                        <a:pt x="614075" y="528455"/>
                        <a:pt x="615105" y="531261"/>
                        <a:pt x="617006" y="533400"/>
                      </a:cubicBezTo>
                      <a:cubicBezTo>
                        <a:pt x="622058" y="539084"/>
                        <a:pt x="630473" y="548468"/>
                        <a:pt x="638437" y="552450"/>
                      </a:cubicBezTo>
                      <a:cubicBezTo>
                        <a:pt x="640682" y="553572"/>
                        <a:pt x="643200" y="554037"/>
                        <a:pt x="645581" y="554831"/>
                      </a:cubicBezTo>
                      <a:cubicBezTo>
                        <a:pt x="650343" y="558006"/>
                        <a:pt x="654438" y="562546"/>
                        <a:pt x="659868" y="564356"/>
                      </a:cubicBezTo>
                      <a:cubicBezTo>
                        <a:pt x="662249" y="565150"/>
                        <a:pt x="664818" y="565519"/>
                        <a:pt x="667012" y="566738"/>
                      </a:cubicBezTo>
                      <a:cubicBezTo>
                        <a:pt x="672016" y="569518"/>
                        <a:pt x="681300" y="576263"/>
                        <a:pt x="681300" y="576263"/>
                      </a:cubicBezTo>
                      <a:cubicBezTo>
                        <a:pt x="683659" y="583339"/>
                        <a:pt x="685164" y="592033"/>
                        <a:pt x="690825" y="597694"/>
                      </a:cubicBezTo>
                      <a:cubicBezTo>
                        <a:pt x="692848" y="599717"/>
                        <a:pt x="695587" y="600869"/>
                        <a:pt x="697968" y="602456"/>
                      </a:cubicBezTo>
                      <a:cubicBezTo>
                        <a:pt x="698762" y="604837"/>
                        <a:pt x="699805" y="607150"/>
                        <a:pt x="700350" y="609600"/>
                      </a:cubicBezTo>
                      <a:cubicBezTo>
                        <a:pt x="705618" y="633303"/>
                        <a:pt x="702071" y="639687"/>
                        <a:pt x="700350" y="671513"/>
                      </a:cubicBezTo>
                      <a:cubicBezTo>
                        <a:pt x="699620" y="685010"/>
                        <a:pt x="698762" y="698500"/>
                        <a:pt x="697968" y="711994"/>
                      </a:cubicBezTo>
                      <a:cubicBezTo>
                        <a:pt x="694086" y="711347"/>
                        <a:pt x="681564" y="710024"/>
                        <a:pt x="676537" y="707231"/>
                      </a:cubicBezTo>
                      <a:cubicBezTo>
                        <a:pt x="671534" y="704451"/>
                        <a:pt x="662250" y="697706"/>
                        <a:pt x="662250" y="697706"/>
                      </a:cubicBezTo>
                      <a:cubicBezTo>
                        <a:pt x="659075" y="692944"/>
                        <a:pt x="654535" y="688849"/>
                        <a:pt x="652725" y="683419"/>
                      </a:cubicBezTo>
                      <a:cubicBezTo>
                        <a:pt x="650788" y="677611"/>
                        <a:pt x="650195" y="673745"/>
                        <a:pt x="645581" y="669131"/>
                      </a:cubicBezTo>
                      <a:cubicBezTo>
                        <a:pt x="640966" y="664516"/>
                        <a:pt x="637102" y="663924"/>
                        <a:pt x="631293" y="661988"/>
                      </a:cubicBezTo>
                      <a:lnTo>
                        <a:pt x="609862" y="647700"/>
                      </a:lnTo>
                      <a:cubicBezTo>
                        <a:pt x="607481" y="646113"/>
                        <a:pt x="605433" y="643843"/>
                        <a:pt x="602718" y="642938"/>
                      </a:cubicBezTo>
                      <a:cubicBezTo>
                        <a:pt x="600337" y="642144"/>
                        <a:pt x="597820" y="641679"/>
                        <a:pt x="595575" y="640556"/>
                      </a:cubicBezTo>
                      <a:cubicBezTo>
                        <a:pt x="577121" y="631329"/>
                        <a:pt x="599234" y="639394"/>
                        <a:pt x="581287" y="633413"/>
                      </a:cubicBezTo>
                      <a:lnTo>
                        <a:pt x="567000" y="623888"/>
                      </a:lnTo>
                      <a:cubicBezTo>
                        <a:pt x="559976" y="619205"/>
                        <a:pt x="558442" y="618856"/>
                        <a:pt x="552712" y="611981"/>
                      </a:cubicBezTo>
                      <a:cubicBezTo>
                        <a:pt x="550880" y="609783"/>
                        <a:pt x="549851" y="606977"/>
                        <a:pt x="547950" y="604838"/>
                      </a:cubicBezTo>
                      <a:cubicBezTo>
                        <a:pt x="543475" y="599804"/>
                        <a:pt x="538425" y="595313"/>
                        <a:pt x="533662" y="590550"/>
                      </a:cubicBezTo>
                      <a:cubicBezTo>
                        <a:pt x="528396" y="585284"/>
                        <a:pt x="526005" y="581959"/>
                        <a:pt x="519375" y="578644"/>
                      </a:cubicBezTo>
                      <a:cubicBezTo>
                        <a:pt x="517130" y="577522"/>
                        <a:pt x="514612" y="577057"/>
                        <a:pt x="512231" y="576263"/>
                      </a:cubicBezTo>
                      <a:cubicBezTo>
                        <a:pt x="495855" y="565346"/>
                        <a:pt x="503373" y="568549"/>
                        <a:pt x="490800" y="564356"/>
                      </a:cubicBezTo>
                      <a:cubicBezTo>
                        <a:pt x="488419" y="561975"/>
                        <a:pt x="486243" y="559369"/>
                        <a:pt x="483656" y="557213"/>
                      </a:cubicBezTo>
                      <a:cubicBezTo>
                        <a:pt x="481457" y="555381"/>
                        <a:pt x="478536" y="554474"/>
                        <a:pt x="476512" y="552450"/>
                      </a:cubicBezTo>
                      <a:cubicBezTo>
                        <a:pt x="474488" y="550426"/>
                        <a:pt x="473774" y="547330"/>
                        <a:pt x="471750" y="545306"/>
                      </a:cubicBezTo>
                      <a:cubicBezTo>
                        <a:pt x="467135" y="540691"/>
                        <a:pt x="463271" y="540099"/>
                        <a:pt x="457462" y="538163"/>
                      </a:cubicBezTo>
                      <a:lnTo>
                        <a:pt x="443175" y="528638"/>
                      </a:lnTo>
                      <a:cubicBezTo>
                        <a:pt x="440794" y="527050"/>
                        <a:pt x="438746" y="524780"/>
                        <a:pt x="436031" y="523875"/>
                      </a:cubicBezTo>
                      <a:lnTo>
                        <a:pt x="428887" y="521494"/>
                      </a:lnTo>
                      <a:cubicBezTo>
                        <a:pt x="418345" y="514466"/>
                        <a:pt x="407646" y="508682"/>
                        <a:pt x="400312" y="497681"/>
                      </a:cubicBezTo>
                      <a:cubicBezTo>
                        <a:pt x="388490" y="479948"/>
                        <a:pt x="403683" y="501726"/>
                        <a:pt x="388406" y="483394"/>
                      </a:cubicBezTo>
                      <a:cubicBezTo>
                        <a:pt x="378484" y="471488"/>
                        <a:pt x="389595" y="480218"/>
                        <a:pt x="376500" y="471488"/>
                      </a:cubicBezTo>
                      <a:cubicBezTo>
                        <a:pt x="371817" y="464464"/>
                        <a:pt x="371469" y="462930"/>
                        <a:pt x="364593" y="457200"/>
                      </a:cubicBezTo>
                      <a:cubicBezTo>
                        <a:pt x="362395" y="455368"/>
                        <a:pt x="359589" y="454339"/>
                        <a:pt x="357450" y="452438"/>
                      </a:cubicBezTo>
                      <a:cubicBezTo>
                        <a:pt x="352416" y="447963"/>
                        <a:pt x="343162" y="438150"/>
                        <a:pt x="343162" y="438150"/>
                      </a:cubicBezTo>
                      <a:cubicBezTo>
                        <a:pt x="342368" y="435769"/>
                        <a:pt x="342000" y="433200"/>
                        <a:pt x="340781" y="431006"/>
                      </a:cubicBezTo>
                      <a:cubicBezTo>
                        <a:pt x="338001" y="426003"/>
                        <a:pt x="331256" y="416719"/>
                        <a:pt x="331256" y="416719"/>
                      </a:cubicBezTo>
                      <a:cubicBezTo>
                        <a:pt x="330462" y="413544"/>
                        <a:pt x="329815" y="410329"/>
                        <a:pt x="328875" y="407194"/>
                      </a:cubicBezTo>
                      <a:cubicBezTo>
                        <a:pt x="327432" y="402385"/>
                        <a:pt x="325096" y="397829"/>
                        <a:pt x="324112" y="392906"/>
                      </a:cubicBezTo>
                      <a:cubicBezTo>
                        <a:pt x="322753" y="386113"/>
                        <a:pt x="321367" y="378197"/>
                        <a:pt x="319350" y="371475"/>
                      </a:cubicBezTo>
                      <a:cubicBezTo>
                        <a:pt x="317907" y="366667"/>
                        <a:pt x="317372" y="361365"/>
                        <a:pt x="314587" y="357188"/>
                      </a:cubicBezTo>
                      <a:cubicBezTo>
                        <a:pt x="311412" y="352425"/>
                        <a:pt x="309825" y="346075"/>
                        <a:pt x="305062" y="342900"/>
                      </a:cubicBezTo>
                      <a:cubicBezTo>
                        <a:pt x="279543" y="325890"/>
                        <a:pt x="318266" y="352376"/>
                        <a:pt x="290775" y="330994"/>
                      </a:cubicBezTo>
                      <a:cubicBezTo>
                        <a:pt x="286257" y="327480"/>
                        <a:pt x="281250" y="324644"/>
                        <a:pt x="276487" y="321469"/>
                      </a:cubicBezTo>
                      <a:cubicBezTo>
                        <a:pt x="274106" y="319881"/>
                        <a:pt x="272058" y="317611"/>
                        <a:pt x="269343" y="316706"/>
                      </a:cubicBezTo>
                      <a:lnTo>
                        <a:pt x="255056" y="311944"/>
                      </a:lnTo>
                      <a:lnTo>
                        <a:pt x="247912" y="309563"/>
                      </a:lnTo>
                      <a:cubicBezTo>
                        <a:pt x="245531" y="307975"/>
                        <a:pt x="243328" y="306080"/>
                        <a:pt x="240768" y="304800"/>
                      </a:cubicBezTo>
                      <a:cubicBezTo>
                        <a:pt x="230025" y="299428"/>
                        <a:pt x="236722" y="306190"/>
                        <a:pt x="226481" y="297656"/>
                      </a:cubicBezTo>
                      <a:cubicBezTo>
                        <a:pt x="223894" y="295500"/>
                        <a:pt x="221995" y="292580"/>
                        <a:pt x="219337" y="290513"/>
                      </a:cubicBezTo>
                      <a:cubicBezTo>
                        <a:pt x="207055" y="280960"/>
                        <a:pt x="208685" y="282200"/>
                        <a:pt x="197906" y="278606"/>
                      </a:cubicBezTo>
                      <a:cubicBezTo>
                        <a:pt x="195525" y="276225"/>
                        <a:pt x="193349" y="273619"/>
                        <a:pt x="190762" y="271463"/>
                      </a:cubicBezTo>
                      <a:cubicBezTo>
                        <a:pt x="188563" y="269631"/>
                        <a:pt x="185642" y="268724"/>
                        <a:pt x="183618" y="266700"/>
                      </a:cubicBezTo>
                      <a:cubicBezTo>
                        <a:pt x="181594" y="264676"/>
                        <a:pt x="180519" y="261885"/>
                        <a:pt x="178856" y="259556"/>
                      </a:cubicBezTo>
                      <a:cubicBezTo>
                        <a:pt x="176549" y="256326"/>
                        <a:pt x="174093" y="253206"/>
                        <a:pt x="171712" y="250031"/>
                      </a:cubicBezTo>
                      <a:cubicBezTo>
                        <a:pt x="169325" y="242870"/>
                        <a:pt x="169698" y="241900"/>
                        <a:pt x="164568" y="235744"/>
                      </a:cubicBezTo>
                      <a:cubicBezTo>
                        <a:pt x="162412" y="233157"/>
                        <a:pt x="159492" y="231258"/>
                        <a:pt x="157425" y="228600"/>
                      </a:cubicBezTo>
                      <a:cubicBezTo>
                        <a:pt x="153911" y="224082"/>
                        <a:pt x="151075" y="219075"/>
                        <a:pt x="147900" y="214313"/>
                      </a:cubicBezTo>
                      <a:lnTo>
                        <a:pt x="133612" y="192881"/>
                      </a:lnTo>
                      <a:cubicBezTo>
                        <a:pt x="132025" y="190500"/>
                        <a:pt x="129755" y="188453"/>
                        <a:pt x="128850" y="185738"/>
                      </a:cubicBezTo>
                      <a:cubicBezTo>
                        <a:pt x="125403" y="175399"/>
                        <a:pt x="128243" y="180369"/>
                        <a:pt x="119325" y="171450"/>
                      </a:cubicBezTo>
                      <a:cubicBezTo>
                        <a:pt x="118531" y="169069"/>
                        <a:pt x="118162" y="166500"/>
                        <a:pt x="116943" y="164306"/>
                      </a:cubicBezTo>
                      <a:cubicBezTo>
                        <a:pt x="114163" y="159303"/>
                        <a:pt x="110593" y="154781"/>
                        <a:pt x="107418" y="150019"/>
                      </a:cubicBezTo>
                      <a:lnTo>
                        <a:pt x="102656" y="142875"/>
                      </a:lnTo>
                      <a:lnTo>
                        <a:pt x="93131" y="128588"/>
                      </a:lnTo>
                      <a:cubicBezTo>
                        <a:pt x="91543" y="126207"/>
                        <a:pt x="90749" y="123032"/>
                        <a:pt x="88368" y="121444"/>
                      </a:cubicBezTo>
                      <a:cubicBezTo>
                        <a:pt x="71992" y="110527"/>
                        <a:pt x="79511" y="113729"/>
                        <a:pt x="66937" y="109538"/>
                      </a:cubicBezTo>
                      <a:lnTo>
                        <a:pt x="38362" y="90488"/>
                      </a:lnTo>
                      <a:lnTo>
                        <a:pt x="24075" y="80963"/>
                      </a:lnTo>
                      <a:cubicBezTo>
                        <a:pt x="14216" y="77676"/>
                        <a:pt x="19020" y="79973"/>
                        <a:pt x="9787" y="73819"/>
                      </a:cubicBezTo>
                      <a:cubicBezTo>
                        <a:pt x="4585" y="66015"/>
                        <a:pt x="-1326" y="58738"/>
                        <a:pt x="262" y="547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7" name="Freeform 326"/>
                <p:cNvSpPr/>
                <p:nvPr/>
              </p:nvSpPr>
              <p:spPr>
                <a:xfrm>
                  <a:off x="2041116" y="3563752"/>
                  <a:ext cx="1031097" cy="823912"/>
                </a:xfrm>
                <a:custGeom>
                  <a:avLst/>
                  <a:gdLst>
                    <a:gd name="connsiteX0" fmla="*/ 15 w 1031097"/>
                    <a:gd name="connsiteY0" fmla="*/ 269081 h 823912"/>
                    <a:gd name="connsiteX1" fmla="*/ 11922 w 1031097"/>
                    <a:gd name="connsiteY1" fmla="*/ 266700 h 823912"/>
                    <a:gd name="connsiteX2" fmla="*/ 23828 w 1031097"/>
                    <a:gd name="connsiteY2" fmla="*/ 280987 h 823912"/>
                    <a:gd name="connsiteX3" fmla="*/ 30972 w 1031097"/>
                    <a:gd name="connsiteY3" fmla="*/ 283368 h 823912"/>
                    <a:gd name="connsiteX4" fmla="*/ 38115 w 1031097"/>
                    <a:gd name="connsiteY4" fmla="*/ 297656 h 823912"/>
                    <a:gd name="connsiteX5" fmla="*/ 42878 w 1031097"/>
                    <a:gd name="connsiteY5" fmla="*/ 304800 h 823912"/>
                    <a:gd name="connsiteX6" fmla="*/ 45259 w 1031097"/>
                    <a:gd name="connsiteY6" fmla="*/ 316706 h 823912"/>
                    <a:gd name="connsiteX7" fmla="*/ 47640 w 1031097"/>
                    <a:gd name="connsiteY7" fmla="*/ 323850 h 823912"/>
                    <a:gd name="connsiteX8" fmla="*/ 54784 w 1031097"/>
                    <a:gd name="connsiteY8" fmla="*/ 350043 h 823912"/>
                    <a:gd name="connsiteX9" fmla="*/ 61928 w 1031097"/>
                    <a:gd name="connsiteY9" fmla="*/ 352425 h 823912"/>
                    <a:gd name="connsiteX10" fmla="*/ 88122 w 1031097"/>
                    <a:gd name="connsiteY10" fmla="*/ 350043 h 823912"/>
                    <a:gd name="connsiteX11" fmla="*/ 97647 w 1031097"/>
                    <a:gd name="connsiteY11" fmla="*/ 352425 h 823912"/>
                    <a:gd name="connsiteX12" fmla="*/ 100028 w 1031097"/>
                    <a:gd name="connsiteY12" fmla="*/ 359568 h 823912"/>
                    <a:gd name="connsiteX13" fmla="*/ 104790 w 1031097"/>
                    <a:gd name="connsiteY13" fmla="*/ 366712 h 823912"/>
                    <a:gd name="connsiteX14" fmla="*/ 107172 w 1031097"/>
                    <a:gd name="connsiteY14" fmla="*/ 376237 h 823912"/>
                    <a:gd name="connsiteX15" fmla="*/ 109553 w 1031097"/>
                    <a:gd name="connsiteY15" fmla="*/ 383381 h 823912"/>
                    <a:gd name="connsiteX16" fmla="*/ 111934 w 1031097"/>
                    <a:gd name="connsiteY16" fmla="*/ 395287 h 823912"/>
                    <a:gd name="connsiteX17" fmla="*/ 114315 w 1031097"/>
                    <a:gd name="connsiteY17" fmla="*/ 404812 h 823912"/>
                    <a:gd name="connsiteX18" fmla="*/ 128603 w 1031097"/>
                    <a:gd name="connsiteY18" fmla="*/ 414337 h 823912"/>
                    <a:gd name="connsiteX19" fmla="*/ 135747 w 1031097"/>
                    <a:gd name="connsiteY19" fmla="*/ 419100 h 823912"/>
                    <a:gd name="connsiteX20" fmla="*/ 150034 w 1031097"/>
                    <a:gd name="connsiteY20" fmla="*/ 426243 h 823912"/>
                    <a:gd name="connsiteX21" fmla="*/ 192897 w 1031097"/>
                    <a:gd name="connsiteY21" fmla="*/ 428625 h 823912"/>
                    <a:gd name="connsiteX22" fmla="*/ 230997 w 1031097"/>
                    <a:gd name="connsiteY22" fmla="*/ 433387 h 823912"/>
                    <a:gd name="connsiteX23" fmla="*/ 242903 w 1031097"/>
                    <a:gd name="connsiteY23" fmla="*/ 435768 h 823912"/>
                    <a:gd name="connsiteX24" fmla="*/ 250047 w 1031097"/>
                    <a:gd name="connsiteY24" fmla="*/ 452437 h 823912"/>
                    <a:gd name="connsiteX25" fmla="*/ 240522 w 1031097"/>
                    <a:gd name="connsiteY25" fmla="*/ 473868 h 823912"/>
                    <a:gd name="connsiteX26" fmla="*/ 219090 w 1031097"/>
                    <a:gd name="connsiteY26" fmla="*/ 483393 h 823912"/>
                    <a:gd name="connsiteX27" fmla="*/ 200040 w 1031097"/>
                    <a:gd name="connsiteY27" fmla="*/ 488156 h 823912"/>
                    <a:gd name="connsiteX28" fmla="*/ 195278 w 1031097"/>
                    <a:gd name="connsiteY28" fmla="*/ 495300 h 823912"/>
                    <a:gd name="connsiteX29" fmla="*/ 188134 w 1031097"/>
                    <a:gd name="connsiteY29" fmla="*/ 509587 h 823912"/>
                    <a:gd name="connsiteX30" fmla="*/ 180990 w 1031097"/>
                    <a:gd name="connsiteY30" fmla="*/ 514350 h 823912"/>
                    <a:gd name="connsiteX31" fmla="*/ 169084 w 1031097"/>
                    <a:gd name="connsiteY31" fmla="*/ 523875 h 823912"/>
                    <a:gd name="connsiteX32" fmla="*/ 164322 w 1031097"/>
                    <a:gd name="connsiteY32" fmla="*/ 531018 h 823912"/>
                    <a:gd name="connsiteX33" fmla="*/ 171465 w 1031097"/>
                    <a:gd name="connsiteY33" fmla="*/ 547687 h 823912"/>
                    <a:gd name="connsiteX34" fmla="*/ 178609 w 1031097"/>
                    <a:gd name="connsiteY34" fmla="*/ 552450 h 823912"/>
                    <a:gd name="connsiteX35" fmla="*/ 190515 w 1031097"/>
                    <a:gd name="connsiteY35" fmla="*/ 564356 h 823912"/>
                    <a:gd name="connsiteX36" fmla="*/ 195278 w 1031097"/>
                    <a:gd name="connsiteY36" fmla="*/ 571500 h 823912"/>
                    <a:gd name="connsiteX37" fmla="*/ 209565 w 1031097"/>
                    <a:gd name="connsiteY37" fmla="*/ 581025 h 823912"/>
                    <a:gd name="connsiteX38" fmla="*/ 214328 w 1031097"/>
                    <a:gd name="connsiteY38" fmla="*/ 595312 h 823912"/>
                    <a:gd name="connsiteX39" fmla="*/ 228615 w 1031097"/>
                    <a:gd name="connsiteY39" fmla="*/ 607218 h 823912"/>
                    <a:gd name="connsiteX40" fmla="*/ 245284 w 1031097"/>
                    <a:gd name="connsiteY40" fmla="*/ 628650 h 823912"/>
                    <a:gd name="connsiteX41" fmla="*/ 252428 w 1031097"/>
                    <a:gd name="connsiteY41" fmla="*/ 631031 h 823912"/>
                    <a:gd name="connsiteX42" fmla="*/ 273859 w 1031097"/>
                    <a:gd name="connsiteY42" fmla="*/ 647700 h 823912"/>
                    <a:gd name="connsiteX43" fmla="*/ 304815 w 1031097"/>
                    <a:gd name="connsiteY43" fmla="*/ 652462 h 823912"/>
                    <a:gd name="connsiteX44" fmla="*/ 321484 w 1031097"/>
                    <a:gd name="connsiteY44" fmla="*/ 654843 h 823912"/>
                    <a:gd name="connsiteX45" fmla="*/ 335772 w 1031097"/>
                    <a:gd name="connsiteY45" fmla="*/ 659606 h 823912"/>
                    <a:gd name="connsiteX46" fmla="*/ 342915 w 1031097"/>
                    <a:gd name="connsiteY46" fmla="*/ 661987 h 823912"/>
                    <a:gd name="connsiteX47" fmla="*/ 357203 w 1031097"/>
                    <a:gd name="connsiteY47" fmla="*/ 671512 h 823912"/>
                    <a:gd name="connsiteX48" fmla="*/ 364347 w 1031097"/>
                    <a:gd name="connsiteY48" fmla="*/ 676275 h 823912"/>
                    <a:gd name="connsiteX49" fmla="*/ 371490 w 1031097"/>
                    <a:gd name="connsiteY49" fmla="*/ 678656 h 823912"/>
                    <a:gd name="connsiteX50" fmla="*/ 378634 w 1031097"/>
                    <a:gd name="connsiteY50" fmla="*/ 685800 h 823912"/>
                    <a:gd name="connsiteX51" fmla="*/ 392922 w 1031097"/>
                    <a:gd name="connsiteY51" fmla="*/ 695325 h 823912"/>
                    <a:gd name="connsiteX52" fmla="*/ 400065 w 1031097"/>
                    <a:gd name="connsiteY52" fmla="*/ 700087 h 823912"/>
                    <a:gd name="connsiteX53" fmla="*/ 407209 w 1031097"/>
                    <a:gd name="connsiteY53" fmla="*/ 704850 h 823912"/>
                    <a:gd name="connsiteX54" fmla="*/ 414353 w 1031097"/>
                    <a:gd name="connsiteY54" fmla="*/ 709612 h 823912"/>
                    <a:gd name="connsiteX55" fmla="*/ 419115 w 1031097"/>
                    <a:gd name="connsiteY55" fmla="*/ 716756 h 823912"/>
                    <a:gd name="connsiteX56" fmla="*/ 421497 w 1031097"/>
                    <a:gd name="connsiteY56" fmla="*/ 723900 h 823912"/>
                    <a:gd name="connsiteX57" fmla="*/ 428640 w 1031097"/>
                    <a:gd name="connsiteY57" fmla="*/ 731043 h 823912"/>
                    <a:gd name="connsiteX58" fmla="*/ 442928 w 1031097"/>
                    <a:gd name="connsiteY58" fmla="*/ 759618 h 823912"/>
                    <a:gd name="connsiteX59" fmla="*/ 447690 w 1031097"/>
                    <a:gd name="connsiteY59" fmla="*/ 773906 h 823912"/>
                    <a:gd name="connsiteX60" fmla="*/ 450072 w 1031097"/>
                    <a:gd name="connsiteY60" fmla="*/ 781050 h 823912"/>
                    <a:gd name="connsiteX61" fmla="*/ 452453 w 1031097"/>
                    <a:gd name="connsiteY61" fmla="*/ 795337 h 823912"/>
                    <a:gd name="connsiteX62" fmla="*/ 466740 w 1031097"/>
                    <a:gd name="connsiteY62" fmla="*/ 800100 h 823912"/>
                    <a:gd name="connsiteX63" fmla="*/ 473884 w 1031097"/>
                    <a:gd name="connsiteY63" fmla="*/ 804862 h 823912"/>
                    <a:gd name="connsiteX64" fmla="*/ 490553 w 1031097"/>
                    <a:gd name="connsiteY64" fmla="*/ 821531 h 823912"/>
                    <a:gd name="connsiteX65" fmla="*/ 500078 w 1031097"/>
                    <a:gd name="connsiteY65" fmla="*/ 823912 h 823912"/>
                    <a:gd name="connsiteX66" fmla="*/ 531034 w 1031097"/>
                    <a:gd name="connsiteY66" fmla="*/ 821531 h 823912"/>
                    <a:gd name="connsiteX67" fmla="*/ 545322 w 1031097"/>
                    <a:gd name="connsiteY67" fmla="*/ 816768 h 823912"/>
                    <a:gd name="connsiteX68" fmla="*/ 550084 w 1031097"/>
                    <a:gd name="connsiteY68" fmla="*/ 802481 h 823912"/>
                    <a:gd name="connsiteX69" fmla="*/ 557228 w 1031097"/>
                    <a:gd name="connsiteY69" fmla="*/ 762000 h 823912"/>
                    <a:gd name="connsiteX70" fmla="*/ 561990 w 1031097"/>
                    <a:gd name="connsiteY70" fmla="*/ 754856 h 823912"/>
                    <a:gd name="connsiteX71" fmla="*/ 566753 w 1031097"/>
                    <a:gd name="connsiteY71" fmla="*/ 726281 h 823912"/>
                    <a:gd name="connsiteX72" fmla="*/ 571515 w 1031097"/>
                    <a:gd name="connsiteY72" fmla="*/ 711993 h 823912"/>
                    <a:gd name="connsiteX73" fmla="*/ 583422 w 1031097"/>
                    <a:gd name="connsiteY73" fmla="*/ 690562 h 823912"/>
                    <a:gd name="connsiteX74" fmla="*/ 592947 w 1031097"/>
                    <a:gd name="connsiteY74" fmla="*/ 664368 h 823912"/>
                    <a:gd name="connsiteX75" fmla="*/ 600090 w 1031097"/>
                    <a:gd name="connsiteY75" fmla="*/ 650081 h 823912"/>
                    <a:gd name="connsiteX76" fmla="*/ 638190 w 1031097"/>
                    <a:gd name="connsiteY76" fmla="*/ 642937 h 823912"/>
                    <a:gd name="connsiteX77" fmla="*/ 647715 w 1031097"/>
                    <a:gd name="connsiteY77" fmla="*/ 640556 h 823912"/>
                    <a:gd name="connsiteX78" fmla="*/ 666765 w 1031097"/>
                    <a:gd name="connsiteY78" fmla="*/ 635793 h 823912"/>
                    <a:gd name="connsiteX79" fmla="*/ 709628 w 1031097"/>
                    <a:gd name="connsiteY79" fmla="*/ 633412 h 823912"/>
                    <a:gd name="connsiteX80" fmla="*/ 723915 w 1031097"/>
                    <a:gd name="connsiteY80" fmla="*/ 628650 h 823912"/>
                    <a:gd name="connsiteX81" fmla="*/ 742965 w 1031097"/>
                    <a:gd name="connsiteY81" fmla="*/ 623887 h 823912"/>
                    <a:gd name="connsiteX82" fmla="*/ 764397 w 1031097"/>
                    <a:gd name="connsiteY82" fmla="*/ 607218 h 823912"/>
                    <a:gd name="connsiteX83" fmla="*/ 771540 w 1031097"/>
                    <a:gd name="connsiteY83" fmla="*/ 604837 h 823912"/>
                    <a:gd name="connsiteX84" fmla="*/ 783447 w 1031097"/>
                    <a:gd name="connsiteY84" fmla="*/ 583406 h 823912"/>
                    <a:gd name="connsiteX85" fmla="*/ 785828 w 1031097"/>
                    <a:gd name="connsiteY85" fmla="*/ 569118 h 823912"/>
                    <a:gd name="connsiteX86" fmla="*/ 790590 w 1031097"/>
                    <a:gd name="connsiteY86" fmla="*/ 561975 h 823912"/>
                    <a:gd name="connsiteX87" fmla="*/ 809640 w 1031097"/>
                    <a:gd name="connsiteY87" fmla="*/ 557212 h 823912"/>
                    <a:gd name="connsiteX88" fmla="*/ 816784 w 1031097"/>
                    <a:gd name="connsiteY88" fmla="*/ 554831 h 823912"/>
                    <a:gd name="connsiteX89" fmla="*/ 833453 w 1031097"/>
                    <a:gd name="connsiteY89" fmla="*/ 533400 h 823912"/>
                    <a:gd name="connsiteX90" fmla="*/ 864409 w 1031097"/>
                    <a:gd name="connsiteY90" fmla="*/ 535781 h 823912"/>
                    <a:gd name="connsiteX91" fmla="*/ 883459 w 1031097"/>
                    <a:gd name="connsiteY91" fmla="*/ 547687 h 823912"/>
                    <a:gd name="connsiteX92" fmla="*/ 892984 w 1031097"/>
                    <a:gd name="connsiteY92" fmla="*/ 552450 h 823912"/>
                    <a:gd name="connsiteX93" fmla="*/ 900128 w 1031097"/>
                    <a:gd name="connsiteY93" fmla="*/ 557212 h 823912"/>
                    <a:gd name="connsiteX94" fmla="*/ 914415 w 1031097"/>
                    <a:gd name="connsiteY94" fmla="*/ 578643 h 823912"/>
                    <a:gd name="connsiteX95" fmla="*/ 919178 w 1031097"/>
                    <a:gd name="connsiteY95" fmla="*/ 585787 h 823912"/>
                    <a:gd name="connsiteX96" fmla="*/ 923940 w 1031097"/>
                    <a:gd name="connsiteY96" fmla="*/ 592931 h 823912"/>
                    <a:gd name="connsiteX97" fmla="*/ 931084 w 1031097"/>
                    <a:gd name="connsiteY97" fmla="*/ 600075 h 823912"/>
                    <a:gd name="connsiteX98" fmla="*/ 942990 w 1031097"/>
                    <a:gd name="connsiteY98" fmla="*/ 614362 h 823912"/>
                    <a:gd name="connsiteX99" fmla="*/ 945372 w 1031097"/>
                    <a:gd name="connsiteY99" fmla="*/ 621506 h 823912"/>
                    <a:gd name="connsiteX100" fmla="*/ 959659 w 1031097"/>
                    <a:gd name="connsiteY100" fmla="*/ 626268 h 823912"/>
                    <a:gd name="connsiteX101" fmla="*/ 976328 w 1031097"/>
                    <a:gd name="connsiteY101" fmla="*/ 623887 h 823912"/>
                    <a:gd name="connsiteX102" fmla="*/ 985853 w 1031097"/>
                    <a:gd name="connsiteY102" fmla="*/ 609600 h 823912"/>
                    <a:gd name="connsiteX103" fmla="*/ 988234 w 1031097"/>
                    <a:gd name="connsiteY103" fmla="*/ 600075 h 823912"/>
                    <a:gd name="connsiteX104" fmla="*/ 995378 w 1031097"/>
                    <a:gd name="connsiteY104" fmla="*/ 592931 h 823912"/>
                    <a:gd name="connsiteX105" fmla="*/ 1002522 w 1031097"/>
                    <a:gd name="connsiteY105" fmla="*/ 576262 h 823912"/>
                    <a:gd name="connsiteX106" fmla="*/ 990615 w 1031097"/>
                    <a:gd name="connsiteY106" fmla="*/ 531018 h 823912"/>
                    <a:gd name="connsiteX107" fmla="*/ 988234 w 1031097"/>
                    <a:gd name="connsiteY107" fmla="*/ 523875 h 823912"/>
                    <a:gd name="connsiteX108" fmla="*/ 983472 w 1031097"/>
                    <a:gd name="connsiteY108" fmla="*/ 504825 h 823912"/>
                    <a:gd name="connsiteX109" fmla="*/ 985853 w 1031097"/>
                    <a:gd name="connsiteY109" fmla="*/ 452437 h 823912"/>
                    <a:gd name="connsiteX110" fmla="*/ 1002522 w 1031097"/>
                    <a:gd name="connsiteY110" fmla="*/ 433387 h 823912"/>
                    <a:gd name="connsiteX111" fmla="*/ 1021572 w 1031097"/>
                    <a:gd name="connsiteY111" fmla="*/ 409575 h 823912"/>
                    <a:gd name="connsiteX112" fmla="*/ 1023953 w 1031097"/>
                    <a:gd name="connsiteY112" fmla="*/ 397668 h 823912"/>
                    <a:gd name="connsiteX113" fmla="*/ 1026334 w 1031097"/>
                    <a:gd name="connsiteY113" fmla="*/ 376237 h 823912"/>
                    <a:gd name="connsiteX114" fmla="*/ 1031097 w 1031097"/>
                    <a:gd name="connsiteY114" fmla="*/ 357187 h 823912"/>
                    <a:gd name="connsiteX115" fmla="*/ 1026334 w 1031097"/>
                    <a:gd name="connsiteY115" fmla="*/ 330993 h 823912"/>
                    <a:gd name="connsiteX116" fmla="*/ 1021572 w 1031097"/>
                    <a:gd name="connsiteY116" fmla="*/ 323850 h 823912"/>
                    <a:gd name="connsiteX117" fmla="*/ 1019190 w 1031097"/>
                    <a:gd name="connsiteY117" fmla="*/ 309562 h 823912"/>
                    <a:gd name="connsiteX118" fmla="*/ 997759 w 1031097"/>
                    <a:gd name="connsiteY118" fmla="*/ 302418 h 823912"/>
                    <a:gd name="connsiteX119" fmla="*/ 952515 w 1031097"/>
                    <a:gd name="connsiteY119" fmla="*/ 297656 h 823912"/>
                    <a:gd name="connsiteX120" fmla="*/ 942990 w 1031097"/>
                    <a:gd name="connsiteY120" fmla="*/ 252412 h 823912"/>
                    <a:gd name="connsiteX121" fmla="*/ 940609 w 1031097"/>
                    <a:gd name="connsiteY121" fmla="*/ 245268 h 823912"/>
                    <a:gd name="connsiteX122" fmla="*/ 935847 w 1031097"/>
                    <a:gd name="connsiteY122" fmla="*/ 238125 h 823912"/>
                    <a:gd name="connsiteX123" fmla="*/ 928703 w 1031097"/>
                    <a:gd name="connsiteY123" fmla="*/ 235743 h 823912"/>
                    <a:gd name="connsiteX124" fmla="*/ 907272 w 1031097"/>
                    <a:gd name="connsiteY124" fmla="*/ 233362 h 823912"/>
                    <a:gd name="connsiteX125" fmla="*/ 900128 w 1031097"/>
                    <a:gd name="connsiteY125" fmla="*/ 226218 h 823912"/>
                    <a:gd name="connsiteX126" fmla="*/ 897747 w 1031097"/>
                    <a:gd name="connsiteY126" fmla="*/ 216693 h 823912"/>
                    <a:gd name="connsiteX127" fmla="*/ 892984 w 1031097"/>
                    <a:gd name="connsiteY127" fmla="*/ 200025 h 823912"/>
                    <a:gd name="connsiteX128" fmla="*/ 890603 w 1031097"/>
                    <a:gd name="connsiteY128" fmla="*/ 183356 h 823912"/>
                    <a:gd name="connsiteX129" fmla="*/ 883459 w 1031097"/>
                    <a:gd name="connsiteY129" fmla="*/ 178593 h 823912"/>
                    <a:gd name="connsiteX130" fmla="*/ 862028 w 1031097"/>
                    <a:gd name="connsiteY130" fmla="*/ 173831 h 823912"/>
                    <a:gd name="connsiteX131" fmla="*/ 852503 w 1031097"/>
                    <a:gd name="connsiteY131" fmla="*/ 171450 h 823912"/>
                    <a:gd name="connsiteX132" fmla="*/ 838215 w 1031097"/>
                    <a:gd name="connsiteY132" fmla="*/ 166687 h 823912"/>
                    <a:gd name="connsiteX133" fmla="*/ 712009 w 1031097"/>
                    <a:gd name="connsiteY133" fmla="*/ 169068 h 823912"/>
                    <a:gd name="connsiteX134" fmla="*/ 704865 w 1031097"/>
                    <a:gd name="connsiteY134" fmla="*/ 171450 h 823912"/>
                    <a:gd name="connsiteX135" fmla="*/ 697722 w 1031097"/>
                    <a:gd name="connsiteY135" fmla="*/ 176212 h 823912"/>
                    <a:gd name="connsiteX136" fmla="*/ 692959 w 1031097"/>
                    <a:gd name="connsiteY136" fmla="*/ 183356 h 823912"/>
                    <a:gd name="connsiteX137" fmla="*/ 681053 w 1031097"/>
                    <a:gd name="connsiteY137" fmla="*/ 197643 h 823912"/>
                    <a:gd name="connsiteX138" fmla="*/ 678672 w 1031097"/>
                    <a:gd name="connsiteY138" fmla="*/ 204787 h 823912"/>
                    <a:gd name="connsiteX139" fmla="*/ 673909 w 1031097"/>
                    <a:gd name="connsiteY139" fmla="*/ 211931 h 823912"/>
                    <a:gd name="connsiteX140" fmla="*/ 669147 w 1031097"/>
                    <a:gd name="connsiteY140" fmla="*/ 226218 h 823912"/>
                    <a:gd name="connsiteX141" fmla="*/ 664384 w 1031097"/>
                    <a:gd name="connsiteY141" fmla="*/ 178593 h 823912"/>
                    <a:gd name="connsiteX142" fmla="*/ 659622 w 1031097"/>
                    <a:gd name="connsiteY142" fmla="*/ 164306 h 823912"/>
                    <a:gd name="connsiteX143" fmla="*/ 664384 w 1031097"/>
                    <a:gd name="connsiteY143" fmla="*/ 157162 h 823912"/>
                    <a:gd name="connsiteX144" fmla="*/ 678672 w 1031097"/>
                    <a:gd name="connsiteY144" fmla="*/ 152400 h 823912"/>
                    <a:gd name="connsiteX145" fmla="*/ 685815 w 1031097"/>
                    <a:gd name="connsiteY145" fmla="*/ 150018 h 823912"/>
                    <a:gd name="connsiteX146" fmla="*/ 692959 w 1031097"/>
                    <a:gd name="connsiteY146" fmla="*/ 147637 h 823912"/>
                    <a:gd name="connsiteX147" fmla="*/ 700103 w 1031097"/>
                    <a:gd name="connsiteY147" fmla="*/ 142875 h 823912"/>
                    <a:gd name="connsiteX148" fmla="*/ 721534 w 1031097"/>
                    <a:gd name="connsiteY148" fmla="*/ 135731 h 823912"/>
                    <a:gd name="connsiteX149" fmla="*/ 728678 w 1031097"/>
                    <a:gd name="connsiteY149" fmla="*/ 133350 h 823912"/>
                    <a:gd name="connsiteX150" fmla="*/ 728678 w 1031097"/>
                    <a:gd name="connsiteY150" fmla="*/ 111918 h 823912"/>
                    <a:gd name="connsiteX151" fmla="*/ 719153 w 1031097"/>
                    <a:gd name="connsiteY151" fmla="*/ 90487 h 823912"/>
                    <a:gd name="connsiteX152" fmla="*/ 712009 w 1031097"/>
                    <a:gd name="connsiteY152" fmla="*/ 85725 h 823912"/>
                    <a:gd name="connsiteX153" fmla="*/ 688197 w 1031097"/>
                    <a:gd name="connsiteY153" fmla="*/ 78581 h 823912"/>
                    <a:gd name="connsiteX154" fmla="*/ 673909 w 1031097"/>
                    <a:gd name="connsiteY154" fmla="*/ 73818 h 823912"/>
                    <a:gd name="connsiteX155" fmla="*/ 666765 w 1031097"/>
                    <a:gd name="connsiteY155" fmla="*/ 71437 h 823912"/>
                    <a:gd name="connsiteX156" fmla="*/ 657240 w 1031097"/>
                    <a:gd name="connsiteY156" fmla="*/ 69056 h 823912"/>
                    <a:gd name="connsiteX157" fmla="*/ 645334 w 1031097"/>
                    <a:gd name="connsiteY157" fmla="*/ 57150 h 823912"/>
                    <a:gd name="connsiteX158" fmla="*/ 638190 w 1031097"/>
                    <a:gd name="connsiteY158" fmla="*/ 40481 h 823912"/>
                    <a:gd name="connsiteX159" fmla="*/ 628665 w 1031097"/>
                    <a:gd name="connsiteY159" fmla="*/ 38100 h 823912"/>
                    <a:gd name="connsiteX160" fmla="*/ 621522 w 1031097"/>
                    <a:gd name="connsiteY160" fmla="*/ 33337 h 823912"/>
                    <a:gd name="connsiteX161" fmla="*/ 614378 w 1031097"/>
                    <a:gd name="connsiteY161" fmla="*/ 30956 h 823912"/>
                    <a:gd name="connsiteX162" fmla="*/ 611997 w 1031097"/>
                    <a:gd name="connsiteY162" fmla="*/ 21431 h 823912"/>
                    <a:gd name="connsiteX163" fmla="*/ 609615 w 1031097"/>
                    <a:gd name="connsiteY163" fmla="*/ 7143 h 823912"/>
                    <a:gd name="connsiteX164" fmla="*/ 595328 w 1031097"/>
                    <a:gd name="connsiteY164" fmla="*/ 0 h 823912"/>
                    <a:gd name="connsiteX165" fmla="*/ 583422 w 1031097"/>
                    <a:gd name="connsiteY165" fmla="*/ 2381 h 823912"/>
                    <a:gd name="connsiteX166" fmla="*/ 569134 w 1031097"/>
                    <a:gd name="connsiteY166" fmla="*/ 7143 h 823912"/>
                    <a:gd name="connsiteX167" fmla="*/ 554847 w 1031097"/>
                    <a:gd name="connsiteY167" fmla="*/ 16668 h 823912"/>
                    <a:gd name="connsiteX168" fmla="*/ 516747 w 1031097"/>
                    <a:gd name="connsiteY168" fmla="*/ 11906 h 823912"/>
                    <a:gd name="connsiteX169" fmla="*/ 488172 w 1031097"/>
                    <a:gd name="connsiteY169" fmla="*/ 14287 h 823912"/>
                    <a:gd name="connsiteX170" fmla="*/ 473884 w 1031097"/>
                    <a:gd name="connsiteY170" fmla="*/ 16668 h 823912"/>
                    <a:gd name="connsiteX171" fmla="*/ 450072 w 1031097"/>
                    <a:gd name="connsiteY171" fmla="*/ 19050 h 823912"/>
                    <a:gd name="connsiteX172" fmla="*/ 433403 w 1031097"/>
                    <a:gd name="connsiteY172" fmla="*/ 23812 h 823912"/>
                    <a:gd name="connsiteX173" fmla="*/ 411972 w 1031097"/>
                    <a:gd name="connsiteY173" fmla="*/ 30956 h 823912"/>
                    <a:gd name="connsiteX174" fmla="*/ 404828 w 1031097"/>
                    <a:gd name="connsiteY174" fmla="*/ 33337 h 823912"/>
                    <a:gd name="connsiteX175" fmla="*/ 397684 w 1031097"/>
                    <a:gd name="connsiteY175" fmla="*/ 35718 h 823912"/>
                    <a:gd name="connsiteX176" fmla="*/ 390540 w 1031097"/>
                    <a:gd name="connsiteY176" fmla="*/ 40481 h 823912"/>
                    <a:gd name="connsiteX177" fmla="*/ 376253 w 1031097"/>
                    <a:gd name="connsiteY177" fmla="*/ 45243 h 823912"/>
                    <a:gd name="connsiteX178" fmla="*/ 361965 w 1031097"/>
                    <a:gd name="connsiteY178" fmla="*/ 54768 h 823912"/>
                    <a:gd name="connsiteX179" fmla="*/ 354822 w 1031097"/>
                    <a:gd name="connsiteY179" fmla="*/ 59531 h 823912"/>
                    <a:gd name="connsiteX180" fmla="*/ 350059 w 1031097"/>
                    <a:gd name="connsiteY180" fmla="*/ 121443 h 823912"/>
                    <a:gd name="connsiteX181" fmla="*/ 345297 w 1031097"/>
                    <a:gd name="connsiteY181" fmla="*/ 135731 h 823912"/>
                    <a:gd name="connsiteX182" fmla="*/ 340534 w 1031097"/>
                    <a:gd name="connsiteY182" fmla="*/ 150018 h 823912"/>
                    <a:gd name="connsiteX183" fmla="*/ 338153 w 1031097"/>
                    <a:gd name="connsiteY183" fmla="*/ 157162 h 823912"/>
                    <a:gd name="connsiteX184" fmla="*/ 323865 w 1031097"/>
                    <a:gd name="connsiteY184" fmla="*/ 161925 h 823912"/>
                    <a:gd name="connsiteX185" fmla="*/ 307197 w 1031097"/>
                    <a:gd name="connsiteY185" fmla="*/ 159543 h 823912"/>
                    <a:gd name="connsiteX186" fmla="*/ 292909 w 1031097"/>
                    <a:gd name="connsiteY186" fmla="*/ 154781 h 823912"/>
                    <a:gd name="connsiteX187" fmla="*/ 278622 w 1031097"/>
                    <a:gd name="connsiteY187" fmla="*/ 142875 h 823912"/>
                    <a:gd name="connsiteX188" fmla="*/ 266715 w 1031097"/>
                    <a:gd name="connsiteY188" fmla="*/ 130968 h 823912"/>
                    <a:gd name="connsiteX189" fmla="*/ 207184 w 1031097"/>
                    <a:gd name="connsiteY189" fmla="*/ 133350 h 823912"/>
                    <a:gd name="connsiteX190" fmla="*/ 200040 w 1031097"/>
                    <a:gd name="connsiteY190" fmla="*/ 135731 h 823912"/>
                    <a:gd name="connsiteX191" fmla="*/ 195278 w 1031097"/>
                    <a:gd name="connsiteY191" fmla="*/ 145256 h 823912"/>
                    <a:gd name="connsiteX192" fmla="*/ 190515 w 1031097"/>
                    <a:gd name="connsiteY192" fmla="*/ 152400 h 823912"/>
                    <a:gd name="connsiteX193" fmla="*/ 183372 w 1031097"/>
                    <a:gd name="connsiteY193" fmla="*/ 180975 h 823912"/>
                    <a:gd name="connsiteX194" fmla="*/ 178609 w 1031097"/>
                    <a:gd name="connsiteY194" fmla="*/ 200025 h 823912"/>
                    <a:gd name="connsiteX195" fmla="*/ 161940 w 1031097"/>
                    <a:gd name="connsiteY195" fmla="*/ 207168 h 823912"/>
                    <a:gd name="connsiteX196" fmla="*/ 123840 w 1031097"/>
                    <a:gd name="connsiteY196" fmla="*/ 209550 h 823912"/>
                    <a:gd name="connsiteX197" fmla="*/ 111934 w 1031097"/>
                    <a:gd name="connsiteY197" fmla="*/ 211931 h 823912"/>
                    <a:gd name="connsiteX198" fmla="*/ 97647 w 1031097"/>
                    <a:gd name="connsiteY198" fmla="*/ 216693 h 823912"/>
                    <a:gd name="connsiteX199" fmla="*/ 83359 w 1031097"/>
                    <a:gd name="connsiteY199" fmla="*/ 221456 h 823912"/>
                    <a:gd name="connsiteX200" fmla="*/ 76215 w 1031097"/>
                    <a:gd name="connsiteY200" fmla="*/ 223837 h 823912"/>
                    <a:gd name="connsiteX201" fmla="*/ 50022 w 1031097"/>
                    <a:gd name="connsiteY201" fmla="*/ 228600 h 823912"/>
                    <a:gd name="connsiteX202" fmla="*/ 40497 w 1031097"/>
                    <a:gd name="connsiteY202" fmla="*/ 230981 h 823912"/>
                    <a:gd name="connsiteX203" fmla="*/ 23828 w 1031097"/>
                    <a:gd name="connsiteY203" fmla="*/ 240506 h 823912"/>
                    <a:gd name="connsiteX204" fmla="*/ 16684 w 1031097"/>
                    <a:gd name="connsiteY204" fmla="*/ 242887 h 823912"/>
                    <a:gd name="connsiteX205" fmla="*/ 9540 w 1031097"/>
                    <a:gd name="connsiteY205" fmla="*/ 247650 h 823912"/>
                    <a:gd name="connsiteX206" fmla="*/ 15 w 1031097"/>
                    <a:gd name="connsiteY206" fmla="*/ 269081 h 82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031097" h="823912">
                      <a:moveTo>
                        <a:pt x="15" y="269081"/>
                      </a:moveTo>
                      <a:cubicBezTo>
                        <a:pt x="412" y="272256"/>
                        <a:pt x="7995" y="265718"/>
                        <a:pt x="11922" y="266700"/>
                      </a:cubicBezTo>
                      <a:cubicBezTo>
                        <a:pt x="18516" y="268348"/>
                        <a:pt x="19384" y="277432"/>
                        <a:pt x="23828" y="280987"/>
                      </a:cubicBezTo>
                      <a:cubicBezTo>
                        <a:pt x="25788" y="282555"/>
                        <a:pt x="28591" y="282574"/>
                        <a:pt x="30972" y="283368"/>
                      </a:cubicBezTo>
                      <a:cubicBezTo>
                        <a:pt x="44625" y="303851"/>
                        <a:pt x="28252" y="277930"/>
                        <a:pt x="38115" y="297656"/>
                      </a:cubicBezTo>
                      <a:cubicBezTo>
                        <a:pt x="39395" y="300216"/>
                        <a:pt x="41290" y="302419"/>
                        <a:pt x="42878" y="304800"/>
                      </a:cubicBezTo>
                      <a:cubicBezTo>
                        <a:pt x="43672" y="308769"/>
                        <a:pt x="44277" y="312780"/>
                        <a:pt x="45259" y="316706"/>
                      </a:cubicBezTo>
                      <a:cubicBezTo>
                        <a:pt x="45868" y="319141"/>
                        <a:pt x="47191" y="321380"/>
                        <a:pt x="47640" y="323850"/>
                      </a:cubicBezTo>
                      <a:cubicBezTo>
                        <a:pt x="49063" y="331677"/>
                        <a:pt x="47060" y="343863"/>
                        <a:pt x="54784" y="350043"/>
                      </a:cubicBezTo>
                      <a:cubicBezTo>
                        <a:pt x="56744" y="351611"/>
                        <a:pt x="59547" y="351631"/>
                        <a:pt x="61928" y="352425"/>
                      </a:cubicBezTo>
                      <a:cubicBezTo>
                        <a:pt x="70659" y="351631"/>
                        <a:pt x="79355" y="350043"/>
                        <a:pt x="88122" y="350043"/>
                      </a:cubicBezTo>
                      <a:cubicBezTo>
                        <a:pt x="91395" y="350043"/>
                        <a:pt x="95091" y="350380"/>
                        <a:pt x="97647" y="352425"/>
                      </a:cubicBezTo>
                      <a:cubicBezTo>
                        <a:pt x="99607" y="353993"/>
                        <a:pt x="98906" y="357323"/>
                        <a:pt x="100028" y="359568"/>
                      </a:cubicBezTo>
                      <a:cubicBezTo>
                        <a:pt x="101308" y="362128"/>
                        <a:pt x="103203" y="364331"/>
                        <a:pt x="104790" y="366712"/>
                      </a:cubicBezTo>
                      <a:cubicBezTo>
                        <a:pt x="105584" y="369887"/>
                        <a:pt x="106273" y="373090"/>
                        <a:pt x="107172" y="376237"/>
                      </a:cubicBezTo>
                      <a:cubicBezTo>
                        <a:pt x="107862" y="378651"/>
                        <a:pt x="108944" y="380946"/>
                        <a:pt x="109553" y="383381"/>
                      </a:cubicBezTo>
                      <a:cubicBezTo>
                        <a:pt x="110535" y="387307"/>
                        <a:pt x="111056" y="391336"/>
                        <a:pt x="111934" y="395287"/>
                      </a:cubicBezTo>
                      <a:cubicBezTo>
                        <a:pt x="112644" y="398482"/>
                        <a:pt x="112160" y="402349"/>
                        <a:pt x="114315" y="404812"/>
                      </a:cubicBezTo>
                      <a:cubicBezTo>
                        <a:pt x="118084" y="409120"/>
                        <a:pt x="123840" y="411162"/>
                        <a:pt x="128603" y="414337"/>
                      </a:cubicBezTo>
                      <a:lnTo>
                        <a:pt x="135747" y="419100"/>
                      </a:lnTo>
                      <a:cubicBezTo>
                        <a:pt x="140296" y="422133"/>
                        <a:pt x="144282" y="425695"/>
                        <a:pt x="150034" y="426243"/>
                      </a:cubicBezTo>
                      <a:cubicBezTo>
                        <a:pt x="164279" y="427600"/>
                        <a:pt x="178609" y="427831"/>
                        <a:pt x="192897" y="428625"/>
                      </a:cubicBezTo>
                      <a:cubicBezTo>
                        <a:pt x="219742" y="433994"/>
                        <a:pt x="187034" y="427892"/>
                        <a:pt x="230997" y="433387"/>
                      </a:cubicBezTo>
                      <a:cubicBezTo>
                        <a:pt x="235013" y="433889"/>
                        <a:pt x="238934" y="434974"/>
                        <a:pt x="242903" y="435768"/>
                      </a:cubicBezTo>
                      <a:cubicBezTo>
                        <a:pt x="246206" y="440723"/>
                        <a:pt x="250715" y="445753"/>
                        <a:pt x="250047" y="452437"/>
                      </a:cubicBezTo>
                      <a:cubicBezTo>
                        <a:pt x="249523" y="457676"/>
                        <a:pt x="245137" y="469253"/>
                        <a:pt x="240522" y="473868"/>
                      </a:cubicBezTo>
                      <a:cubicBezTo>
                        <a:pt x="234860" y="479530"/>
                        <a:pt x="226167" y="481034"/>
                        <a:pt x="219090" y="483393"/>
                      </a:cubicBezTo>
                      <a:cubicBezTo>
                        <a:pt x="208097" y="487057"/>
                        <a:pt x="214425" y="485280"/>
                        <a:pt x="200040" y="488156"/>
                      </a:cubicBezTo>
                      <a:cubicBezTo>
                        <a:pt x="198453" y="490537"/>
                        <a:pt x="196558" y="492740"/>
                        <a:pt x="195278" y="495300"/>
                      </a:cubicBezTo>
                      <a:cubicBezTo>
                        <a:pt x="191405" y="503047"/>
                        <a:pt x="194959" y="502762"/>
                        <a:pt x="188134" y="509587"/>
                      </a:cubicBezTo>
                      <a:cubicBezTo>
                        <a:pt x="186110" y="511611"/>
                        <a:pt x="183371" y="512762"/>
                        <a:pt x="180990" y="514350"/>
                      </a:cubicBezTo>
                      <a:cubicBezTo>
                        <a:pt x="167344" y="534819"/>
                        <a:pt x="185514" y="510731"/>
                        <a:pt x="169084" y="523875"/>
                      </a:cubicBezTo>
                      <a:cubicBezTo>
                        <a:pt x="166849" y="525663"/>
                        <a:pt x="165909" y="528637"/>
                        <a:pt x="164322" y="531018"/>
                      </a:cubicBezTo>
                      <a:cubicBezTo>
                        <a:pt x="166143" y="538304"/>
                        <a:pt x="165984" y="542206"/>
                        <a:pt x="171465" y="547687"/>
                      </a:cubicBezTo>
                      <a:cubicBezTo>
                        <a:pt x="173489" y="549711"/>
                        <a:pt x="176228" y="550862"/>
                        <a:pt x="178609" y="552450"/>
                      </a:cubicBezTo>
                      <a:cubicBezTo>
                        <a:pt x="191313" y="571502"/>
                        <a:pt x="174638" y="548477"/>
                        <a:pt x="190515" y="564356"/>
                      </a:cubicBezTo>
                      <a:cubicBezTo>
                        <a:pt x="192539" y="566380"/>
                        <a:pt x="193124" y="569615"/>
                        <a:pt x="195278" y="571500"/>
                      </a:cubicBezTo>
                      <a:cubicBezTo>
                        <a:pt x="199585" y="575269"/>
                        <a:pt x="209565" y="581025"/>
                        <a:pt x="209565" y="581025"/>
                      </a:cubicBezTo>
                      <a:cubicBezTo>
                        <a:pt x="211153" y="585787"/>
                        <a:pt x="210151" y="592527"/>
                        <a:pt x="214328" y="595312"/>
                      </a:cubicBezTo>
                      <a:cubicBezTo>
                        <a:pt x="220677" y="599545"/>
                        <a:pt x="223680" y="600872"/>
                        <a:pt x="228615" y="607218"/>
                      </a:cubicBezTo>
                      <a:cubicBezTo>
                        <a:pt x="233710" y="613768"/>
                        <a:pt x="237798" y="623660"/>
                        <a:pt x="245284" y="628650"/>
                      </a:cubicBezTo>
                      <a:cubicBezTo>
                        <a:pt x="247373" y="630042"/>
                        <a:pt x="250047" y="630237"/>
                        <a:pt x="252428" y="631031"/>
                      </a:cubicBezTo>
                      <a:cubicBezTo>
                        <a:pt x="258591" y="637194"/>
                        <a:pt x="265316" y="644853"/>
                        <a:pt x="273859" y="647700"/>
                      </a:cubicBezTo>
                      <a:cubicBezTo>
                        <a:pt x="289248" y="652829"/>
                        <a:pt x="276353" y="649114"/>
                        <a:pt x="304815" y="652462"/>
                      </a:cubicBezTo>
                      <a:cubicBezTo>
                        <a:pt x="310389" y="653118"/>
                        <a:pt x="315928" y="654049"/>
                        <a:pt x="321484" y="654843"/>
                      </a:cubicBezTo>
                      <a:lnTo>
                        <a:pt x="335772" y="659606"/>
                      </a:lnTo>
                      <a:lnTo>
                        <a:pt x="342915" y="661987"/>
                      </a:lnTo>
                      <a:lnTo>
                        <a:pt x="357203" y="671512"/>
                      </a:lnTo>
                      <a:cubicBezTo>
                        <a:pt x="359584" y="673100"/>
                        <a:pt x="361632" y="675370"/>
                        <a:pt x="364347" y="676275"/>
                      </a:cubicBezTo>
                      <a:lnTo>
                        <a:pt x="371490" y="678656"/>
                      </a:lnTo>
                      <a:cubicBezTo>
                        <a:pt x="373871" y="681037"/>
                        <a:pt x="375976" y="683732"/>
                        <a:pt x="378634" y="685800"/>
                      </a:cubicBezTo>
                      <a:cubicBezTo>
                        <a:pt x="383152" y="689314"/>
                        <a:pt x="388159" y="692150"/>
                        <a:pt x="392922" y="695325"/>
                      </a:cubicBezTo>
                      <a:lnTo>
                        <a:pt x="400065" y="700087"/>
                      </a:lnTo>
                      <a:lnTo>
                        <a:pt x="407209" y="704850"/>
                      </a:lnTo>
                      <a:lnTo>
                        <a:pt x="414353" y="709612"/>
                      </a:lnTo>
                      <a:cubicBezTo>
                        <a:pt x="415940" y="711993"/>
                        <a:pt x="417835" y="714196"/>
                        <a:pt x="419115" y="716756"/>
                      </a:cubicBezTo>
                      <a:cubicBezTo>
                        <a:pt x="420238" y="719001"/>
                        <a:pt x="420105" y="721811"/>
                        <a:pt x="421497" y="723900"/>
                      </a:cubicBezTo>
                      <a:cubicBezTo>
                        <a:pt x="423365" y="726702"/>
                        <a:pt x="426573" y="728385"/>
                        <a:pt x="428640" y="731043"/>
                      </a:cubicBezTo>
                      <a:cubicBezTo>
                        <a:pt x="439409" y="744890"/>
                        <a:pt x="437705" y="743951"/>
                        <a:pt x="442928" y="759618"/>
                      </a:cubicBezTo>
                      <a:lnTo>
                        <a:pt x="447690" y="773906"/>
                      </a:lnTo>
                      <a:lnTo>
                        <a:pt x="450072" y="781050"/>
                      </a:lnTo>
                      <a:cubicBezTo>
                        <a:pt x="450866" y="785812"/>
                        <a:pt x="449274" y="791703"/>
                        <a:pt x="452453" y="795337"/>
                      </a:cubicBezTo>
                      <a:cubicBezTo>
                        <a:pt x="455759" y="799115"/>
                        <a:pt x="462563" y="797316"/>
                        <a:pt x="466740" y="800100"/>
                      </a:cubicBezTo>
                      <a:lnTo>
                        <a:pt x="473884" y="804862"/>
                      </a:lnTo>
                      <a:cubicBezTo>
                        <a:pt x="483677" y="819552"/>
                        <a:pt x="478472" y="818080"/>
                        <a:pt x="490553" y="821531"/>
                      </a:cubicBezTo>
                      <a:cubicBezTo>
                        <a:pt x="493700" y="822430"/>
                        <a:pt x="496903" y="823118"/>
                        <a:pt x="500078" y="823912"/>
                      </a:cubicBezTo>
                      <a:cubicBezTo>
                        <a:pt x="510397" y="823118"/>
                        <a:pt x="520812" y="823145"/>
                        <a:pt x="531034" y="821531"/>
                      </a:cubicBezTo>
                      <a:cubicBezTo>
                        <a:pt x="535993" y="820748"/>
                        <a:pt x="545322" y="816768"/>
                        <a:pt x="545322" y="816768"/>
                      </a:cubicBezTo>
                      <a:cubicBezTo>
                        <a:pt x="546909" y="812006"/>
                        <a:pt x="549630" y="807480"/>
                        <a:pt x="550084" y="802481"/>
                      </a:cubicBezTo>
                      <a:cubicBezTo>
                        <a:pt x="550842" y="794137"/>
                        <a:pt x="550881" y="771521"/>
                        <a:pt x="557228" y="762000"/>
                      </a:cubicBezTo>
                      <a:lnTo>
                        <a:pt x="561990" y="754856"/>
                      </a:lnTo>
                      <a:cubicBezTo>
                        <a:pt x="563679" y="741351"/>
                        <a:pt x="563382" y="737518"/>
                        <a:pt x="566753" y="726281"/>
                      </a:cubicBezTo>
                      <a:cubicBezTo>
                        <a:pt x="568195" y="721472"/>
                        <a:pt x="568730" y="716170"/>
                        <a:pt x="571515" y="711993"/>
                      </a:cubicBezTo>
                      <a:cubicBezTo>
                        <a:pt x="582432" y="695617"/>
                        <a:pt x="579230" y="703136"/>
                        <a:pt x="583422" y="690562"/>
                      </a:cubicBezTo>
                      <a:cubicBezTo>
                        <a:pt x="587926" y="654527"/>
                        <a:pt x="580381" y="683217"/>
                        <a:pt x="592947" y="664368"/>
                      </a:cubicBezTo>
                      <a:cubicBezTo>
                        <a:pt x="596468" y="659086"/>
                        <a:pt x="593668" y="654095"/>
                        <a:pt x="600090" y="650081"/>
                      </a:cubicBezTo>
                      <a:cubicBezTo>
                        <a:pt x="609804" y="644009"/>
                        <a:pt x="628675" y="643888"/>
                        <a:pt x="638190" y="642937"/>
                      </a:cubicBezTo>
                      <a:cubicBezTo>
                        <a:pt x="641365" y="642143"/>
                        <a:pt x="644568" y="641455"/>
                        <a:pt x="647715" y="640556"/>
                      </a:cubicBezTo>
                      <a:cubicBezTo>
                        <a:pt x="656258" y="638115"/>
                        <a:pt x="656332" y="636700"/>
                        <a:pt x="666765" y="635793"/>
                      </a:cubicBezTo>
                      <a:cubicBezTo>
                        <a:pt x="681021" y="634553"/>
                        <a:pt x="695340" y="634206"/>
                        <a:pt x="709628" y="633412"/>
                      </a:cubicBezTo>
                      <a:cubicBezTo>
                        <a:pt x="714390" y="631825"/>
                        <a:pt x="718993" y="629635"/>
                        <a:pt x="723915" y="628650"/>
                      </a:cubicBezTo>
                      <a:cubicBezTo>
                        <a:pt x="738283" y="625776"/>
                        <a:pt x="731982" y="627548"/>
                        <a:pt x="742965" y="623887"/>
                      </a:cubicBezTo>
                      <a:cubicBezTo>
                        <a:pt x="749129" y="617723"/>
                        <a:pt x="755851" y="610067"/>
                        <a:pt x="764397" y="607218"/>
                      </a:cubicBezTo>
                      <a:lnTo>
                        <a:pt x="771540" y="604837"/>
                      </a:lnTo>
                      <a:cubicBezTo>
                        <a:pt x="782457" y="588461"/>
                        <a:pt x="779255" y="595980"/>
                        <a:pt x="783447" y="583406"/>
                      </a:cubicBezTo>
                      <a:cubicBezTo>
                        <a:pt x="784241" y="578643"/>
                        <a:pt x="784301" y="573699"/>
                        <a:pt x="785828" y="569118"/>
                      </a:cubicBezTo>
                      <a:cubicBezTo>
                        <a:pt x="786733" y="566403"/>
                        <a:pt x="788355" y="563763"/>
                        <a:pt x="790590" y="561975"/>
                      </a:cubicBezTo>
                      <a:cubicBezTo>
                        <a:pt x="793066" y="559994"/>
                        <a:pt x="808989" y="557375"/>
                        <a:pt x="809640" y="557212"/>
                      </a:cubicBezTo>
                      <a:cubicBezTo>
                        <a:pt x="812075" y="556603"/>
                        <a:pt x="814403" y="555625"/>
                        <a:pt x="816784" y="554831"/>
                      </a:cubicBezTo>
                      <a:cubicBezTo>
                        <a:pt x="828177" y="537741"/>
                        <a:pt x="822261" y="544590"/>
                        <a:pt x="833453" y="533400"/>
                      </a:cubicBezTo>
                      <a:cubicBezTo>
                        <a:pt x="843772" y="534194"/>
                        <a:pt x="854217" y="533983"/>
                        <a:pt x="864409" y="535781"/>
                      </a:cubicBezTo>
                      <a:cubicBezTo>
                        <a:pt x="871136" y="536968"/>
                        <a:pt x="878191" y="544394"/>
                        <a:pt x="883459" y="547687"/>
                      </a:cubicBezTo>
                      <a:cubicBezTo>
                        <a:pt x="886469" y="549568"/>
                        <a:pt x="889902" y="550689"/>
                        <a:pt x="892984" y="552450"/>
                      </a:cubicBezTo>
                      <a:cubicBezTo>
                        <a:pt x="895469" y="553870"/>
                        <a:pt x="897747" y="555625"/>
                        <a:pt x="900128" y="557212"/>
                      </a:cubicBezTo>
                      <a:lnTo>
                        <a:pt x="914415" y="578643"/>
                      </a:lnTo>
                      <a:lnTo>
                        <a:pt x="919178" y="585787"/>
                      </a:lnTo>
                      <a:cubicBezTo>
                        <a:pt x="920765" y="588168"/>
                        <a:pt x="921916" y="590907"/>
                        <a:pt x="923940" y="592931"/>
                      </a:cubicBezTo>
                      <a:cubicBezTo>
                        <a:pt x="926321" y="595312"/>
                        <a:pt x="929126" y="597335"/>
                        <a:pt x="931084" y="600075"/>
                      </a:cubicBezTo>
                      <a:cubicBezTo>
                        <a:pt x="942070" y="615455"/>
                        <a:pt x="928908" y="604974"/>
                        <a:pt x="942990" y="614362"/>
                      </a:cubicBezTo>
                      <a:cubicBezTo>
                        <a:pt x="943784" y="616743"/>
                        <a:pt x="943329" y="620047"/>
                        <a:pt x="945372" y="621506"/>
                      </a:cubicBezTo>
                      <a:cubicBezTo>
                        <a:pt x="949457" y="624424"/>
                        <a:pt x="959659" y="626268"/>
                        <a:pt x="959659" y="626268"/>
                      </a:cubicBezTo>
                      <a:cubicBezTo>
                        <a:pt x="965215" y="625474"/>
                        <a:pt x="971117" y="625971"/>
                        <a:pt x="976328" y="623887"/>
                      </a:cubicBezTo>
                      <a:cubicBezTo>
                        <a:pt x="982775" y="621308"/>
                        <a:pt x="984249" y="615213"/>
                        <a:pt x="985853" y="609600"/>
                      </a:cubicBezTo>
                      <a:cubicBezTo>
                        <a:pt x="986752" y="606453"/>
                        <a:pt x="986610" y="602917"/>
                        <a:pt x="988234" y="600075"/>
                      </a:cubicBezTo>
                      <a:cubicBezTo>
                        <a:pt x="989905" y="597151"/>
                        <a:pt x="992997" y="595312"/>
                        <a:pt x="995378" y="592931"/>
                      </a:cubicBezTo>
                      <a:cubicBezTo>
                        <a:pt x="995976" y="591734"/>
                        <a:pt x="1002755" y="579296"/>
                        <a:pt x="1002522" y="576262"/>
                      </a:cubicBezTo>
                      <a:cubicBezTo>
                        <a:pt x="1001300" y="560369"/>
                        <a:pt x="995575" y="545897"/>
                        <a:pt x="990615" y="531018"/>
                      </a:cubicBezTo>
                      <a:cubicBezTo>
                        <a:pt x="989821" y="528637"/>
                        <a:pt x="988843" y="526310"/>
                        <a:pt x="988234" y="523875"/>
                      </a:cubicBezTo>
                      <a:lnTo>
                        <a:pt x="983472" y="504825"/>
                      </a:lnTo>
                      <a:cubicBezTo>
                        <a:pt x="984266" y="487362"/>
                        <a:pt x="982780" y="469645"/>
                        <a:pt x="985853" y="452437"/>
                      </a:cubicBezTo>
                      <a:cubicBezTo>
                        <a:pt x="988240" y="439072"/>
                        <a:pt x="994979" y="439673"/>
                        <a:pt x="1002522" y="433387"/>
                      </a:cubicBezTo>
                      <a:cubicBezTo>
                        <a:pt x="1010434" y="426793"/>
                        <a:pt x="1015929" y="418037"/>
                        <a:pt x="1021572" y="409575"/>
                      </a:cubicBezTo>
                      <a:cubicBezTo>
                        <a:pt x="1022366" y="405606"/>
                        <a:pt x="1023381" y="401675"/>
                        <a:pt x="1023953" y="397668"/>
                      </a:cubicBezTo>
                      <a:cubicBezTo>
                        <a:pt x="1024969" y="390553"/>
                        <a:pt x="1025318" y="383352"/>
                        <a:pt x="1026334" y="376237"/>
                      </a:cubicBezTo>
                      <a:cubicBezTo>
                        <a:pt x="1027771" y="366177"/>
                        <a:pt x="1028326" y="365499"/>
                        <a:pt x="1031097" y="357187"/>
                      </a:cubicBezTo>
                      <a:cubicBezTo>
                        <a:pt x="1030276" y="350624"/>
                        <a:pt x="1030004" y="338333"/>
                        <a:pt x="1026334" y="330993"/>
                      </a:cubicBezTo>
                      <a:cubicBezTo>
                        <a:pt x="1025054" y="328433"/>
                        <a:pt x="1023159" y="326231"/>
                        <a:pt x="1021572" y="323850"/>
                      </a:cubicBezTo>
                      <a:cubicBezTo>
                        <a:pt x="1020778" y="319087"/>
                        <a:pt x="1021349" y="313881"/>
                        <a:pt x="1019190" y="309562"/>
                      </a:cubicBezTo>
                      <a:cubicBezTo>
                        <a:pt x="1016206" y="303594"/>
                        <a:pt x="1001073" y="302786"/>
                        <a:pt x="997759" y="302418"/>
                      </a:cubicBezTo>
                      <a:cubicBezTo>
                        <a:pt x="933647" y="295294"/>
                        <a:pt x="996230" y="303900"/>
                        <a:pt x="952515" y="297656"/>
                      </a:cubicBezTo>
                      <a:cubicBezTo>
                        <a:pt x="931471" y="290641"/>
                        <a:pt x="947370" y="298401"/>
                        <a:pt x="942990" y="252412"/>
                      </a:cubicBezTo>
                      <a:cubicBezTo>
                        <a:pt x="942752" y="249913"/>
                        <a:pt x="941731" y="247513"/>
                        <a:pt x="940609" y="245268"/>
                      </a:cubicBezTo>
                      <a:cubicBezTo>
                        <a:pt x="939329" y="242708"/>
                        <a:pt x="938082" y="239913"/>
                        <a:pt x="935847" y="238125"/>
                      </a:cubicBezTo>
                      <a:cubicBezTo>
                        <a:pt x="933887" y="236557"/>
                        <a:pt x="931179" y="236156"/>
                        <a:pt x="928703" y="235743"/>
                      </a:cubicBezTo>
                      <a:cubicBezTo>
                        <a:pt x="921613" y="234561"/>
                        <a:pt x="914416" y="234156"/>
                        <a:pt x="907272" y="233362"/>
                      </a:cubicBezTo>
                      <a:cubicBezTo>
                        <a:pt x="904891" y="230981"/>
                        <a:pt x="901799" y="229142"/>
                        <a:pt x="900128" y="226218"/>
                      </a:cubicBezTo>
                      <a:cubicBezTo>
                        <a:pt x="898504" y="223376"/>
                        <a:pt x="898646" y="219840"/>
                        <a:pt x="897747" y="216693"/>
                      </a:cubicBezTo>
                      <a:cubicBezTo>
                        <a:pt x="895193" y="207757"/>
                        <a:pt x="894847" y="210275"/>
                        <a:pt x="892984" y="200025"/>
                      </a:cubicBezTo>
                      <a:cubicBezTo>
                        <a:pt x="891980" y="194503"/>
                        <a:pt x="892882" y="188485"/>
                        <a:pt x="890603" y="183356"/>
                      </a:cubicBezTo>
                      <a:cubicBezTo>
                        <a:pt x="889441" y="180741"/>
                        <a:pt x="886019" y="179873"/>
                        <a:pt x="883459" y="178593"/>
                      </a:cubicBezTo>
                      <a:cubicBezTo>
                        <a:pt x="877282" y="175504"/>
                        <a:pt x="868122" y="175050"/>
                        <a:pt x="862028" y="173831"/>
                      </a:cubicBezTo>
                      <a:cubicBezTo>
                        <a:pt x="858819" y="173189"/>
                        <a:pt x="855638" y="172390"/>
                        <a:pt x="852503" y="171450"/>
                      </a:cubicBezTo>
                      <a:cubicBezTo>
                        <a:pt x="847694" y="170007"/>
                        <a:pt x="838215" y="166687"/>
                        <a:pt x="838215" y="166687"/>
                      </a:cubicBezTo>
                      <a:lnTo>
                        <a:pt x="712009" y="169068"/>
                      </a:lnTo>
                      <a:cubicBezTo>
                        <a:pt x="709500" y="169158"/>
                        <a:pt x="707110" y="170327"/>
                        <a:pt x="704865" y="171450"/>
                      </a:cubicBezTo>
                      <a:cubicBezTo>
                        <a:pt x="702306" y="172730"/>
                        <a:pt x="700103" y="174625"/>
                        <a:pt x="697722" y="176212"/>
                      </a:cubicBezTo>
                      <a:cubicBezTo>
                        <a:pt x="696134" y="178593"/>
                        <a:pt x="694791" y="181157"/>
                        <a:pt x="692959" y="183356"/>
                      </a:cubicBezTo>
                      <a:cubicBezTo>
                        <a:pt x="677682" y="201688"/>
                        <a:pt x="692875" y="179910"/>
                        <a:pt x="681053" y="197643"/>
                      </a:cubicBezTo>
                      <a:cubicBezTo>
                        <a:pt x="680259" y="200024"/>
                        <a:pt x="679795" y="202542"/>
                        <a:pt x="678672" y="204787"/>
                      </a:cubicBezTo>
                      <a:cubicBezTo>
                        <a:pt x="677392" y="207347"/>
                        <a:pt x="675071" y="209316"/>
                        <a:pt x="673909" y="211931"/>
                      </a:cubicBezTo>
                      <a:cubicBezTo>
                        <a:pt x="671870" y="216518"/>
                        <a:pt x="669147" y="226218"/>
                        <a:pt x="669147" y="226218"/>
                      </a:cubicBezTo>
                      <a:cubicBezTo>
                        <a:pt x="661550" y="203437"/>
                        <a:pt x="671968" y="236740"/>
                        <a:pt x="664384" y="178593"/>
                      </a:cubicBezTo>
                      <a:cubicBezTo>
                        <a:pt x="663735" y="173615"/>
                        <a:pt x="659622" y="164306"/>
                        <a:pt x="659622" y="164306"/>
                      </a:cubicBezTo>
                      <a:cubicBezTo>
                        <a:pt x="661209" y="161925"/>
                        <a:pt x="661957" y="158679"/>
                        <a:pt x="664384" y="157162"/>
                      </a:cubicBezTo>
                      <a:cubicBezTo>
                        <a:pt x="668641" y="154501"/>
                        <a:pt x="673909" y="153988"/>
                        <a:pt x="678672" y="152400"/>
                      </a:cubicBezTo>
                      <a:lnTo>
                        <a:pt x="685815" y="150018"/>
                      </a:lnTo>
                      <a:cubicBezTo>
                        <a:pt x="688196" y="149224"/>
                        <a:pt x="690870" y="149029"/>
                        <a:pt x="692959" y="147637"/>
                      </a:cubicBezTo>
                      <a:cubicBezTo>
                        <a:pt x="695340" y="146050"/>
                        <a:pt x="697488" y="144037"/>
                        <a:pt x="700103" y="142875"/>
                      </a:cubicBezTo>
                      <a:cubicBezTo>
                        <a:pt x="700117" y="142869"/>
                        <a:pt x="717955" y="136924"/>
                        <a:pt x="721534" y="135731"/>
                      </a:cubicBezTo>
                      <a:lnTo>
                        <a:pt x="728678" y="133350"/>
                      </a:lnTo>
                      <a:cubicBezTo>
                        <a:pt x="732171" y="122871"/>
                        <a:pt x="732270" y="126286"/>
                        <a:pt x="728678" y="111918"/>
                      </a:cubicBezTo>
                      <a:cubicBezTo>
                        <a:pt x="727107" y="105634"/>
                        <a:pt x="724364" y="95698"/>
                        <a:pt x="719153" y="90487"/>
                      </a:cubicBezTo>
                      <a:cubicBezTo>
                        <a:pt x="717129" y="88463"/>
                        <a:pt x="714624" y="86887"/>
                        <a:pt x="712009" y="85725"/>
                      </a:cubicBezTo>
                      <a:cubicBezTo>
                        <a:pt x="700342" y="80540"/>
                        <a:pt x="698860" y="81780"/>
                        <a:pt x="688197" y="78581"/>
                      </a:cubicBezTo>
                      <a:cubicBezTo>
                        <a:pt x="683388" y="77138"/>
                        <a:pt x="678672" y="75406"/>
                        <a:pt x="673909" y="73818"/>
                      </a:cubicBezTo>
                      <a:cubicBezTo>
                        <a:pt x="671528" y="73024"/>
                        <a:pt x="669200" y="72046"/>
                        <a:pt x="666765" y="71437"/>
                      </a:cubicBezTo>
                      <a:lnTo>
                        <a:pt x="657240" y="69056"/>
                      </a:lnTo>
                      <a:cubicBezTo>
                        <a:pt x="650892" y="64823"/>
                        <a:pt x="648508" y="64556"/>
                        <a:pt x="645334" y="57150"/>
                      </a:cubicBezTo>
                      <a:cubicBezTo>
                        <a:pt x="642944" y="51573"/>
                        <a:pt x="644170" y="44467"/>
                        <a:pt x="638190" y="40481"/>
                      </a:cubicBezTo>
                      <a:cubicBezTo>
                        <a:pt x="635467" y="38666"/>
                        <a:pt x="631840" y="38894"/>
                        <a:pt x="628665" y="38100"/>
                      </a:cubicBezTo>
                      <a:cubicBezTo>
                        <a:pt x="626284" y="36512"/>
                        <a:pt x="624082" y="34617"/>
                        <a:pt x="621522" y="33337"/>
                      </a:cubicBezTo>
                      <a:cubicBezTo>
                        <a:pt x="619277" y="32214"/>
                        <a:pt x="615946" y="32916"/>
                        <a:pt x="614378" y="30956"/>
                      </a:cubicBezTo>
                      <a:cubicBezTo>
                        <a:pt x="612334" y="28400"/>
                        <a:pt x="612639" y="24640"/>
                        <a:pt x="611997" y="21431"/>
                      </a:cubicBezTo>
                      <a:cubicBezTo>
                        <a:pt x="611050" y="16696"/>
                        <a:pt x="611774" y="11462"/>
                        <a:pt x="609615" y="7143"/>
                      </a:cubicBezTo>
                      <a:cubicBezTo>
                        <a:pt x="607768" y="3450"/>
                        <a:pt x="598709" y="1127"/>
                        <a:pt x="595328" y="0"/>
                      </a:cubicBezTo>
                      <a:cubicBezTo>
                        <a:pt x="591359" y="794"/>
                        <a:pt x="587327" y="1316"/>
                        <a:pt x="583422" y="2381"/>
                      </a:cubicBezTo>
                      <a:cubicBezTo>
                        <a:pt x="578579" y="3702"/>
                        <a:pt x="569134" y="7143"/>
                        <a:pt x="569134" y="7143"/>
                      </a:cubicBezTo>
                      <a:cubicBezTo>
                        <a:pt x="564372" y="10318"/>
                        <a:pt x="560536" y="17300"/>
                        <a:pt x="554847" y="16668"/>
                      </a:cubicBezTo>
                      <a:cubicBezTo>
                        <a:pt x="527837" y="13667"/>
                        <a:pt x="540531" y="15303"/>
                        <a:pt x="516747" y="11906"/>
                      </a:cubicBezTo>
                      <a:cubicBezTo>
                        <a:pt x="507222" y="12700"/>
                        <a:pt x="497672" y="13232"/>
                        <a:pt x="488172" y="14287"/>
                      </a:cubicBezTo>
                      <a:cubicBezTo>
                        <a:pt x="483373" y="14820"/>
                        <a:pt x="478675" y="16069"/>
                        <a:pt x="473884" y="16668"/>
                      </a:cubicBezTo>
                      <a:cubicBezTo>
                        <a:pt x="465969" y="17658"/>
                        <a:pt x="458009" y="18256"/>
                        <a:pt x="450072" y="19050"/>
                      </a:cubicBezTo>
                      <a:cubicBezTo>
                        <a:pt x="426034" y="27062"/>
                        <a:pt x="463342" y="14830"/>
                        <a:pt x="433403" y="23812"/>
                      </a:cubicBezTo>
                      <a:cubicBezTo>
                        <a:pt x="426190" y="25976"/>
                        <a:pt x="419116" y="28575"/>
                        <a:pt x="411972" y="30956"/>
                      </a:cubicBezTo>
                      <a:lnTo>
                        <a:pt x="404828" y="33337"/>
                      </a:lnTo>
                      <a:lnTo>
                        <a:pt x="397684" y="35718"/>
                      </a:lnTo>
                      <a:cubicBezTo>
                        <a:pt x="395303" y="37306"/>
                        <a:pt x="393155" y="39319"/>
                        <a:pt x="390540" y="40481"/>
                      </a:cubicBezTo>
                      <a:cubicBezTo>
                        <a:pt x="385953" y="42520"/>
                        <a:pt x="376253" y="45243"/>
                        <a:pt x="376253" y="45243"/>
                      </a:cubicBezTo>
                      <a:lnTo>
                        <a:pt x="361965" y="54768"/>
                      </a:lnTo>
                      <a:lnTo>
                        <a:pt x="354822" y="59531"/>
                      </a:lnTo>
                      <a:cubicBezTo>
                        <a:pt x="345976" y="86061"/>
                        <a:pt x="357528" y="49234"/>
                        <a:pt x="350059" y="121443"/>
                      </a:cubicBezTo>
                      <a:cubicBezTo>
                        <a:pt x="349542" y="126437"/>
                        <a:pt x="346885" y="130968"/>
                        <a:pt x="345297" y="135731"/>
                      </a:cubicBezTo>
                      <a:lnTo>
                        <a:pt x="340534" y="150018"/>
                      </a:lnTo>
                      <a:cubicBezTo>
                        <a:pt x="339740" y="152399"/>
                        <a:pt x="340534" y="156368"/>
                        <a:pt x="338153" y="157162"/>
                      </a:cubicBezTo>
                      <a:lnTo>
                        <a:pt x="323865" y="161925"/>
                      </a:lnTo>
                      <a:cubicBezTo>
                        <a:pt x="318309" y="161131"/>
                        <a:pt x="312666" y="160805"/>
                        <a:pt x="307197" y="159543"/>
                      </a:cubicBezTo>
                      <a:cubicBezTo>
                        <a:pt x="302305" y="158414"/>
                        <a:pt x="292909" y="154781"/>
                        <a:pt x="292909" y="154781"/>
                      </a:cubicBezTo>
                      <a:cubicBezTo>
                        <a:pt x="285885" y="150098"/>
                        <a:pt x="284351" y="149750"/>
                        <a:pt x="278622" y="142875"/>
                      </a:cubicBezTo>
                      <a:cubicBezTo>
                        <a:pt x="268700" y="130968"/>
                        <a:pt x="279812" y="139700"/>
                        <a:pt x="266715" y="130968"/>
                      </a:cubicBezTo>
                      <a:cubicBezTo>
                        <a:pt x="246871" y="131762"/>
                        <a:pt x="226993" y="131935"/>
                        <a:pt x="207184" y="133350"/>
                      </a:cubicBezTo>
                      <a:cubicBezTo>
                        <a:pt x="204680" y="133529"/>
                        <a:pt x="201815" y="133956"/>
                        <a:pt x="200040" y="135731"/>
                      </a:cubicBezTo>
                      <a:cubicBezTo>
                        <a:pt x="197530" y="138241"/>
                        <a:pt x="197039" y="142174"/>
                        <a:pt x="195278" y="145256"/>
                      </a:cubicBezTo>
                      <a:cubicBezTo>
                        <a:pt x="193858" y="147741"/>
                        <a:pt x="192103" y="150019"/>
                        <a:pt x="190515" y="152400"/>
                      </a:cubicBezTo>
                      <a:cubicBezTo>
                        <a:pt x="183558" y="173274"/>
                        <a:pt x="187221" y="159806"/>
                        <a:pt x="183372" y="180975"/>
                      </a:cubicBezTo>
                      <a:cubicBezTo>
                        <a:pt x="183268" y="181547"/>
                        <a:pt x="180552" y="197597"/>
                        <a:pt x="178609" y="200025"/>
                      </a:cubicBezTo>
                      <a:cubicBezTo>
                        <a:pt x="175150" y="204348"/>
                        <a:pt x="166913" y="206671"/>
                        <a:pt x="161940" y="207168"/>
                      </a:cubicBezTo>
                      <a:cubicBezTo>
                        <a:pt x="149278" y="208434"/>
                        <a:pt x="136540" y="208756"/>
                        <a:pt x="123840" y="209550"/>
                      </a:cubicBezTo>
                      <a:cubicBezTo>
                        <a:pt x="119871" y="210344"/>
                        <a:pt x="115839" y="210866"/>
                        <a:pt x="111934" y="211931"/>
                      </a:cubicBezTo>
                      <a:cubicBezTo>
                        <a:pt x="107091" y="213252"/>
                        <a:pt x="102409" y="215106"/>
                        <a:pt x="97647" y="216693"/>
                      </a:cubicBezTo>
                      <a:lnTo>
                        <a:pt x="83359" y="221456"/>
                      </a:lnTo>
                      <a:cubicBezTo>
                        <a:pt x="80978" y="222250"/>
                        <a:pt x="78650" y="223228"/>
                        <a:pt x="76215" y="223837"/>
                      </a:cubicBezTo>
                      <a:cubicBezTo>
                        <a:pt x="54611" y="229237"/>
                        <a:pt x="81306" y="222911"/>
                        <a:pt x="50022" y="228600"/>
                      </a:cubicBezTo>
                      <a:cubicBezTo>
                        <a:pt x="46802" y="229186"/>
                        <a:pt x="43672" y="230187"/>
                        <a:pt x="40497" y="230981"/>
                      </a:cubicBezTo>
                      <a:cubicBezTo>
                        <a:pt x="33325" y="235762"/>
                        <a:pt x="32284" y="236882"/>
                        <a:pt x="23828" y="240506"/>
                      </a:cubicBezTo>
                      <a:cubicBezTo>
                        <a:pt x="21521" y="241495"/>
                        <a:pt x="19065" y="242093"/>
                        <a:pt x="16684" y="242887"/>
                      </a:cubicBezTo>
                      <a:cubicBezTo>
                        <a:pt x="14303" y="244475"/>
                        <a:pt x="11057" y="245223"/>
                        <a:pt x="9540" y="247650"/>
                      </a:cubicBezTo>
                      <a:cubicBezTo>
                        <a:pt x="6879" y="251907"/>
                        <a:pt x="-382" y="265906"/>
                        <a:pt x="15" y="26908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8" name="Freeform 327"/>
                <p:cNvSpPr/>
                <p:nvPr/>
              </p:nvSpPr>
              <p:spPr>
                <a:xfrm>
                  <a:off x="2469716" y="4092389"/>
                  <a:ext cx="571540" cy="535781"/>
                </a:xfrm>
                <a:custGeom>
                  <a:avLst/>
                  <a:gdLst>
                    <a:gd name="connsiteX0" fmla="*/ 40 w 571540"/>
                    <a:gd name="connsiteY0" fmla="*/ 319088 h 535781"/>
                    <a:gd name="connsiteX1" fmla="*/ 9565 w 571540"/>
                    <a:gd name="connsiteY1" fmla="*/ 330994 h 535781"/>
                    <a:gd name="connsiteX2" fmla="*/ 16709 w 571540"/>
                    <a:gd name="connsiteY2" fmla="*/ 333375 h 535781"/>
                    <a:gd name="connsiteX3" fmla="*/ 30997 w 571540"/>
                    <a:gd name="connsiteY3" fmla="*/ 342900 h 535781"/>
                    <a:gd name="connsiteX4" fmla="*/ 38140 w 571540"/>
                    <a:gd name="connsiteY4" fmla="*/ 347663 h 535781"/>
                    <a:gd name="connsiteX5" fmla="*/ 47665 w 571540"/>
                    <a:gd name="connsiteY5" fmla="*/ 361950 h 535781"/>
                    <a:gd name="connsiteX6" fmla="*/ 52428 w 571540"/>
                    <a:gd name="connsiteY6" fmla="*/ 369094 h 535781"/>
                    <a:gd name="connsiteX7" fmla="*/ 59572 w 571540"/>
                    <a:gd name="connsiteY7" fmla="*/ 373856 h 535781"/>
                    <a:gd name="connsiteX8" fmla="*/ 78622 w 571540"/>
                    <a:gd name="connsiteY8" fmla="*/ 390525 h 535781"/>
                    <a:gd name="connsiteX9" fmla="*/ 85765 w 571540"/>
                    <a:gd name="connsiteY9" fmla="*/ 397669 h 535781"/>
                    <a:gd name="connsiteX10" fmla="*/ 100053 w 571540"/>
                    <a:gd name="connsiteY10" fmla="*/ 409575 h 535781"/>
                    <a:gd name="connsiteX11" fmla="*/ 104815 w 571540"/>
                    <a:gd name="connsiteY11" fmla="*/ 416719 h 535781"/>
                    <a:gd name="connsiteX12" fmla="*/ 107197 w 571540"/>
                    <a:gd name="connsiteY12" fmla="*/ 423863 h 535781"/>
                    <a:gd name="connsiteX13" fmla="*/ 114340 w 571540"/>
                    <a:gd name="connsiteY13" fmla="*/ 428625 h 535781"/>
                    <a:gd name="connsiteX14" fmla="*/ 119103 w 571540"/>
                    <a:gd name="connsiteY14" fmla="*/ 435769 h 535781"/>
                    <a:gd name="connsiteX15" fmla="*/ 121484 w 571540"/>
                    <a:gd name="connsiteY15" fmla="*/ 442913 h 535781"/>
                    <a:gd name="connsiteX16" fmla="*/ 128628 w 571540"/>
                    <a:gd name="connsiteY16" fmla="*/ 450056 h 535781"/>
                    <a:gd name="connsiteX17" fmla="*/ 145297 w 571540"/>
                    <a:gd name="connsiteY17" fmla="*/ 471488 h 535781"/>
                    <a:gd name="connsiteX18" fmla="*/ 159584 w 571540"/>
                    <a:gd name="connsiteY18" fmla="*/ 481013 h 535781"/>
                    <a:gd name="connsiteX19" fmla="*/ 166728 w 571540"/>
                    <a:gd name="connsiteY19" fmla="*/ 485775 h 535781"/>
                    <a:gd name="connsiteX20" fmla="*/ 178634 w 571540"/>
                    <a:gd name="connsiteY20" fmla="*/ 500063 h 535781"/>
                    <a:gd name="connsiteX21" fmla="*/ 188159 w 571540"/>
                    <a:gd name="connsiteY21" fmla="*/ 514350 h 535781"/>
                    <a:gd name="connsiteX22" fmla="*/ 202447 w 571540"/>
                    <a:gd name="connsiteY22" fmla="*/ 523875 h 535781"/>
                    <a:gd name="connsiteX23" fmla="*/ 209590 w 571540"/>
                    <a:gd name="connsiteY23" fmla="*/ 531019 h 535781"/>
                    <a:gd name="connsiteX24" fmla="*/ 235784 w 571540"/>
                    <a:gd name="connsiteY24" fmla="*/ 535781 h 535781"/>
                    <a:gd name="connsiteX25" fmla="*/ 247690 w 571540"/>
                    <a:gd name="connsiteY25" fmla="*/ 533400 h 535781"/>
                    <a:gd name="connsiteX26" fmla="*/ 247690 w 571540"/>
                    <a:gd name="connsiteY26" fmla="*/ 511969 h 535781"/>
                    <a:gd name="connsiteX27" fmla="*/ 242928 w 571540"/>
                    <a:gd name="connsiteY27" fmla="*/ 497681 h 535781"/>
                    <a:gd name="connsiteX28" fmla="*/ 238165 w 571540"/>
                    <a:gd name="connsiteY28" fmla="*/ 483394 h 535781"/>
                    <a:gd name="connsiteX29" fmla="*/ 235784 w 571540"/>
                    <a:gd name="connsiteY29" fmla="*/ 476250 h 535781"/>
                    <a:gd name="connsiteX30" fmla="*/ 226259 w 571540"/>
                    <a:gd name="connsiteY30" fmla="*/ 461963 h 535781"/>
                    <a:gd name="connsiteX31" fmla="*/ 221497 w 571540"/>
                    <a:gd name="connsiteY31" fmla="*/ 440531 h 535781"/>
                    <a:gd name="connsiteX32" fmla="*/ 228640 w 571540"/>
                    <a:gd name="connsiteY32" fmla="*/ 435769 h 535781"/>
                    <a:gd name="connsiteX33" fmla="*/ 252453 w 571540"/>
                    <a:gd name="connsiteY33" fmla="*/ 442913 h 535781"/>
                    <a:gd name="connsiteX34" fmla="*/ 257215 w 571540"/>
                    <a:gd name="connsiteY34" fmla="*/ 450056 h 535781"/>
                    <a:gd name="connsiteX35" fmla="*/ 264359 w 571540"/>
                    <a:gd name="connsiteY35" fmla="*/ 452438 h 535781"/>
                    <a:gd name="connsiteX36" fmla="*/ 278647 w 571540"/>
                    <a:gd name="connsiteY36" fmla="*/ 464344 h 535781"/>
                    <a:gd name="connsiteX37" fmla="*/ 300078 w 571540"/>
                    <a:gd name="connsiteY37" fmla="*/ 473869 h 535781"/>
                    <a:gd name="connsiteX38" fmla="*/ 307222 w 571540"/>
                    <a:gd name="connsiteY38" fmla="*/ 476250 h 535781"/>
                    <a:gd name="connsiteX39" fmla="*/ 326272 w 571540"/>
                    <a:gd name="connsiteY39" fmla="*/ 473869 h 535781"/>
                    <a:gd name="connsiteX40" fmla="*/ 350084 w 571540"/>
                    <a:gd name="connsiteY40" fmla="*/ 466725 h 535781"/>
                    <a:gd name="connsiteX41" fmla="*/ 357228 w 571540"/>
                    <a:gd name="connsiteY41" fmla="*/ 464344 h 535781"/>
                    <a:gd name="connsiteX42" fmla="*/ 364372 w 571540"/>
                    <a:gd name="connsiteY42" fmla="*/ 461963 h 535781"/>
                    <a:gd name="connsiteX43" fmla="*/ 378659 w 571540"/>
                    <a:gd name="connsiteY43" fmla="*/ 452438 h 535781"/>
                    <a:gd name="connsiteX44" fmla="*/ 392947 w 571540"/>
                    <a:gd name="connsiteY44" fmla="*/ 447675 h 535781"/>
                    <a:gd name="connsiteX45" fmla="*/ 411997 w 571540"/>
                    <a:gd name="connsiteY45" fmla="*/ 450056 h 535781"/>
                    <a:gd name="connsiteX46" fmla="*/ 426284 w 571540"/>
                    <a:gd name="connsiteY46" fmla="*/ 457200 h 535781"/>
                    <a:gd name="connsiteX47" fmla="*/ 435809 w 571540"/>
                    <a:gd name="connsiteY47" fmla="*/ 461963 h 535781"/>
                    <a:gd name="connsiteX48" fmla="*/ 447715 w 571540"/>
                    <a:gd name="connsiteY48" fmla="*/ 473869 h 535781"/>
                    <a:gd name="connsiteX49" fmla="*/ 459622 w 571540"/>
                    <a:gd name="connsiteY49" fmla="*/ 488156 h 535781"/>
                    <a:gd name="connsiteX50" fmla="*/ 466765 w 571540"/>
                    <a:gd name="connsiteY50" fmla="*/ 492919 h 535781"/>
                    <a:gd name="connsiteX51" fmla="*/ 476290 w 571540"/>
                    <a:gd name="connsiteY51" fmla="*/ 507206 h 535781"/>
                    <a:gd name="connsiteX52" fmla="*/ 481053 w 571540"/>
                    <a:gd name="connsiteY52" fmla="*/ 514350 h 535781"/>
                    <a:gd name="connsiteX53" fmla="*/ 488197 w 571540"/>
                    <a:gd name="connsiteY53" fmla="*/ 516731 h 535781"/>
                    <a:gd name="connsiteX54" fmla="*/ 507247 w 571540"/>
                    <a:gd name="connsiteY54" fmla="*/ 514350 h 535781"/>
                    <a:gd name="connsiteX55" fmla="*/ 521534 w 571540"/>
                    <a:gd name="connsiteY55" fmla="*/ 509588 h 535781"/>
                    <a:gd name="connsiteX56" fmla="*/ 528678 w 571540"/>
                    <a:gd name="connsiteY56" fmla="*/ 504825 h 535781"/>
                    <a:gd name="connsiteX57" fmla="*/ 535822 w 571540"/>
                    <a:gd name="connsiteY57" fmla="*/ 497681 h 535781"/>
                    <a:gd name="connsiteX58" fmla="*/ 542965 w 571540"/>
                    <a:gd name="connsiteY58" fmla="*/ 495300 h 535781"/>
                    <a:gd name="connsiteX59" fmla="*/ 554872 w 571540"/>
                    <a:gd name="connsiteY59" fmla="*/ 473869 h 535781"/>
                    <a:gd name="connsiteX60" fmla="*/ 559634 w 571540"/>
                    <a:gd name="connsiteY60" fmla="*/ 450056 h 535781"/>
                    <a:gd name="connsiteX61" fmla="*/ 571540 w 571540"/>
                    <a:gd name="connsiteY61" fmla="*/ 428625 h 535781"/>
                    <a:gd name="connsiteX62" fmla="*/ 569159 w 571540"/>
                    <a:gd name="connsiteY62" fmla="*/ 392906 h 535781"/>
                    <a:gd name="connsiteX63" fmla="*/ 564397 w 571540"/>
                    <a:gd name="connsiteY63" fmla="*/ 378619 h 535781"/>
                    <a:gd name="connsiteX64" fmla="*/ 562015 w 571540"/>
                    <a:gd name="connsiteY64" fmla="*/ 371475 h 535781"/>
                    <a:gd name="connsiteX65" fmla="*/ 559634 w 571540"/>
                    <a:gd name="connsiteY65" fmla="*/ 264319 h 535781"/>
                    <a:gd name="connsiteX66" fmla="*/ 554872 w 571540"/>
                    <a:gd name="connsiteY66" fmla="*/ 242888 h 535781"/>
                    <a:gd name="connsiteX67" fmla="*/ 550109 w 571540"/>
                    <a:gd name="connsiteY67" fmla="*/ 207169 h 535781"/>
                    <a:gd name="connsiteX68" fmla="*/ 545347 w 571540"/>
                    <a:gd name="connsiteY68" fmla="*/ 176213 h 535781"/>
                    <a:gd name="connsiteX69" fmla="*/ 547728 w 571540"/>
                    <a:gd name="connsiteY69" fmla="*/ 128588 h 535781"/>
                    <a:gd name="connsiteX70" fmla="*/ 550109 w 571540"/>
                    <a:gd name="connsiteY70" fmla="*/ 121444 h 535781"/>
                    <a:gd name="connsiteX71" fmla="*/ 552490 w 571540"/>
                    <a:gd name="connsiteY71" fmla="*/ 111919 h 535781"/>
                    <a:gd name="connsiteX72" fmla="*/ 550109 w 571540"/>
                    <a:gd name="connsiteY72" fmla="*/ 97631 h 535781"/>
                    <a:gd name="connsiteX73" fmla="*/ 542965 w 571540"/>
                    <a:gd name="connsiteY73" fmla="*/ 100013 h 535781"/>
                    <a:gd name="connsiteX74" fmla="*/ 528678 w 571540"/>
                    <a:gd name="connsiteY74" fmla="*/ 107156 h 535781"/>
                    <a:gd name="connsiteX75" fmla="*/ 519153 w 571540"/>
                    <a:gd name="connsiteY75" fmla="*/ 104775 h 535781"/>
                    <a:gd name="connsiteX76" fmla="*/ 509628 w 571540"/>
                    <a:gd name="connsiteY76" fmla="*/ 90488 h 535781"/>
                    <a:gd name="connsiteX77" fmla="*/ 504865 w 571540"/>
                    <a:gd name="connsiteY77" fmla="*/ 73819 h 535781"/>
                    <a:gd name="connsiteX78" fmla="*/ 497722 w 571540"/>
                    <a:gd name="connsiteY78" fmla="*/ 69056 h 535781"/>
                    <a:gd name="connsiteX79" fmla="*/ 492959 w 571540"/>
                    <a:gd name="connsiteY79" fmla="*/ 61913 h 535781"/>
                    <a:gd name="connsiteX80" fmla="*/ 481053 w 571540"/>
                    <a:gd name="connsiteY80" fmla="*/ 47625 h 535781"/>
                    <a:gd name="connsiteX81" fmla="*/ 471528 w 571540"/>
                    <a:gd name="connsiteY81" fmla="*/ 33338 h 535781"/>
                    <a:gd name="connsiteX82" fmla="*/ 466765 w 571540"/>
                    <a:gd name="connsiteY82" fmla="*/ 26194 h 535781"/>
                    <a:gd name="connsiteX83" fmla="*/ 452478 w 571540"/>
                    <a:gd name="connsiteY83" fmla="*/ 21431 h 535781"/>
                    <a:gd name="connsiteX84" fmla="*/ 431047 w 571540"/>
                    <a:gd name="connsiteY84" fmla="*/ 7144 h 535781"/>
                    <a:gd name="connsiteX85" fmla="*/ 423903 w 571540"/>
                    <a:gd name="connsiteY85" fmla="*/ 2381 h 535781"/>
                    <a:gd name="connsiteX86" fmla="*/ 416759 w 571540"/>
                    <a:gd name="connsiteY86" fmla="*/ 0 h 535781"/>
                    <a:gd name="connsiteX87" fmla="*/ 400090 w 571540"/>
                    <a:gd name="connsiteY87" fmla="*/ 4763 h 535781"/>
                    <a:gd name="connsiteX88" fmla="*/ 392947 w 571540"/>
                    <a:gd name="connsiteY88" fmla="*/ 9525 h 535781"/>
                    <a:gd name="connsiteX89" fmla="*/ 385803 w 571540"/>
                    <a:gd name="connsiteY89" fmla="*/ 16669 h 535781"/>
                    <a:gd name="connsiteX90" fmla="*/ 381040 w 571540"/>
                    <a:gd name="connsiteY90" fmla="*/ 23813 h 535781"/>
                    <a:gd name="connsiteX91" fmla="*/ 366753 w 571540"/>
                    <a:gd name="connsiteY91" fmla="*/ 33338 h 535781"/>
                    <a:gd name="connsiteX92" fmla="*/ 359609 w 571540"/>
                    <a:gd name="connsiteY92" fmla="*/ 38100 h 535781"/>
                    <a:gd name="connsiteX93" fmla="*/ 354847 w 571540"/>
                    <a:gd name="connsiteY93" fmla="*/ 59531 h 535781"/>
                    <a:gd name="connsiteX94" fmla="*/ 338178 w 571540"/>
                    <a:gd name="connsiteY94" fmla="*/ 80963 h 535781"/>
                    <a:gd name="connsiteX95" fmla="*/ 323890 w 571540"/>
                    <a:gd name="connsiteY95" fmla="*/ 90488 h 535781"/>
                    <a:gd name="connsiteX96" fmla="*/ 316747 w 571540"/>
                    <a:gd name="connsiteY96" fmla="*/ 95250 h 535781"/>
                    <a:gd name="connsiteX97" fmla="*/ 309603 w 571540"/>
                    <a:gd name="connsiteY97" fmla="*/ 100013 h 535781"/>
                    <a:gd name="connsiteX98" fmla="*/ 281028 w 571540"/>
                    <a:gd name="connsiteY98" fmla="*/ 104775 h 535781"/>
                    <a:gd name="connsiteX99" fmla="*/ 242928 w 571540"/>
                    <a:gd name="connsiteY99" fmla="*/ 107156 h 535781"/>
                    <a:gd name="connsiteX100" fmla="*/ 233403 w 571540"/>
                    <a:gd name="connsiteY100" fmla="*/ 109538 h 535781"/>
                    <a:gd name="connsiteX101" fmla="*/ 219115 w 571540"/>
                    <a:gd name="connsiteY101" fmla="*/ 114300 h 535781"/>
                    <a:gd name="connsiteX102" fmla="*/ 190540 w 571540"/>
                    <a:gd name="connsiteY102" fmla="*/ 119063 h 535781"/>
                    <a:gd name="connsiteX103" fmla="*/ 178634 w 571540"/>
                    <a:gd name="connsiteY103" fmla="*/ 121444 h 535781"/>
                    <a:gd name="connsiteX104" fmla="*/ 164347 w 571540"/>
                    <a:gd name="connsiteY104" fmla="*/ 126206 h 535781"/>
                    <a:gd name="connsiteX105" fmla="*/ 159584 w 571540"/>
                    <a:gd name="connsiteY105" fmla="*/ 133350 h 535781"/>
                    <a:gd name="connsiteX106" fmla="*/ 159584 w 571540"/>
                    <a:gd name="connsiteY106" fmla="*/ 152400 h 535781"/>
                    <a:gd name="connsiteX107" fmla="*/ 150059 w 571540"/>
                    <a:gd name="connsiteY107" fmla="*/ 166688 h 535781"/>
                    <a:gd name="connsiteX108" fmla="*/ 145297 w 571540"/>
                    <a:gd name="connsiteY108" fmla="*/ 173831 h 535781"/>
                    <a:gd name="connsiteX109" fmla="*/ 140534 w 571540"/>
                    <a:gd name="connsiteY109" fmla="*/ 188119 h 535781"/>
                    <a:gd name="connsiteX110" fmla="*/ 135772 w 571540"/>
                    <a:gd name="connsiteY110" fmla="*/ 195263 h 535781"/>
                    <a:gd name="connsiteX111" fmla="*/ 131009 w 571540"/>
                    <a:gd name="connsiteY111" fmla="*/ 209550 h 535781"/>
                    <a:gd name="connsiteX112" fmla="*/ 128628 w 571540"/>
                    <a:gd name="connsiteY112" fmla="*/ 216694 h 535781"/>
                    <a:gd name="connsiteX113" fmla="*/ 126247 w 571540"/>
                    <a:gd name="connsiteY113" fmla="*/ 223838 h 535781"/>
                    <a:gd name="connsiteX114" fmla="*/ 123865 w 571540"/>
                    <a:gd name="connsiteY114" fmla="*/ 233363 h 535781"/>
                    <a:gd name="connsiteX115" fmla="*/ 119103 w 571540"/>
                    <a:gd name="connsiteY115" fmla="*/ 271463 h 535781"/>
                    <a:gd name="connsiteX116" fmla="*/ 114340 w 571540"/>
                    <a:gd name="connsiteY116" fmla="*/ 278606 h 535781"/>
                    <a:gd name="connsiteX117" fmla="*/ 111959 w 571540"/>
                    <a:gd name="connsiteY117" fmla="*/ 288131 h 535781"/>
                    <a:gd name="connsiteX118" fmla="*/ 97672 w 571540"/>
                    <a:gd name="connsiteY118" fmla="*/ 295275 h 535781"/>
                    <a:gd name="connsiteX119" fmla="*/ 52428 w 571540"/>
                    <a:gd name="connsiteY119" fmla="*/ 292894 h 535781"/>
                    <a:gd name="connsiteX120" fmla="*/ 45284 w 571540"/>
                    <a:gd name="connsiteY120" fmla="*/ 288131 h 535781"/>
                    <a:gd name="connsiteX121" fmla="*/ 35759 w 571540"/>
                    <a:gd name="connsiteY121" fmla="*/ 273844 h 535781"/>
                    <a:gd name="connsiteX122" fmla="*/ 21472 w 571540"/>
                    <a:gd name="connsiteY122" fmla="*/ 264319 h 535781"/>
                    <a:gd name="connsiteX123" fmla="*/ 14328 w 571540"/>
                    <a:gd name="connsiteY123" fmla="*/ 250031 h 535781"/>
                    <a:gd name="connsiteX124" fmla="*/ 11947 w 571540"/>
                    <a:gd name="connsiteY124" fmla="*/ 242888 h 535781"/>
                    <a:gd name="connsiteX125" fmla="*/ 4803 w 571540"/>
                    <a:gd name="connsiteY125" fmla="*/ 238125 h 535781"/>
                    <a:gd name="connsiteX126" fmla="*/ 2422 w 571540"/>
                    <a:gd name="connsiteY126" fmla="*/ 245269 h 535781"/>
                    <a:gd name="connsiteX127" fmla="*/ 4803 w 571540"/>
                    <a:gd name="connsiteY127" fmla="*/ 254794 h 535781"/>
                    <a:gd name="connsiteX128" fmla="*/ 9565 w 571540"/>
                    <a:gd name="connsiteY128" fmla="*/ 271463 h 535781"/>
                    <a:gd name="connsiteX129" fmla="*/ 7184 w 571540"/>
                    <a:gd name="connsiteY129" fmla="*/ 300038 h 535781"/>
                    <a:gd name="connsiteX130" fmla="*/ 40 w 571540"/>
                    <a:gd name="connsiteY130" fmla="*/ 319088 h 53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571540" h="535781">
                      <a:moveTo>
                        <a:pt x="40" y="319088"/>
                      </a:moveTo>
                      <a:cubicBezTo>
                        <a:pt x="437" y="324247"/>
                        <a:pt x="5706" y="327687"/>
                        <a:pt x="9565" y="330994"/>
                      </a:cubicBezTo>
                      <a:cubicBezTo>
                        <a:pt x="11471" y="332628"/>
                        <a:pt x="14515" y="332156"/>
                        <a:pt x="16709" y="333375"/>
                      </a:cubicBezTo>
                      <a:cubicBezTo>
                        <a:pt x="21713" y="336155"/>
                        <a:pt x="26234" y="339725"/>
                        <a:pt x="30997" y="342900"/>
                      </a:cubicBezTo>
                      <a:lnTo>
                        <a:pt x="38140" y="347663"/>
                      </a:lnTo>
                      <a:lnTo>
                        <a:pt x="47665" y="361950"/>
                      </a:lnTo>
                      <a:cubicBezTo>
                        <a:pt x="49253" y="364331"/>
                        <a:pt x="50047" y="367507"/>
                        <a:pt x="52428" y="369094"/>
                      </a:cubicBezTo>
                      <a:lnTo>
                        <a:pt x="59572" y="373856"/>
                      </a:lnTo>
                      <a:cubicBezTo>
                        <a:pt x="73067" y="394101"/>
                        <a:pt x="50836" y="362735"/>
                        <a:pt x="78622" y="390525"/>
                      </a:cubicBezTo>
                      <a:cubicBezTo>
                        <a:pt x="81003" y="392906"/>
                        <a:pt x="83178" y="395513"/>
                        <a:pt x="85765" y="397669"/>
                      </a:cubicBezTo>
                      <a:cubicBezTo>
                        <a:pt x="95984" y="406185"/>
                        <a:pt x="90564" y="398188"/>
                        <a:pt x="100053" y="409575"/>
                      </a:cubicBezTo>
                      <a:cubicBezTo>
                        <a:pt x="101885" y="411774"/>
                        <a:pt x="103535" y="414159"/>
                        <a:pt x="104815" y="416719"/>
                      </a:cubicBezTo>
                      <a:cubicBezTo>
                        <a:pt x="105938" y="418964"/>
                        <a:pt x="105629" y="421903"/>
                        <a:pt x="107197" y="423863"/>
                      </a:cubicBezTo>
                      <a:cubicBezTo>
                        <a:pt x="108985" y="426098"/>
                        <a:pt x="111959" y="427038"/>
                        <a:pt x="114340" y="428625"/>
                      </a:cubicBezTo>
                      <a:cubicBezTo>
                        <a:pt x="115928" y="431006"/>
                        <a:pt x="117823" y="433209"/>
                        <a:pt x="119103" y="435769"/>
                      </a:cubicBezTo>
                      <a:cubicBezTo>
                        <a:pt x="120226" y="438014"/>
                        <a:pt x="120092" y="440824"/>
                        <a:pt x="121484" y="442913"/>
                      </a:cubicBezTo>
                      <a:cubicBezTo>
                        <a:pt x="123352" y="445715"/>
                        <a:pt x="126561" y="447398"/>
                        <a:pt x="128628" y="450056"/>
                      </a:cubicBezTo>
                      <a:cubicBezTo>
                        <a:pt x="136508" y="460187"/>
                        <a:pt x="136173" y="464391"/>
                        <a:pt x="145297" y="471488"/>
                      </a:cubicBezTo>
                      <a:cubicBezTo>
                        <a:pt x="149815" y="475002"/>
                        <a:pt x="154822" y="477838"/>
                        <a:pt x="159584" y="481013"/>
                      </a:cubicBezTo>
                      <a:lnTo>
                        <a:pt x="166728" y="485775"/>
                      </a:lnTo>
                      <a:cubicBezTo>
                        <a:pt x="183732" y="511285"/>
                        <a:pt x="157258" y="472581"/>
                        <a:pt x="178634" y="500063"/>
                      </a:cubicBezTo>
                      <a:cubicBezTo>
                        <a:pt x="182148" y="504581"/>
                        <a:pt x="183397" y="511175"/>
                        <a:pt x="188159" y="514350"/>
                      </a:cubicBezTo>
                      <a:cubicBezTo>
                        <a:pt x="192922" y="517525"/>
                        <a:pt x="198400" y="519827"/>
                        <a:pt x="202447" y="523875"/>
                      </a:cubicBezTo>
                      <a:cubicBezTo>
                        <a:pt x="204828" y="526256"/>
                        <a:pt x="206788" y="529151"/>
                        <a:pt x="209590" y="531019"/>
                      </a:cubicBezTo>
                      <a:cubicBezTo>
                        <a:pt x="214672" y="534407"/>
                        <a:pt x="234979" y="535680"/>
                        <a:pt x="235784" y="535781"/>
                      </a:cubicBezTo>
                      <a:cubicBezTo>
                        <a:pt x="239753" y="534987"/>
                        <a:pt x="244322" y="535645"/>
                        <a:pt x="247690" y="533400"/>
                      </a:cubicBezTo>
                      <a:cubicBezTo>
                        <a:pt x="252931" y="529906"/>
                        <a:pt x="247923" y="512902"/>
                        <a:pt x="247690" y="511969"/>
                      </a:cubicBezTo>
                      <a:cubicBezTo>
                        <a:pt x="246472" y="507099"/>
                        <a:pt x="244515" y="502444"/>
                        <a:pt x="242928" y="497681"/>
                      </a:cubicBezTo>
                      <a:lnTo>
                        <a:pt x="238165" y="483394"/>
                      </a:lnTo>
                      <a:cubicBezTo>
                        <a:pt x="237371" y="481013"/>
                        <a:pt x="237176" y="478339"/>
                        <a:pt x="235784" y="476250"/>
                      </a:cubicBezTo>
                      <a:lnTo>
                        <a:pt x="226259" y="461963"/>
                      </a:lnTo>
                      <a:cubicBezTo>
                        <a:pt x="224426" y="456463"/>
                        <a:pt x="220300" y="445321"/>
                        <a:pt x="221497" y="440531"/>
                      </a:cubicBezTo>
                      <a:cubicBezTo>
                        <a:pt x="222191" y="437755"/>
                        <a:pt x="226259" y="437356"/>
                        <a:pt x="228640" y="435769"/>
                      </a:cubicBezTo>
                      <a:cubicBezTo>
                        <a:pt x="239134" y="437268"/>
                        <a:pt x="245233" y="435693"/>
                        <a:pt x="252453" y="442913"/>
                      </a:cubicBezTo>
                      <a:cubicBezTo>
                        <a:pt x="254476" y="444936"/>
                        <a:pt x="254980" y="448268"/>
                        <a:pt x="257215" y="450056"/>
                      </a:cubicBezTo>
                      <a:cubicBezTo>
                        <a:pt x="259175" y="451624"/>
                        <a:pt x="262114" y="451315"/>
                        <a:pt x="264359" y="452438"/>
                      </a:cubicBezTo>
                      <a:cubicBezTo>
                        <a:pt x="273230" y="456874"/>
                        <a:pt x="270745" y="457759"/>
                        <a:pt x="278647" y="464344"/>
                      </a:cubicBezTo>
                      <a:cubicBezTo>
                        <a:pt x="286193" y="470633"/>
                        <a:pt x="289696" y="470408"/>
                        <a:pt x="300078" y="473869"/>
                      </a:cubicBezTo>
                      <a:lnTo>
                        <a:pt x="307222" y="476250"/>
                      </a:lnTo>
                      <a:cubicBezTo>
                        <a:pt x="313572" y="475456"/>
                        <a:pt x="319960" y="474921"/>
                        <a:pt x="326272" y="473869"/>
                      </a:cubicBezTo>
                      <a:cubicBezTo>
                        <a:pt x="333474" y="472669"/>
                        <a:pt x="343726" y="468844"/>
                        <a:pt x="350084" y="466725"/>
                      </a:cubicBezTo>
                      <a:lnTo>
                        <a:pt x="357228" y="464344"/>
                      </a:lnTo>
                      <a:lnTo>
                        <a:pt x="364372" y="461963"/>
                      </a:lnTo>
                      <a:cubicBezTo>
                        <a:pt x="369134" y="458788"/>
                        <a:pt x="373229" y="454248"/>
                        <a:pt x="378659" y="452438"/>
                      </a:cubicBezTo>
                      <a:lnTo>
                        <a:pt x="392947" y="447675"/>
                      </a:lnTo>
                      <a:cubicBezTo>
                        <a:pt x="399297" y="448469"/>
                        <a:pt x="405701" y="448911"/>
                        <a:pt x="411997" y="450056"/>
                      </a:cubicBezTo>
                      <a:cubicBezTo>
                        <a:pt x="419996" y="451511"/>
                        <a:pt x="419172" y="453136"/>
                        <a:pt x="426284" y="457200"/>
                      </a:cubicBezTo>
                      <a:cubicBezTo>
                        <a:pt x="429366" y="458961"/>
                        <a:pt x="432634" y="460375"/>
                        <a:pt x="435809" y="461963"/>
                      </a:cubicBezTo>
                      <a:cubicBezTo>
                        <a:pt x="444541" y="475059"/>
                        <a:pt x="435809" y="463947"/>
                        <a:pt x="447715" y="473869"/>
                      </a:cubicBezTo>
                      <a:cubicBezTo>
                        <a:pt x="471123" y="493377"/>
                        <a:pt x="440890" y="469424"/>
                        <a:pt x="459622" y="488156"/>
                      </a:cubicBezTo>
                      <a:cubicBezTo>
                        <a:pt x="461646" y="490180"/>
                        <a:pt x="464384" y="491331"/>
                        <a:pt x="466765" y="492919"/>
                      </a:cubicBezTo>
                      <a:cubicBezTo>
                        <a:pt x="470951" y="505474"/>
                        <a:pt x="466381" y="495315"/>
                        <a:pt x="476290" y="507206"/>
                      </a:cubicBezTo>
                      <a:cubicBezTo>
                        <a:pt x="478122" y="509405"/>
                        <a:pt x="478818" y="512562"/>
                        <a:pt x="481053" y="514350"/>
                      </a:cubicBezTo>
                      <a:cubicBezTo>
                        <a:pt x="483013" y="515918"/>
                        <a:pt x="485816" y="515937"/>
                        <a:pt x="488197" y="516731"/>
                      </a:cubicBezTo>
                      <a:cubicBezTo>
                        <a:pt x="494547" y="515937"/>
                        <a:pt x="500990" y="515691"/>
                        <a:pt x="507247" y="514350"/>
                      </a:cubicBezTo>
                      <a:cubicBezTo>
                        <a:pt x="512155" y="513298"/>
                        <a:pt x="521534" y="509588"/>
                        <a:pt x="521534" y="509588"/>
                      </a:cubicBezTo>
                      <a:cubicBezTo>
                        <a:pt x="523915" y="508000"/>
                        <a:pt x="526479" y="506657"/>
                        <a:pt x="528678" y="504825"/>
                      </a:cubicBezTo>
                      <a:cubicBezTo>
                        <a:pt x="531265" y="502669"/>
                        <a:pt x="533020" y="499549"/>
                        <a:pt x="535822" y="497681"/>
                      </a:cubicBezTo>
                      <a:cubicBezTo>
                        <a:pt x="537910" y="496289"/>
                        <a:pt x="540584" y="496094"/>
                        <a:pt x="542965" y="495300"/>
                      </a:cubicBezTo>
                      <a:cubicBezTo>
                        <a:pt x="553882" y="478924"/>
                        <a:pt x="550680" y="486443"/>
                        <a:pt x="554872" y="473869"/>
                      </a:cubicBezTo>
                      <a:cubicBezTo>
                        <a:pt x="555171" y="472076"/>
                        <a:pt x="557858" y="453608"/>
                        <a:pt x="559634" y="450056"/>
                      </a:cubicBezTo>
                      <a:cubicBezTo>
                        <a:pt x="576008" y="417307"/>
                        <a:pt x="564956" y="448379"/>
                        <a:pt x="571540" y="428625"/>
                      </a:cubicBezTo>
                      <a:cubicBezTo>
                        <a:pt x="570746" y="416719"/>
                        <a:pt x="570846" y="404719"/>
                        <a:pt x="569159" y="392906"/>
                      </a:cubicBezTo>
                      <a:cubicBezTo>
                        <a:pt x="568449" y="387937"/>
                        <a:pt x="565984" y="383381"/>
                        <a:pt x="564397" y="378619"/>
                      </a:cubicBezTo>
                      <a:lnTo>
                        <a:pt x="562015" y="371475"/>
                      </a:lnTo>
                      <a:cubicBezTo>
                        <a:pt x="561221" y="335756"/>
                        <a:pt x="561062" y="300018"/>
                        <a:pt x="559634" y="264319"/>
                      </a:cubicBezTo>
                      <a:cubicBezTo>
                        <a:pt x="559392" y="258262"/>
                        <a:pt x="555986" y="249015"/>
                        <a:pt x="554872" y="242888"/>
                      </a:cubicBezTo>
                      <a:cubicBezTo>
                        <a:pt x="552461" y="229627"/>
                        <a:pt x="552187" y="220680"/>
                        <a:pt x="550109" y="207169"/>
                      </a:cubicBezTo>
                      <a:cubicBezTo>
                        <a:pt x="542837" y="159897"/>
                        <a:pt x="553979" y="245276"/>
                        <a:pt x="545347" y="176213"/>
                      </a:cubicBezTo>
                      <a:cubicBezTo>
                        <a:pt x="546141" y="160338"/>
                        <a:pt x="546351" y="144423"/>
                        <a:pt x="547728" y="128588"/>
                      </a:cubicBezTo>
                      <a:cubicBezTo>
                        <a:pt x="547945" y="126087"/>
                        <a:pt x="549419" y="123858"/>
                        <a:pt x="550109" y="121444"/>
                      </a:cubicBezTo>
                      <a:cubicBezTo>
                        <a:pt x="551008" y="118297"/>
                        <a:pt x="551696" y="115094"/>
                        <a:pt x="552490" y="111919"/>
                      </a:cubicBezTo>
                      <a:cubicBezTo>
                        <a:pt x="551696" y="107156"/>
                        <a:pt x="553125" y="101401"/>
                        <a:pt x="550109" y="97631"/>
                      </a:cubicBezTo>
                      <a:cubicBezTo>
                        <a:pt x="548541" y="95671"/>
                        <a:pt x="545210" y="98890"/>
                        <a:pt x="542965" y="100013"/>
                      </a:cubicBezTo>
                      <a:cubicBezTo>
                        <a:pt x="524508" y="109242"/>
                        <a:pt x="546629" y="101173"/>
                        <a:pt x="528678" y="107156"/>
                      </a:cubicBezTo>
                      <a:cubicBezTo>
                        <a:pt x="525503" y="106362"/>
                        <a:pt x="521616" y="106930"/>
                        <a:pt x="519153" y="104775"/>
                      </a:cubicBezTo>
                      <a:cubicBezTo>
                        <a:pt x="514845" y="101006"/>
                        <a:pt x="509628" y="90488"/>
                        <a:pt x="509628" y="90488"/>
                      </a:cubicBezTo>
                      <a:cubicBezTo>
                        <a:pt x="509471" y="89862"/>
                        <a:pt x="506109" y="75374"/>
                        <a:pt x="504865" y="73819"/>
                      </a:cubicBezTo>
                      <a:cubicBezTo>
                        <a:pt x="503077" y="71584"/>
                        <a:pt x="500103" y="70644"/>
                        <a:pt x="497722" y="69056"/>
                      </a:cubicBezTo>
                      <a:cubicBezTo>
                        <a:pt x="496134" y="66675"/>
                        <a:pt x="494791" y="64111"/>
                        <a:pt x="492959" y="61913"/>
                      </a:cubicBezTo>
                      <a:cubicBezTo>
                        <a:pt x="486376" y="54014"/>
                        <a:pt x="485486" y="56493"/>
                        <a:pt x="481053" y="47625"/>
                      </a:cubicBezTo>
                      <a:cubicBezTo>
                        <a:pt x="471640" y="28797"/>
                        <a:pt x="488452" y="53645"/>
                        <a:pt x="471528" y="33338"/>
                      </a:cubicBezTo>
                      <a:cubicBezTo>
                        <a:pt x="469696" y="31139"/>
                        <a:pt x="469192" y="27711"/>
                        <a:pt x="466765" y="26194"/>
                      </a:cubicBezTo>
                      <a:cubicBezTo>
                        <a:pt x="462508" y="23533"/>
                        <a:pt x="456655" y="24216"/>
                        <a:pt x="452478" y="21431"/>
                      </a:cubicBezTo>
                      <a:lnTo>
                        <a:pt x="431047" y="7144"/>
                      </a:lnTo>
                      <a:cubicBezTo>
                        <a:pt x="428666" y="5556"/>
                        <a:pt x="426618" y="3286"/>
                        <a:pt x="423903" y="2381"/>
                      </a:cubicBezTo>
                      <a:lnTo>
                        <a:pt x="416759" y="0"/>
                      </a:lnTo>
                      <a:cubicBezTo>
                        <a:pt x="413701" y="764"/>
                        <a:pt x="403510" y="3053"/>
                        <a:pt x="400090" y="4763"/>
                      </a:cubicBezTo>
                      <a:cubicBezTo>
                        <a:pt x="397531" y="6043"/>
                        <a:pt x="395145" y="7693"/>
                        <a:pt x="392947" y="9525"/>
                      </a:cubicBezTo>
                      <a:cubicBezTo>
                        <a:pt x="390360" y="11681"/>
                        <a:pt x="387959" y="14082"/>
                        <a:pt x="385803" y="16669"/>
                      </a:cubicBezTo>
                      <a:cubicBezTo>
                        <a:pt x="383971" y="18868"/>
                        <a:pt x="383194" y="21928"/>
                        <a:pt x="381040" y="23813"/>
                      </a:cubicBezTo>
                      <a:cubicBezTo>
                        <a:pt x="376733" y="27582"/>
                        <a:pt x="371515" y="30163"/>
                        <a:pt x="366753" y="33338"/>
                      </a:cubicBezTo>
                      <a:lnTo>
                        <a:pt x="359609" y="38100"/>
                      </a:lnTo>
                      <a:cubicBezTo>
                        <a:pt x="358963" y="41977"/>
                        <a:pt x="357639" y="54506"/>
                        <a:pt x="354847" y="59531"/>
                      </a:cubicBezTo>
                      <a:cubicBezTo>
                        <a:pt x="350932" y="66577"/>
                        <a:pt x="344969" y="75681"/>
                        <a:pt x="338178" y="80963"/>
                      </a:cubicBezTo>
                      <a:cubicBezTo>
                        <a:pt x="333660" y="84477"/>
                        <a:pt x="328653" y="87313"/>
                        <a:pt x="323890" y="90488"/>
                      </a:cubicBezTo>
                      <a:lnTo>
                        <a:pt x="316747" y="95250"/>
                      </a:lnTo>
                      <a:cubicBezTo>
                        <a:pt x="314366" y="96838"/>
                        <a:pt x="312409" y="99452"/>
                        <a:pt x="309603" y="100013"/>
                      </a:cubicBezTo>
                      <a:cubicBezTo>
                        <a:pt x="299565" y="102020"/>
                        <a:pt x="291480" y="103866"/>
                        <a:pt x="281028" y="104775"/>
                      </a:cubicBezTo>
                      <a:cubicBezTo>
                        <a:pt x="268351" y="105877"/>
                        <a:pt x="255628" y="106362"/>
                        <a:pt x="242928" y="107156"/>
                      </a:cubicBezTo>
                      <a:cubicBezTo>
                        <a:pt x="239753" y="107950"/>
                        <a:pt x="236538" y="108598"/>
                        <a:pt x="233403" y="109538"/>
                      </a:cubicBezTo>
                      <a:cubicBezTo>
                        <a:pt x="228595" y="110981"/>
                        <a:pt x="224038" y="113316"/>
                        <a:pt x="219115" y="114300"/>
                      </a:cubicBezTo>
                      <a:cubicBezTo>
                        <a:pt x="191057" y="119911"/>
                        <a:pt x="225983" y="113155"/>
                        <a:pt x="190540" y="119063"/>
                      </a:cubicBezTo>
                      <a:cubicBezTo>
                        <a:pt x="186548" y="119728"/>
                        <a:pt x="182539" y="120379"/>
                        <a:pt x="178634" y="121444"/>
                      </a:cubicBezTo>
                      <a:cubicBezTo>
                        <a:pt x="173791" y="122765"/>
                        <a:pt x="164347" y="126206"/>
                        <a:pt x="164347" y="126206"/>
                      </a:cubicBezTo>
                      <a:cubicBezTo>
                        <a:pt x="162759" y="128587"/>
                        <a:pt x="160055" y="130527"/>
                        <a:pt x="159584" y="133350"/>
                      </a:cubicBezTo>
                      <a:cubicBezTo>
                        <a:pt x="155886" y="155534"/>
                        <a:pt x="174323" y="119974"/>
                        <a:pt x="159584" y="152400"/>
                      </a:cubicBezTo>
                      <a:cubicBezTo>
                        <a:pt x="157215" y="157611"/>
                        <a:pt x="153234" y="161925"/>
                        <a:pt x="150059" y="166688"/>
                      </a:cubicBezTo>
                      <a:cubicBezTo>
                        <a:pt x="148472" y="169069"/>
                        <a:pt x="146202" y="171116"/>
                        <a:pt x="145297" y="173831"/>
                      </a:cubicBezTo>
                      <a:cubicBezTo>
                        <a:pt x="143709" y="178594"/>
                        <a:pt x="143319" y="183942"/>
                        <a:pt x="140534" y="188119"/>
                      </a:cubicBezTo>
                      <a:cubicBezTo>
                        <a:pt x="138947" y="190500"/>
                        <a:pt x="136934" y="192648"/>
                        <a:pt x="135772" y="195263"/>
                      </a:cubicBezTo>
                      <a:cubicBezTo>
                        <a:pt x="133733" y="199850"/>
                        <a:pt x="132597" y="204788"/>
                        <a:pt x="131009" y="209550"/>
                      </a:cubicBezTo>
                      <a:lnTo>
                        <a:pt x="128628" y="216694"/>
                      </a:lnTo>
                      <a:cubicBezTo>
                        <a:pt x="127834" y="219075"/>
                        <a:pt x="126856" y="221403"/>
                        <a:pt x="126247" y="223838"/>
                      </a:cubicBezTo>
                      <a:lnTo>
                        <a:pt x="123865" y="233363"/>
                      </a:lnTo>
                      <a:cubicBezTo>
                        <a:pt x="123605" y="236224"/>
                        <a:pt x="122055" y="263592"/>
                        <a:pt x="119103" y="271463"/>
                      </a:cubicBezTo>
                      <a:cubicBezTo>
                        <a:pt x="118098" y="274143"/>
                        <a:pt x="115928" y="276225"/>
                        <a:pt x="114340" y="278606"/>
                      </a:cubicBezTo>
                      <a:cubicBezTo>
                        <a:pt x="113546" y="281781"/>
                        <a:pt x="113774" y="285408"/>
                        <a:pt x="111959" y="288131"/>
                      </a:cubicBezTo>
                      <a:cubicBezTo>
                        <a:pt x="109321" y="292088"/>
                        <a:pt x="101748" y="293916"/>
                        <a:pt x="97672" y="295275"/>
                      </a:cubicBezTo>
                      <a:cubicBezTo>
                        <a:pt x="82591" y="294481"/>
                        <a:pt x="67392" y="294935"/>
                        <a:pt x="52428" y="292894"/>
                      </a:cubicBezTo>
                      <a:cubicBezTo>
                        <a:pt x="49592" y="292507"/>
                        <a:pt x="47072" y="290366"/>
                        <a:pt x="45284" y="288131"/>
                      </a:cubicBezTo>
                      <a:cubicBezTo>
                        <a:pt x="32194" y="271769"/>
                        <a:pt x="57618" y="290846"/>
                        <a:pt x="35759" y="273844"/>
                      </a:cubicBezTo>
                      <a:cubicBezTo>
                        <a:pt x="31241" y="270330"/>
                        <a:pt x="21472" y="264319"/>
                        <a:pt x="21472" y="264319"/>
                      </a:cubicBezTo>
                      <a:cubicBezTo>
                        <a:pt x="15483" y="246358"/>
                        <a:pt x="23562" y="268500"/>
                        <a:pt x="14328" y="250031"/>
                      </a:cubicBezTo>
                      <a:cubicBezTo>
                        <a:pt x="13206" y="247786"/>
                        <a:pt x="13515" y="244848"/>
                        <a:pt x="11947" y="242888"/>
                      </a:cubicBezTo>
                      <a:cubicBezTo>
                        <a:pt x="10159" y="240653"/>
                        <a:pt x="7184" y="239713"/>
                        <a:pt x="4803" y="238125"/>
                      </a:cubicBezTo>
                      <a:cubicBezTo>
                        <a:pt x="4009" y="240506"/>
                        <a:pt x="2422" y="242759"/>
                        <a:pt x="2422" y="245269"/>
                      </a:cubicBezTo>
                      <a:cubicBezTo>
                        <a:pt x="2422" y="248542"/>
                        <a:pt x="3904" y="251647"/>
                        <a:pt x="4803" y="254794"/>
                      </a:cubicBezTo>
                      <a:cubicBezTo>
                        <a:pt x="11635" y="278707"/>
                        <a:pt x="2122" y="241687"/>
                        <a:pt x="9565" y="271463"/>
                      </a:cubicBezTo>
                      <a:cubicBezTo>
                        <a:pt x="8771" y="280988"/>
                        <a:pt x="8755" y="290610"/>
                        <a:pt x="7184" y="300038"/>
                      </a:cubicBezTo>
                      <a:cubicBezTo>
                        <a:pt x="2171" y="330119"/>
                        <a:pt x="-357" y="313929"/>
                        <a:pt x="40" y="31908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29" name="Freeform 328"/>
                <p:cNvSpPr/>
                <p:nvPr/>
              </p:nvSpPr>
              <p:spPr>
                <a:xfrm>
                  <a:off x="1097822" y="3134976"/>
                  <a:ext cx="90822" cy="100163"/>
                </a:xfrm>
                <a:custGeom>
                  <a:avLst/>
                  <a:gdLst>
                    <a:gd name="connsiteX0" fmla="*/ 19384 w 90822"/>
                    <a:gd name="connsiteY0" fmla="*/ 151 h 100163"/>
                    <a:gd name="connsiteX1" fmla="*/ 334 w 90822"/>
                    <a:gd name="connsiteY1" fmla="*/ 14438 h 100163"/>
                    <a:gd name="connsiteX2" fmla="*/ 2716 w 90822"/>
                    <a:gd name="connsiteY2" fmla="*/ 38251 h 100163"/>
                    <a:gd name="connsiteX3" fmla="*/ 5097 w 90822"/>
                    <a:gd name="connsiteY3" fmla="*/ 45394 h 100163"/>
                    <a:gd name="connsiteX4" fmla="*/ 19384 w 90822"/>
                    <a:gd name="connsiteY4" fmla="*/ 57301 h 100163"/>
                    <a:gd name="connsiteX5" fmla="*/ 38434 w 90822"/>
                    <a:gd name="connsiteY5" fmla="*/ 73969 h 100163"/>
                    <a:gd name="connsiteX6" fmla="*/ 45578 w 90822"/>
                    <a:gd name="connsiteY6" fmla="*/ 78732 h 100163"/>
                    <a:gd name="connsiteX7" fmla="*/ 64628 w 90822"/>
                    <a:gd name="connsiteY7" fmla="*/ 95401 h 100163"/>
                    <a:gd name="connsiteX8" fmla="*/ 78916 w 90822"/>
                    <a:gd name="connsiteY8" fmla="*/ 100163 h 100163"/>
                    <a:gd name="connsiteX9" fmla="*/ 86059 w 90822"/>
                    <a:gd name="connsiteY9" fmla="*/ 95401 h 100163"/>
                    <a:gd name="connsiteX10" fmla="*/ 90822 w 90822"/>
                    <a:gd name="connsiteY10" fmla="*/ 81113 h 100163"/>
                    <a:gd name="connsiteX11" fmla="*/ 86059 w 90822"/>
                    <a:gd name="connsiteY11" fmla="*/ 64444 h 100163"/>
                    <a:gd name="connsiteX12" fmla="*/ 64628 w 90822"/>
                    <a:gd name="connsiteY12" fmla="*/ 47776 h 100163"/>
                    <a:gd name="connsiteX13" fmla="*/ 43197 w 90822"/>
                    <a:gd name="connsiteY13" fmla="*/ 31107 h 100163"/>
                    <a:gd name="connsiteX14" fmla="*/ 38434 w 90822"/>
                    <a:gd name="connsiteY14" fmla="*/ 23963 h 100163"/>
                    <a:gd name="connsiteX15" fmla="*/ 19384 w 90822"/>
                    <a:gd name="connsiteY15" fmla="*/ 151 h 10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822" h="100163">
                      <a:moveTo>
                        <a:pt x="19384" y="151"/>
                      </a:moveTo>
                      <a:cubicBezTo>
                        <a:pt x="13034" y="-1437"/>
                        <a:pt x="1040" y="9847"/>
                        <a:pt x="334" y="14438"/>
                      </a:cubicBezTo>
                      <a:cubicBezTo>
                        <a:pt x="-879" y="22323"/>
                        <a:pt x="1503" y="30367"/>
                        <a:pt x="2716" y="38251"/>
                      </a:cubicBezTo>
                      <a:cubicBezTo>
                        <a:pt x="3098" y="40732"/>
                        <a:pt x="3705" y="43306"/>
                        <a:pt x="5097" y="45394"/>
                      </a:cubicBezTo>
                      <a:cubicBezTo>
                        <a:pt x="8763" y="50893"/>
                        <a:pt x="14114" y="53787"/>
                        <a:pt x="19384" y="57301"/>
                      </a:cubicBezTo>
                      <a:cubicBezTo>
                        <a:pt x="27322" y="69206"/>
                        <a:pt x="21766" y="62856"/>
                        <a:pt x="38434" y="73969"/>
                      </a:cubicBezTo>
                      <a:lnTo>
                        <a:pt x="45578" y="78732"/>
                      </a:lnTo>
                      <a:cubicBezTo>
                        <a:pt x="51134" y="87066"/>
                        <a:pt x="52723" y="91433"/>
                        <a:pt x="64628" y="95401"/>
                      </a:cubicBezTo>
                      <a:lnTo>
                        <a:pt x="78916" y="100163"/>
                      </a:lnTo>
                      <a:cubicBezTo>
                        <a:pt x="81297" y="98576"/>
                        <a:pt x="84542" y="97828"/>
                        <a:pt x="86059" y="95401"/>
                      </a:cubicBezTo>
                      <a:cubicBezTo>
                        <a:pt x="88720" y="91144"/>
                        <a:pt x="90822" y="81113"/>
                        <a:pt x="90822" y="81113"/>
                      </a:cubicBezTo>
                      <a:cubicBezTo>
                        <a:pt x="90644" y="80402"/>
                        <a:pt x="87319" y="66064"/>
                        <a:pt x="86059" y="64444"/>
                      </a:cubicBezTo>
                      <a:cubicBezTo>
                        <a:pt x="74815" y="49988"/>
                        <a:pt x="76366" y="51688"/>
                        <a:pt x="64628" y="47776"/>
                      </a:cubicBezTo>
                      <a:cubicBezTo>
                        <a:pt x="54671" y="41138"/>
                        <a:pt x="50192" y="39501"/>
                        <a:pt x="43197" y="31107"/>
                      </a:cubicBezTo>
                      <a:cubicBezTo>
                        <a:pt x="41365" y="28908"/>
                        <a:pt x="40022" y="26344"/>
                        <a:pt x="38434" y="23963"/>
                      </a:cubicBezTo>
                      <a:cubicBezTo>
                        <a:pt x="32919" y="7417"/>
                        <a:pt x="25734" y="1739"/>
                        <a:pt x="19384" y="15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30" name="Freeform 329"/>
                <p:cNvSpPr/>
                <p:nvPr/>
              </p:nvSpPr>
              <p:spPr>
                <a:xfrm>
                  <a:off x="1188517" y="3408970"/>
                  <a:ext cx="157289" cy="200025"/>
                </a:xfrm>
                <a:custGeom>
                  <a:avLst/>
                  <a:gdLst>
                    <a:gd name="connsiteX0" fmla="*/ 102521 w 157289"/>
                    <a:gd name="connsiteY0" fmla="*/ 38100 h 200025"/>
                    <a:gd name="connsiteX1" fmla="*/ 100139 w 157289"/>
                    <a:gd name="connsiteY1" fmla="*/ 23813 h 200025"/>
                    <a:gd name="connsiteX2" fmla="*/ 83471 w 157289"/>
                    <a:gd name="connsiteY2" fmla="*/ 7144 h 200025"/>
                    <a:gd name="connsiteX3" fmla="*/ 69183 w 157289"/>
                    <a:gd name="connsiteY3" fmla="*/ 0 h 200025"/>
                    <a:gd name="connsiteX4" fmla="*/ 23939 w 157289"/>
                    <a:gd name="connsiteY4" fmla="*/ 2382 h 200025"/>
                    <a:gd name="connsiteX5" fmla="*/ 16796 w 157289"/>
                    <a:gd name="connsiteY5" fmla="*/ 4763 h 200025"/>
                    <a:gd name="connsiteX6" fmla="*/ 2508 w 157289"/>
                    <a:gd name="connsiteY6" fmla="*/ 14288 h 200025"/>
                    <a:gd name="connsiteX7" fmla="*/ 2508 w 157289"/>
                    <a:gd name="connsiteY7" fmla="*/ 33338 h 200025"/>
                    <a:gd name="connsiteX8" fmla="*/ 4889 w 157289"/>
                    <a:gd name="connsiteY8" fmla="*/ 40482 h 200025"/>
                    <a:gd name="connsiteX9" fmla="*/ 12033 w 157289"/>
                    <a:gd name="connsiteY9" fmla="*/ 45244 h 200025"/>
                    <a:gd name="connsiteX10" fmla="*/ 26321 w 157289"/>
                    <a:gd name="connsiteY10" fmla="*/ 59532 h 200025"/>
                    <a:gd name="connsiteX11" fmla="*/ 31083 w 157289"/>
                    <a:gd name="connsiteY11" fmla="*/ 66675 h 200025"/>
                    <a:gd name="connsiteX12" fmla="*/ 45371 w 157289"/>
                    <a:gd name="connsiteY12" fmla="*/ 78582 h 200025"/>
                    <a:gd name="connsiteX13" fmla="*/ 59658 w 157289"/>
                    <a:gd name="connsiteY13" fmla="*/ 100013 h 200025"/>
                    <a:gd name="connsiteX14" fmla="*/ 64421 w 157289"/>
                    <a:gd name="connsiteY14" fmla="*/ 107157 h 200025"/>
                    <a:gd name="connsiteX15" fmla="*/ 71564 w 157289"/>
                    <a:gd name="connsiteY15" fmla="*/ 121444 h 200025"/>
                    <a:gd name="connsiteX16" fmla="*/ 81089 w 157289"/>
                    <a:gd name="connsiteY16" fmla="*/ 135732 h 200025"/>
                    <a:gd name="connsiteX17" fmla="*/ 97758 w 157289"/>
                    <a:gd name="connsiteY17" fmla="*/ 157163 h 200025"/>
                    <a:gd name="connsiteX18" fmla="*/ 107283 w 157289"/>
                    <a:gd name="connsiteY18" fmla="*/ 173832 h 200025"/>
                    <a:gd name="connsiteX19" fmla="*/ 116808 w 157289"/>
                    <a:gd name="connsiteY19" fmla="*/ 188119 h 200025"/>
                    <a:gd name="connsiteX20" fmla="*/ 138239 w 157289"/>
                    <a:gd name="connsiteY20" fmla="*/ 200025 h 200025"/>
                    <a:gd name="connsiteX21" fmla="*/ 147764 w 157289"/>
                    <a:gd name="connsiteY21" fmla="*/ 197644 h 200025"/>
                    <a:gd name="connsiteX22" fmla="*/ 150146 w 157289"/>
                    <a:gd name="connsiteY22" fmla="*/ 190500 h 200025"/>
                    <a:gd name="connsiteX23" fmla="*/ 154908 w 157289"/>
                    <a:gd name="connsiteY23" fmla="*/ 183357 h 200025"/>
                    <a:gd name="connsiteX24" fmla="*/ 157289 w 157289"/>
                    <a:gd name="connsiteY24" fmla="*/ 176213 h 200025"/>
                    <a:gd name="connsiteX25" fmla="*/ 152527 w 157289"/>
                    <a:gd name="connsiteY25" fmla="*/ 150019 h 200025"/>
                    <a:gd name="connsiteX26" fmla="*/ 150146 w 157289"/>
                    <a:gd name="connsiteY26" fmla="*/ 138113 h 200025"/>
                    <a:gd name="connsiteX27" fmla="*/ 145383 w 157289"/>
                    <a:gd name="connsiteY27" fmla="*/ 123825 h 200025"/>
                    <a:gd name="connsiteX28" fmla="*/ 143002 w 157289"/>
                    <a:gd name="connsiteY28" fmla="*/ 116682 h 200025"/>
                    <a:gd name="connsiteX29" fmla="*/ 128714 w 157289"/>
                    <a:gd name="connsiteY29" fmla="*/ 107157 h 200025"/>
                    <a:gd name="connsiteX30" fmla="*/ 121571 w 157289"/>
                    <a:gd name="connsiteY30" fmla="*/ 102394 h 200025"/>
                    <a:gd name="connsiteX31" fmla="*/ 112046 w 157289"/>
                    <a:gd name="connsiteY31" fmla="*/ 73819 h 200025"/>
                    <a:gd name="connsiteX32" fmla="*/ 109664 w 157289"/>
                    <a:gd name="connsiteY32" fmla="*/ 66675 h 200025"/>
                    <a:gd name="connsiteX33" fmla="*/ 104902 w 157289"/>
                    <a:gd name="connsiteY33" fmla="*/ 59532 h 200025"/>
                    <a:gd name="connsiteX34" fmla="*/ 100139 w 157289"/>
                    <a:gd name="connsiteY34" fmla="*/ 42863 h 200025"/>
                    <a:gd name="connsiteX35" fmla="*/ 102521 w 157289"/>
                    <a:gd name="connsiteY35" fmla="*/ 3810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7289" h="200025">
                      <a:moveTo>
                        <a:pt x="102521" y="38100"/>
                      </a:moveTo>
                      <a:cubicBezTo>
                        <a:pt x="102521" y="34925"/>
                        <a:pt x="101996" y="28270"/>
                        <a:pt x="100139" y="23813"/>
                      </a:cubicBezTo>
                      <a:cubicBezTo>
                        <a:pt x="91877" y="3986"/>
                        <a:pt x="94880" y="12848"/>
                        <a:pt x="83471" y="7144"/>
                      </a:cubicBezTo>
                      <a:cubicBezTo>
                        <a:pt x="65002" y="-2090"/>
                        <a:pt x="87144" y="5989"/>
                        <a:pt x="69183" y="0"/>
                      </a:cubicBezTo>
                      <a:cubicBezTo>
                        <a:pt x="54102" y="794"/>
                        <a:pt x="38979" y="1015"/>
                        <a:pt x="23939" y="2382"/>
                      </a:cubicBezTo>
                      <a:cubicBezTo>
                        <a:pt x="21440" y="2609"/>
                        <a:pt x="18990" y="3544"/>
                        <a:pt x="16796" y="4763"/>
                      </a:cubicBezTo>
                      <a:cubicBezTo>
                        <a:pt x="11792" y="7543"/>
                        <a:pt x="2508" y="14288"/>
                        <a:pt x="2508" y="14288"/>
                      </a:cubicBezTo>
                      <a:cubicBezTo>
                        <a:pt x="-898" y="24508"/>
                        <a:pt x="-776" y="20202"/>
                        <a:pt x="2508" y="33338"/>
                      </a:cubicBezTo>
                      <a:cubicBezTo>
                        <a:pt x="3117" y="35773"/>
                        <a:pt x="3321" y="38522"/>
                        <a:pt x="4889" y="40482"/>
                      </a:cubicBezTo>
                      <a:cubicBezTo>
                        <a:pt x="6677" y="42717"/>
                        <a:pt x="9894" y="43343"/>
                        <a:pt x="12033" y="45244"/>
                      </a:cubicBezTo>
                      <a:cubicBezTo>
                        <a:pt x="17067" y="49719"/>
                        <a:pt x="22585" y="53928"/>
                        <a:pt x="26321" y="59532"/>
                      </a:cubicBezTo>
                      <a:cubicBezTo>
                        <a:pt x="27908" y="61913"/>
                        <a:pt x="29060" y="64652"/>
                        <a:pt x="31083" y="66675"/>
                      </a:cubicBezTo>
                      <a:cubicBezTo>
                        <a:pt x="44841" y="80433"/>
                        <a:pt x="31718" y="61028"/>
                        <a:pt x="45371" y="78582"/>
                      </a:cubicBezTo>
                      <a:cubicBezTo>
                        <a:pt x="45388" y="78604"/>
                        <a:pt x="57269" y="96430"/>
                        <a:pt x="59658" y="100013"/>
                      </a:cubicBezTo>
                      <a:lnTo>
                        <a:pt x="64421" y="107157"/>
                      </a:lnTo>
                      <a:cubicBezTo>
                        <a:pt x="70404" y="125107"/>
                        <a:pt x="62334" y="102984"/>
                        <a:pt x="71564" y="121444"/>
                      </a:cubicBezTo>
                      <a:cubicBezTo>
                        <a:pt x="78456" y="135228"/>
                        <a:pt x="67550" y="122191"/>
                        <a:pt x="81089" y="135732"/>
                      </a:cubicBezTo>
                      <a:cubicBezTo>
                        <a:pt x="87598" y="155250"/>
                        <a:pt x="76340" y="125038"/>
                        <a:pt x="97758" y="157163"/>
                      </a:cubicBezTo>
                      <a:cubicBezTo>
                        <a:pt x="114231" y="181871"/>
                        <a:pt x="89160" y="143627"/>
                        <a:pt x="107283" y="173832"/>
                      </a:cubicBezTo>
                      <a:cubicBezTo>
                        <a:pt x="110228" y="178740"/>
                        <a:pt x="112046" y="184944"/>
                        <a:pt x="116808" y="188119"/>
                      </a:cubicBezTo>
                      <a:cubicBezTo>
                        <a:pt x="133184" y="199036"/>
                        <a:pt x="125666" y="195834"/>
                        <a:pt x="138239" y="200025"/>
                      </a:cubicBezTo>
                      <a:cubicBezTo>
                        <a:pt x="141414" y="199231"/>
                        <a:pt x="145208" y="199688"/>
                        <a:pt x="147764" y="197644"/>
                      </a:cubicBezTo>
                      <a:cubicBezTo>
                        <a:pt x="149724" y="196076"/>
                        <a:pt x="149023" y="192745"/>
                        <a:pt x="150146" y="190500"/>
                      </a:cubicBezTo>
                      <a:cubicBezTo>
                        <a:pt x="151426" y="187941"/>
                        <a:pt x="153321" y="185738"/>
                        <a:pt x="154908" y="183357"/>
                      </a:cubicBezTo>
                      <a:cubicBezTo>
                        <a:pt x="155702" y="180976"/>
                        <a:pt x="157289" y="178723"/>
                        <a:pt x="157289" y="176213"/>
                      </a:cubicBezTo>
                      <a:cubicBezTo>
                        <a:pt x="157289" y="154214"/>
                        <a:pt x="155875" y="163414"/>
                        <a:pt x="152527" y="150019"/>
                      </a:cubicBezTo>
                      <a:cubicBezTo>
                        <a:pt x="151545" y="146093"/>
                        <a:pt x="151211" y="142018"/>
                        <a:pt x="150146" y="138113"/>
                      </a:cubicBezTo>
                      <a:cubicBezTo>
                        <a:pt x="148825" y="133270"/>
                        <a:pt x="146971" y="128588"/>
                        <a:pt x="145383" y="123825"/>
                      </a:cubicBezTo>
                      <a:cubicBezTo>
                        <a:pt x="144589" y="121444"/>
                        <a:pt x="145090" y="118074"/>
                        <a:pt x="143002" y="116682"/>
                      </a:cubicBezTo>
                      <a:lnTo>
                        <a:pt x="128714" y="107157"/>
                      </a:lnTo>
                      <a:lnTo>
                        <a:pt x="121571" y="102394"/>
                      </a:lnTo>
                      <a:lnTo>
                        <a:pt x="112046" y="73819"/>
                      </a:lnTo>
                      <a:cubicBezTo>
                        <a:pt x="111252" y="71438"/>
                        <a:pt x="111056" y="68764"/>
                        <a:pt x="109664" y="66675"/>
                      </a:cubicBezTo>
                      <a:lnTo>
                        <a:pt x="104902" y="59532"/>
                      </a:lnTo>
                      <a:cubicBezTo>
                        <a:pt x="99193" y="42403"/>
                        <a:pt x="106120" y="63794"/>
                        <a:pt x="100139" y="42863"/>
                      </a:cubicBezTo>
                      <a:cubicBezTo>
                        <a:pt x="99449" y="40449"/>
                        <a:pt x="102521" y="41275"/>
                        <a:pt x="102521" y="381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31" name="Freeform 330"/>
                <p:cNvSpPr/>
                <p:nvPr/>
              </p:nvSpPr>
              <p:spPr>
                <a:xfrm>
                  <a:off x="1422006" y="3654220"/>
                  <a:ext cx="69297" cy="71457"/>
                </a:xfrm>
                <a:custGeom>
                  <a:avLst/>
                  <a:gdLst>
                    <a:gd name="connsiteX0" fmla="*/ 40482 w 69297"/>
                    <a:gd name="connsiteY0" fmla="*/ 4782 h 71457"/>
                    <a:gd name="connsiteX1" fmla="*/ 7144 w 69297"/>
                    <a:gd name="connsiteY1" fmla="*/ 2400 h 71457"/>
                    <a:gd name="connsiteX2" fmla="*/ 0 w 69297"/>
                    <a:gd name="connsiteY2" fmla="*/ 16688 h 71457"/>
                    <a:gd name="connsiteX3" fmla="*/ 4763 w 69297"/>
                    <a:gd name="connsiteY3" fmla="*/ 45263 h 71457"/>
                    <a:gd name="connsiteX4" fmla="*/ 9525 w 69297"/>
                    <a:gd name="connsiteY4" fmla="*/ 52407 h 71457"/>
                    <a:gd name="connsiteX5" fmla="*/ 16669 w 69297"/>
                    <a:gd name="connsiteY5" fmla="*/ 59550 h 71457"/>
                    <a:gd name="connsiteX6" fmla="*/ 23813 w 69297"/>
                    <a:gd name="connsiteY6" fmla="*/ 64313 h 71457"/>
                    <a:gd name="connsiteX7" fmla="*/ 59532 w 69297"/>
                    <a:gd name="connsiteY7" fmla="*/ 71457 h 71457"/>
                    <a:gd name="connsiteX8" fmla="*/ 69057 w 69297"/>
                    <a:gd name="connsiteY8" fmla="*/ 50025 h 71457"/>
                    <a:gd name="connsiteX9" fmla="*/ 59532 w 69297"/>
                    <a:gd name="connsiteY9" fmla="*/ 23832 h 71457"/>
                    <a:gd name="connsiteX10" fmla="*/ 52388 w 69297"/>
                    <a:gd name="connsiteY10" fmla="*/ 21450 h 71457"/>
                    <a:gd name="connsiteX11" fmla="*/ 42863 w 69297"/>
                    <a:gd name="connsiteY11" fmla="*/ 14307 h 71457"/>
                    <a:gd name="connsiteX12" fmla="*/ 35719 w 69297"/>
                    <a:gd name="connsiteY12" fmla="*/ 7163 h 71457"/>
                    <a:gd name="connsiteX13" fmla="*/ 40482 w 69297"/>
                    <a:gd name="connsiteY13" fmla="*/ 4782 h 7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297" h="71457">
                      <a:moveTo>
                        <a:pt x="40482" y="4782"/>
                      </a:moveTo>
                      <a:cubicBezTo>
                        <a:pt x="35720" y="3988"/>
                        <a:pt x="24331" y="-3850"/>
                        <a:pt x="7144" y="2400"/>
                      </a:cubicBezTo>
                      <a:cubicBezTo>
                        <a:pt x="3644" y="3673"/>
                        <a:pt x="959" y="13811"/>
                        <a:pt x="0" y="16688"/>
                      </a:cubicBezTo>
                      <a:cubicBezTo>
                        <a:pt x="525" y="20885"/>
                        <a:pt x="1987" y="38786"/>
                        <a:pt x="4763" y="45263"/>
                      </a:cubicBezTo>
                      <a:cubicBezTo>
                        <a:pt x="5890" y="47894"/>
                        <a:pt x="7693" y="50208"/>
                        <a:pt x="9525" y="52407"/>
                      </a:cubicBezTo>
                      <a:cubicBezTo>
                        <a:pt x="11681" y="54994"/>
                        <a:pt x="14082" y="57394"/>
                        <a:pt x="16669" y="59550"/>
                      </a:cubicBezTo>
                      <a:cubicBezTo>
                        <a:pt x="18868" y="61382"/>
                        <a:pt x="21198" y="63151"/>
                        <a:pt x="23813" y="64313"/>
                      </a:cubicBezTo>
                      <a:cubicBezTo>
                        <a:pt x="37881" y="70566"/>
                        <a:pt x="43188" y="69641"/>
                        <a:pt x="59532" y="71457"/>
                      </a:cubicBezTo>
                      <a:cubicBezTo>
                        <a:pt x="71689" y="67403"/>
                        <a:pt x="69057" y="70667"/>
                        <a:pt x="69057" y="50025"/>
                      </a:cubicBezTo>
                      <a:cubicBezTo>
                        <a:pt x="69057" y="36892"/>
                        <a:pt x="69727" y="30629"/>
                        <a:pt x="59532" y="23832"/>
                      </a:cubicBezTo>
                      <a:cubicBezTo>
                        <a:pt x="57443" y="22440"/>
                        <a:pt x="54769" y="22244"/>
                        <a:pt x="52388" y="21450"/>
                      </a:cubicBezTo>
                      <a:cubicBezTo>
                        <a:pt x="49213" y="19069"/>
                        <a:pt x="45876" y="16890"/>
                        <a:pt x="42863" y="14307"/>
                      </a:cubicBezTo>
                      <a:cubicBezTo>
                        <a:pt x="40306" y="12115"/>
                        <a:pt x="38306" y="9319"/>
                        <a:pt x="35719" y="7163"/>
                      </a:cubicBezTo>
                      <a:cubicBezTo>
                        <a:pt x="31408" y="3570"/>
                        <a:pt x="45244" y="5576"/>
                        <a:pt x="40482" y="478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32" name="Freeform 331"/>
                <p:cNvSpPr/>
                <p:nvPr/>
              </p:nvSpPr>
              <p:spPr>
                <a:xfrm>
                  <a:off x="1514875" y="3765478"/>
                  <a:ext cx="78581" cy="93549"/>
                </a:xfrm>
                <a:custGeom>
                  <a:avLst/>
                  <a:gdLst>
                    <a:gd name="connsiteX0" fmla="*/ 40481 w 78581"/>
                    <a:gd name="connsiteY0" fmla="*/ 3061 h 93549"/>
                    <a:gd name="connsiteX1" fmla="*/ 2381 w 78581"/>
                    <a:gd name="connsiteY1" fmla="*/ 3061 h 93549"/>
                    <a:gd name="connsiteX2" fmla="*/ 0 w 78581"/>
                    <a:gd name="connsiteY2" fmla="*/ 10205 h 93549"/>
                    <a:gd name="connsiteX3" fmla="*/ 7144 w 78581"/>
                    <a:gd name="connsiteY3" fmla="*/ 31636 h 93549"/>
                    <a:gd name="connsiteX4" fmla="*/ 11906 w 78581"/>
                    <a:gd name="connsiteY4" fmla="*/ 45924 h 93549"/>
                    <a:gd name="connsiteX5" fmla="*/ 16669 w 78581"/>
                    <a:gd name="connsiteY5" fmla="*/ 72117 h 93549"/>
                    <a:gd name="connsiteX6" fmla="*/ 21431 w 78581"/>
                    <a:gd name="connsiteY6" fmla="*/ 86405 h 93549"/>
                    <a:gd name="connsiteX7" fmla="*/ 26194 w 78581"/>
                    <a:gd name="connsiteY7" fmla="*/ 93549 h 93549"/>
                    <a:gd name="connsiteX8" fmla="*/ 66675 w 78581"/>
                    <a:gd name="connsiteY8" fmla="*/ 84024 h 93549"/>
                    <a:gd name="connsiteX9" fmla="*/ 76200 w 78581"/>
                    <a:gd name="connsiteY9" fmla="*/ 62592 h 93549"/>
                    <a:gd name="connsiteX10" fmla="*/ 78581 w 78581"/>
                    <a:gd name="connsiteY10" fmla="*/ 53067 h 93549"/>
                    <a:gd name="connsiteX11" fmla="*/ 66675 w 78581"/>
                    <a:gd name="connsiteY11" fmla="*/ 31636 h 93549"/>
                    <a:gd name="connsiteX12" fmla="*/ 52388 w 78581"/>
                    <a:gd name="connsiteY12" fmla="*/ 17349 h 93549"/>
                    <a:gd name="connsiteX13" fmla="*/ 40481 w 78581"/>
                    <a:gd name="connsiteY13" fmla="*/ 3061 h 9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581" h="93549">
                      <a:moveTo>
                        <a:pt x="40481" y="3061"/>
                      </a:moveTo>
                      <a:cubicBezTo>
                        <a:pt x="32147" y="680"/>
                        <a:pt x="18866" y="-2434"/>
                        <a:pt x="2381" y="3061"/>
                      </a:cubicBezTo>
                      <a:cubicBezTo>
                        <a:pt x="0" y="3855"/>
                        <a:pt x="794" y="7824"/>
                        <a:pt x="0" y="10205"/>
                      </a:cubicBezTo>
                      <a:cubicBezTo>
                        <a:pt x="5362" y="42382"/>
                        <a:pt x="-1786" y="11543"/>
                        <a:pt x="7144" y="31636"/>
                      </a:cubicBezTo>
                      <a:cubicBezTo>
                        <a:pt x="9183" y="36224"/>
                        <a:pt x="11906" y="45924"/>
                        <a:pt x="11906" y="45924"/>
                      </a:cubicBezTo>
                      <a:cubicBezTo>
                        <a:pt x="13583" y="57661"/>
                        <a:pt x="13608" y="61912"/>
                        <a:pt x="16669" y="72117"/>
                      </a:cubicBezTo>
                      <a:cubicBezTo>
                        <a:pt x="18111" y="76926"/>
                        <a:pt x="18646" y="82228"/>
                        <a:pt x="21431" y="86405"/>
                      </a:cubicBezTo>
                      <a:lnTo>
                        <a:pt x="26194" y="93549"/>
                      </a:lnTo>
                      <a:cubicBezTo>
                        <a:pt x="62364" y="88381"/>
                        <a:pt x="50191" y="95012"/>
                        <a:pt x="66675" y="84024"/>
                      </a:cubicBezTo>
                      <a:cubicBezTo>
                        <a:pt x="72343" y="67021"/>
                        <a:pt x="68653" y="73913"/>
                        <a:pt x="76200" y="62592"/>
                      </a:cubicBezTo>
                      <a:cubicBezTo>
                        <a:pt x="76994" y="59417"/>
                        <a:pt x="78581" y="56340"/>
                        <a:pt x="78581" y="53067"/>
                      </a:cubicBezTo>
                      <a:cubicBezTo>
                        <a:pt x="78581" y="47079"/>
                        <a:pt x="68034" y="32995"/>
                        <a:pt x="66675" y="31636"/>
                      </a:cubicBezTo>
                      <a:cubicBezTo>
                        <a:pt x="61913" y="26874"/>
                        <a:pt x="57992" y="21085"/>
                        <a:pt x="52388" y="17349"/>
                      </a:cubicBezTo>
                      <a:cubicBezTo>
                        <a:pt x="43376" y="11341"/>
                        <a:pt x="48815" y="5442"/>
                        <a:pt x="40481" y="306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33" name="Freeform 332"/>
                <p:cNvSpPr/>
                <p:nvPr/>
              </p:nvSpPr>
              <p:spPr>
                <a:xfrm>
                  <a:off x="1581550" y="3837595"/>
                  <a:ext cx="91297" cy="100013"/>
                </a:xfrm>
                <a:custGeom>
                  <a:avLst/>
                  <a:gdLst>
                    <a:gd name="connsiteX0" fmla="*/ 2381 w 91297"/>
                    <a:gd name="connsiteY0" fmla="*/ 14288 h 100013"/>
                    <a:gd name="connsiteX1" fmla="*/ 0 w 91297"/>
                    <a:gd name="connsiteY1" fmla="*/ 26194 h 100013"/>
                    <a:gd name="connsiteX2" fmla="*/ 4763 w 91297"/>
                    <a:gd name="connsiteY2" fmla="*/ 52388 h 100013"/>
                    <a:gd name="connsiteX3" fmla="*/ 11906 w 91297"/>
                    <a:gd name="connsiteY3" fmla="*/ 66675 h 100013"/>
                    <a:gd name="connsiteX4" fmla="*/ 26194 w 91297"/>
                    <a:gd name="connsiteY4" fmla="*/ 76200 h 100013"/>
                    <a:gd name="connsiteX5" fmla="*/ 33338 w 91297"/>
                    <a:gd name="connsiteY5" fmla="*/ 80963 h 100013"/>
                    <a:gd name="connsiteX6" fmla="*/ 47625 w 91297"/>
                    <a:gd name="connsiteY6" fmla="*/ 85725 h 100013"/>
                    <a:gd name="connsiteX7" fmla="*/ 61913 w 91297"/>
                    <a:gd name="connsiteY7" fmla="*/ 92869 h 100013"/>
                    <a:gd name="connsiteX8" fmla="*/ 76200 w 91297"/>
                    <a:gd name="connsiteY8" fmla="*/ 100013 h 100013"/>
                    <a:gd name="connsiteX9" fmla="*/ 90488 w 91297"/>
                    <a:gd name="connsiteY9" fmla="*/ 97632 h 100013"/>
                    <a:gd name="connsiteX10" fmla="*/ 88106 w 91297"/>
                    <a:gd name="connsiteY10" fmla="*/ 88107 h 100013"/>
                    <a:gd name="connsiteX11" fmla="*/ 78581 w 91297"/>
                    <a:gd name="connsiteY11" fmla="*/ 73819 h 100013"/>
                    <a:gd name="connsiteX12" fmla="*/ 69056 w 91297"/>
                    <a:gd name="connsiteY12" fmla="*/ 59532 h 100013"/>
                    <a:gd name="connsiteX13" fmla="*/ 64294 w 91297"/>
                    <a:gd name="connsiteY13" fmla="*/ 52388 h 100013"/>
                    <a:gd name="connsiteX14" fmla="*/ 59531 w 91297"/>
                    <a:gd name="connsiteY14" fmla="*/ 45244 h 100013"/>
                    <a:gd name="connsiteX15" fmla="*/ 45244 w 91297"/>
                    <a:gd name="connsiteY15" fmla="*/ 16669 h 100013"/>
                    <a:gd name="connsiteX16" fmla="*/ 33338 w 91297"/>
                    <a:gd name="connsiteY16" fmla="*/ 2382 h 100013"/>
                    <a:gd name="connsiteX17" fmla="*/ 26194 w 91297"/>
                    <a:gd name="connsiteY17" fmla="*/ 0 h 100013"/>
                    <a:gd name="connsiteX18" fmla="*/ 2381 w 91297"/>
                    <a:gd name="connsiteY18" fmla="*/ 14288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297" h="100013">
                      <a:moveTo>
                        <a:pt x="2381" y="14288"/>
                      </a:moveTo>
                      <a:cubicBezTo>
                        <a:pt x="1587" y="18257"/>
                        <a:pt x="0" y="22147"/>
                        <a:pt x="0" y="26194"/>
                      </a:cubicBezTo>
                      <a:cubicBezTo>
                        <a:pt x="0" y="32946"/>
                        <a:pt x="2678" y="45089"/>
                        <a:pt x="4763" y="52388"/>
                      </a:cubicBezTo>
                      <a:cubicBezTo>
                        <a:pt x="6138" y="57201"/>
                        <a:pt x="7930" y="63196"/>
                        <a:pt x="11906" y="66675"/>
                      </a:cubicBezTo>
                      <a:cubicBezTo>
                        <a:pt x="16214" y="70444"/>
                        <a:pt x="21431" y="73025"/>
                        <a:pt x="26194" y="76200"/>
                      </a:cubicBezTo>
                      <a:cubicBezTo>
                        <a:pt x="28575" y="77788"/>
                        <a:pt x="30623" y="80058"/>
                        <a:pt x="33338" y="80963"/>
                      </a:cubicBezTo>
                      <a:lnTo>
                        <a:pt x="47625" y="85725"/>
                      </a:lnTo>
                      <a:cubicBezTo>
                        <a:pt x="68104" y="99379"/>
                        <a:pt x="42190" y="83007"/>
                        <a:pt x="61913" y="92869"/>
                      </a:cubicBezTo>
                      <a:cubicBezTo>
                        <a:pt x="80377" y="102102"/>
                        <a:pt x="58243" y="94028"/>
                        <a:pt x="76200" y="100013"/>
                      </a:cubicBezTo>
                      <a:cubicBezTo>
                        <a:pt x="80963" y="99219"/>
                        <a:pt x="87074" y="101046"/>
                        <a:pt x="90488" y="97632"/>
                      </a:cubicBezTo>
                      <a:cubicBezTo>
                        <a:pt x="92802" y="95318"/>
                        <a:pt x="89570" y="91034"/>
                        <a:pt x="88106" y="88107"/>
                      </a:cubicBezTo>
                      <a:cubicBezTo>
                        <a:pt x="85546" y="82987"/>
                        <a:pt x="81756" y="78582"/>
                        <a:pt x="78581" y="73819"/>
                      </a:cubicBezTo>
                      <a:lnTo>
                        <a:pt x="69056" y="59532"/>
                      </a:lnTo>
                      <a:lnTo>
                        <a:pt x="64294" y="52388"/>
                      </a:lnTo>
                      <a:lnTo>
                        <a:pt x="59531" y="45244"/>
                      </a:lnTo>
                      <a:cubicBezTo>
                        <a:pt x="52959" y="25528"/>
                        <a:pt x="57553" y="35133"/>
                        <a:pt x="45244" y="16669"/>
                      </a:cubicBezTo>
                      <a:cubicBezTo>
                        <a:pt x="41730" y="11399"/>
                        <a:pt x="38837" y="6048"/>
                        <a:pt x="33338" y="2382"/>
                      </a:cubicBezTo>
                      <a:cubicBezTo>
                        <a:pt x="31249" y="990"/>
                        <a:pt x="28575" y="794"/>
                        <a:pt x="26194" y="0"/>
                      </a:cubicBezTo>
                      <a:lnTo>
                        <a:pt x="2381" y="14288"/>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34" name="Freeform 333"/>
                <p:cNvSpPr/>
                <p:nvPr/>
              </p:nvSpPr>
              <p:spPr>
                <a:xfrm>
                  <a:off x="2053038" y="4454339"/>
                  <a:ext cx="101179" cy="71438"/>
                </a:xfrm>
                <a:custGeom>
                  <a:avLst/>
                  <a:gdLst>
                    <a:gd name="connsiteX0" fmla="*/ 52387 w 101179"/>
                    <a:gd name="connsiteY0" fmla="*/ 2381 h 71438"/>
                    <a:gd name="connsiteX1" fmla="*/ 40481 w 101179"/>
                    <a:gd name="connsiteY1" fmla="*/ 0 h 71438"/>
                    <a:gd name="connsiteX2" fmla="*/ 23812 w 101179"/>
                    <a:gd name="connsiteY2" fmla="*/ 2381 h 71438"/>
                    <a:gd name="connsiteX3" fmla="*/ 2381 w 101179"/>
                    <a:gd name="connsiteY3" fmla="*/ 7144 h 71438"/>
                    <a:gd name="connsiteX4" fmla="*/ 0 w 101179"/>
                    <a:gd name="connsiteY4" fmla="*/ 14288 h 71438"/>
                    <a:gd name="connsiteX5" fmla="*/ 9525 w 101179"/>
                    <a:gd name="connsiteY5" fmla="*/ 28575 h 71438"/>
                    <a:gd name="connsiteX6" fmla="*/ 16668 w 101179"/>
                    <a:gd name="connsiteY6" fmla="*/ 35719 h 71438"/>
                    <a:gd name="connsiteX7" fmla="*/ 26193 w 101179"/>
                    <a:gd name="connsiteY7" fmla="*/ 57150 h 71438"/>
                    <a:gd name="connsiteX8" fmla="*/ 40481 w 101179"/>
                    <a:gd name="connsiteY8" fmla="*/ 64294 h 71438"/>
                    <a:gd name="connsiteX9" fmla="*/ 54768 w 101179"/>
                    <a:gd name="connsiteY9" fmla="*/ 71438 h 71438"/>
                    <a:gd name="connsiteX10" fmla="*/ 100012 w 101179"/>
                    <a:gd name="connsiteY10" fmla="*/ 69056 h 71438"/>
                    <a:gd name="connsiteX11" fmla="*/ 97631 w 101179"/>
                    <a:gd name="connsiteY11" fmla="*/ 59531 h 71438"/>
                    <a:gd name="connsiteX12" fmla="*/ 88106 w 101179"/>
                    <a:gd name="connsiteY12" fmla="*/ 45244 h 71438"/>
                    <a:gd name="connsiteX13" fmla="*/ 83343 w 101179"/>
                    <a:gd name="connsiteY13" fmla="*/ 38100 h 71438"/>
                    <a:gd name="connsiteX14" fmla="*/ 78581 w 101179"/>
                    <a:gd name="connsiteY14" fmla="*/ 30956 h 71438"/>
                    <a:gd name="connsiteX15" fmla="*/ 71437 w 101179"/>
                    <a:gd name="connsiteY15" fmla="*/ 26194 h 71438"/>
                    <a:gd name="connsiteX16" fmla="*/ 59531 w 101179"/>
                    <a:gd name="connsiteY16" fmla="*/ 11906 h 71438"/>
                    <a:gd name="connsiteX17" fmla="*/ 52387 w 101179"/>
                    <a:gd name="connsiteY17" fmla="*/ 2381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179" h="71438">
                      <a:moveTo>
                        <a:pt x="52387" y="2381"/>
                      </a:moveTo>
                      <a:cubicBezTo>
                        <a:pt x="49212" y="397"/>
                        <a:pt x="44528" y="0"/>
                        <a:pt x="40481" y="0"/>
                      </a:cubicBezTo>
                      <a:cubicBezTo>
                        <a:pt x="34868" y="0"/>
                        <a:pt x="29359" y="1527"/>
                        <a:pt x="23812" y="2381"/>
                      </a:cubicBezTo>
                      <a:cubicBezTo>
                        <a:pt x="8251" y="4775"/>
                        <a:pt x="13481" y="3445"/>
                        <a:pt x="2381" y="7144"/>
                      </a:cubicBezTo>
                      <a:cubicBezTo>
                        <a:pt x="1587" y="9525"/>
                        <a:pt x="0" y="11778"/>
                        <a:pt x="0" y="14288"/>
                      </a:cubicBezTo>
                      <a:cubicBezTo>
                        <a:pt x="0" y="25909"/>
                        <a:pt x="2347" y="22593"/>
                        <a:pt x="9525" y="28575"/>
                      </a:cubicBezTo>
                      <a:cubicBezTo>
                        <a:pt x="12112" y="30731"/>
                        <a:pt x="14287" y="33338"/>
                        <a:pt x="16668" y="35719"/>
                      </a:cubicBezTo>
                      <a:cubicBezTo>
                        <a:pt x="19025" y="42790"/>
                        <a:pt x="20534" y="51491"/>
                        <a:pt x="26193" y="57150"/>
                      </a:cubicBezTo>
                      <a:cubicBezTo>
                        <a:pt x="33017" y="63975"/>
                        <a:pt x="32734" y="60421"/>
                        <a:pt x="40481" y="64294"/>
                      </a:cubicBezTo>
                      <a:cubicBezTo>
                        <a:pt x="58956" y="73530"/>
                        <a:pt x="36804" y="65448"/>
                        <a:pt x="54768" y="71438"/>
                      </a:cubicBezTo>
                      <a:lnTo>
                        <a:pt x="100012" y="69056"/>
                      </a:lnTo>
                      <a:cubicBezTo>
                        <a:pt x="103165" y="68180"/>
                        <a:pt x="99095" y="62458"/>
                        <a:pt x="97631" y="59531"/>
                      </a:cubicBezTo>
                      <a:cubicBezTo>
                        <a:pt x="95071" y="54412"/>
                        <a:pt x="91281" y="50006"/>
                        <a:pt x="88106" y="45244"/>
                      </a:cubicBezTo>
                      <a:lnTo>
                        <a:pt x="83343" y="38100"/>
                      </a:lnTo>
                      <a:cubicBezTo>
                        <a:pt x="81756" y="35719"/>
                        <a:pt x="80962" y="32543"/>
                        <a:pt x="78581" y="30956"/>
                      </a:cubicBezTo>
                      <a:lnTo>
                        <a:pt x="71437" y="26194"/>
                      </a:lnTo>
                      <a:cubicBezTo>
                        <a:pt x="66755" y="19169"/>
                        <a:pt x="66407" y="17636"/>
                        <a:pt x="59531" y="11906"/>
                      </a:cubicBezTo>
                      <a:cubicBezTo>
                        <a:pt x="53288" y="6704"/>
                        <a:pt x="55562" y="4365"/>
                        <a:pt x="52387" y="238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35" name="Freeform 334"/>
                <p:cNvSpPr/>
                <p:nvPr/>
              </p:nvSpPr>
              <p:spPr>
                <a:xfrm>
                  <a:off x="2828911" y="3508983"/>
                  <a:ext cx="405250" cy="402431"/>
                </a:xfrm>
                <a:custGeom>
                  <a:avLst/>
                  <a:gdLst>
                    <a:gd name="connsiteX0" fmla="*/ 88520 w 405250"/>
                    <a:gd name="connsiteY0" fmla="*/ 30956 h 402431"/>
                    <a:gd name="connsiteX1" fmla="*/ 74233 w 405250"/>
                    <a:gd name="connsiteY1" fmla="*/ 33337 h 402431"/>
                    <a:gd name="connsiteX2" fmla="*/ 59945 w 405250"/>
                    <a:gd name="connsiteY2" fmla="*/ 38100 h 402431"/>
                    <a:gd name="connsiteX3" fmla="*/ 52802 w 405250"/>
                    <a:gd name="connsiteY3" fmla="*/ 59531 h 402431"/>
                    <a:gd name="connsiteX4" fmla="*/ 36133 w 405250"/>
                    <a:gd name="connsiteY4" fmla="*/ 80962 h 402431"/>
                    <a:gd name="connsiteX5" fmla="*/ 28989 w 405250"/>
                    <a:gd name="connsiteY5" fmla="*/ 85725 h 402431"/>
                    <a:gd name="connsiteX6" fmla="*/ 21845 w 405250"/>
                    <a:gd name="connsiteY6" fmla="*/ 92869 h 402431"/>
                    <a:gd name="connsiteX7" fmla="*/ 7558 w 405250"/>
                    <a:gd name="connsiteY7" fmla="*/ 100012 h 402431"/>
                    <a:gd name="connsiteX8" fmla="*/ 414 w 405250"/>
                    <a:gd name="connsiteY8" fmla="*/ 104775 h 402431"/>
                    <a:gd name="connsiteX9" fmla="*/ 2795 w 405250"/>
                    <a:gd name="connsiteY9" fmla="*/ 140494 h 402431"/>
                    <a:gd name="connsiteX10" fmla="*/ 5177 w 405250"/>
                    <a:gd name="connsiteY10" fmla="*/ 147637 h 402431"/>
                    <a:gd name="connsiteX11" fmla="*/ 17083 w 405250"/>
                    <a:gd name="connsiteY11" fmla="*/ 159544 h 402431"/>
                    <a:gd name="connsiteX12" fmla="*/ 76614 w 405250"/>
                    <a:gd name="connsiteY12" fmla="*/ 166687 h 402431"/>
                    <a:gd name="connsiteX13" fmla="*/ 112333 w 405250"/>
                    <a:gd name="connsiteY13" fmla="*/ 169069 h 402431"/>
                    <a:gd name="connsiteX14" fmla="*/ 126620 w 405250"/>
                    <a:gd name="connsiteY14" fmla="*/ 171450 h 402431"/>
                    <a:gd name="connsiteX15" fmla="*/ 140908 w 405250"/>
                    <a:gd name="connsiteY15" fmla="*/ 176212 h 402431"/>
                    <a:gd name="connsiteX16" fmla="*/ 152814 w 405250"/>
                    <a:gd name="connsiteY16" fmla="*/ 188119 h 402431"/>
                    <a:gd name="connsiteX17" fmla="*/ 167102 w 405250"/>
                    <a:gd name="connsiteY17" fmla="*/ 202406 h 402431"/>
                    <a:gd name="connsiteX18" fmla="*/ 171864 w 405250"/>
                    <a:gd name="connsiteY18" fmla="*/ 216694 h 402431"/>
                    <a:gd name="connsiteX19" fmla="*/ 174245 w 405250"/>
                    <a:gd name="connsiteY19" fmla="*/ 238125 h 402431"/>
                    <a:gd name="connsiteX20" fmla="*/ 188533 w 405250"/>
                    <a:gd name="connsiteY20" fmla="*/ 242887 h 402431"/>
                    <a:gd name="connsiteX21" fmla="*/ 193295 w 405250"/>
                    <a:gd name="connsiteY21" fmla="*/ 250031 h 402431"/>
                    <a:gd name="connsiteX22" fmla="*/ 193295 w 405250"/>
                    <a:gd name="connsiteY22" fmla="*/ 304800 h 402431"/>
                    <a:gd name="connsiteX23" fmla="*/ 209964 w 405250"/>
                    <a:gd name="connsiteY23" fmla="*/ 326231 h 402431"/>
                    <a:gd name="connsiteX24" fmla="*/ 214727 w 405250"/>
                    <a:gd name="connsiteY24" fmla="*/ 333375 h 402431"/>
                    <a:gd name="connsiteX25" fmla="*/ 217108 w 405250"/>
                    <a:gd name="connsiteY25" fmla="*/ 340519 h 402431"/>
                    <a:gd name="connsiteX26" fmla="*/ 224252 w 405250"/>
                    <a:gd name="connsiteY26" fmla="*/ 345281 h 402431"/>
                    <a:gd name="connsiteX27" fmla="*/ 257589 w 405250"/>
                    <a:gd name="connsiteY27" fmla="*/ 354806 h 402431"/>
                    <a:gd name="connsiteX28" fmla="*/ 267114 w 405250"/>
                    <a:gd name="connsiteY28" fmla="*/ 357187 h 402431"/>
                    <a:gd name="connsiteX29" fmla="*/ 276639 w 405250"/>
                    <a:gd name="connsiteY29" fmla="*/ 359569 h 402431"/>
                    <a:gd name="connsiteX30" fmla="*/ 283783 w 405250"/>
                    <a:gd name="connsiteY30" fmla="*/ 364331 h 402431"/>
                    <a:gd name="connsiteX31" fmla="*/ 298070 w 405250"/>
                    <a:gd name="connsiteY31" fmla="*/ 369094 h 402431"/>
                    <a:gd name="connsiteX32" fmla="*/ 319502 w 405250"/>
                    <a:gd name="connsiteY32" fmla="*/ 381000 h 402431"/>
                    <a:gd name="connsiteX33" fmla="*/ 326645 w 405250"/>
                    <a:gd name="connsiteY33" fmla="*/ 383381 h 402431"/>
                    <a:gd name="connsiteX34" fmla="*/ 333789 w 405250"/>
                    <a:gd name="connsiteY34" fmla="*/ 388144 h 402431"/>
                    <a:gd name="connsiteX35" fmla="*/ 352839 w 405250"/>
                    <a:gd name="connsiteY35" fmla="*/ 392906 h 402431"/>
                    <a:gd name="connsiteX36" fmla="*/ 359983 w 405250"/>
                    <a:gd name="connsiteY36" fmla="*/ 397669 h 402431"/>
                    <a:gd name="connsiteX37" fmla="*/ 383795 w 405250"/>
                    <a:gd name="connsiteY37" fmla="*/ 402431 h 402431"/>
                    <a:gd name="connsiteX38" fmla="*/ 402845 w 405250"/>
                    <a:gd name="connsiteY38" fmla="*/ 400050 h 402431"/>
                    <a:gd name="connsiteX39" fmla="*/ 402845 w 405250"/>
                    <a:gd name="connsiteY39" fmla="*/ 381000 h 402431"/>
                    <a:gd name="connsiteX40" fmla="*/ 395702 w 405250"/>
                    <a:gd name="connsiteY40" fmla="*/ 378619 h 402431"/>
                    <a:gd name="connsiteX41" fmla="*/ 388558 w 405250"/>
                    <a:gd name="connsiteY41" fmla="*/ 373856 h 402431"/>
                    <a:gd name="connsiteX42" fmla="*/ 381414 w 405250"/>
                    <a:gd name="connsiteY42" fmla="*/ 371475 h 402431"/>
                    <a:gd name="connsiteX43" fmla="*/ 379033 w 405250"/>
                    <a:gd name="connsiteY43" fmla="*/ 364331 h 402431"/>
                    <a:gd name="connsiteX44" fmla="*/ 381414 w 405250"/>
                    <a:gd name="connsiteY44" fmla="*/ 345281 h 402431"/>
                    <a:gd name="connsiteX45" fmla="*/ 386177 w 405250"/>
                    <a:gd name="connsiteY45" fmla="*/ 338137 h 402431"/>
                    <a:gd name="connsiteX46" fmla="*/ 390939 w 405250"/>
                    <a:gd name="connsiteY46" fmla="*/ 323850 h 402431"/>
                    <a:gd name="connsiteX47" fmla="*/ 395702 w 405250"/>
                    <a:gd name="connsiteY47" fmla="*/ 302419 h 402431"/>
                    <a:gd name="connsiteX48" fmla="*/ 393320 w 405250"/>
                    <a:gd name="connsiteY48" fmla="*/ 273844 h 402431"/>
                    <a:gd name="connsiteX49" fmla="*/ 388558 w 405250"/>
                    <a:gd name="connsiteY49" fmla="*/ 266700 h 402431"/>
                    <a:gd name="connsiteX50" fmla="*/ 367127 w 405250"/>
                    <a:gd name="connsiteY50" fmla="*/ 254794 h 402431"/>
                    <a:gd name="connsiteX51" fmla="*/ 359983 w 405250"/>
                    <a:gd name="connsiteY51" fmla="*/ 250031 h 402431"/>
                    <a:gd name="connsiteX52" fmla="*/ 336170 w 405250"/>
                    <a:gd name="connsiteY52" fmla="*/ 242887 h 402431"/>
                    <a:gd name="connsiteX53" fmla="*/ 295689 w 405250"/>
                    <a:gd name="connsiteY53" fmla="*/ 235744 h 402431"/>
                    <a:gd name="connsiteX54" fmla="*/ 281402 w 405250"/>
                    <a:gd name="connsiteY54" fmla="*/ 230981 h 402431"/>
                    <a:gd name="connsiteX55" fmla="*/ 274258 w 405250"/>
                    <a:gd name="connsiteY55" fmla="*/ 226219 h 402431"/>
                    <a:gd name="connsiteX56" fmla="*/ 269495 w 405250"/>
                    <a:gd name="connsiteY56" fmla="*/ 219075 h 402431"/>
                    <a:gd name="connsiteX57" fmla="*/ 262352 w 405250"/>
                    <a:gd name="connsiteY57" fmla="*/ 211931 h 402431"/>
                    <a:gd name="connsiteX58" fmla="*/ 259970 w 405250"/>
                    <a:gd name="connsiteY58" fmla="*/ 204787 h 402431"/>
                    <a:gd name="connsiteX59" fmla="*/ 255208 w 405250"/>
                    <a:gd name="connsiteY59" fmla="*/ 197644 h 402431"/>
                    <a:gd name="connsiteX60" fmla="*/ 250445 w 405250"/>
                    <a:gd name="connsiteY60" fmla="*/ 176212 h 402431"/>
                    <a:gd name="connsiteX61" fmla="*/ 248064 w 405250"/>
                    <a:gd name="connsiteY61" fmla="*/ 126206 h 402431"/>
                    <a:gd name="connsiteX62" fmla="*/ 243302 w 405250"/>
                    <a:gd name="connsiteY62" fmla="*/ 109537 h 402431"/>
                    <a:gd name="connsiteX63" fmla="*/ 236158 w 405250"/>
                    <a:gd name="connsiteY63" fmla="*/ 76200 h 402431"/>
                    <a:gd name="connsiteX64" fmla="*/ 231395 w 405250"/>
                    <a:gd name="connsiteY64" fmla="*/ 61912 h 402431"/>
                    <a:gd name="connsiteX65" fmla="*/ 226633 w 405250"/>
                    <a:gd name="connsiteY65" fmla="*/ 47625 h 402431"/>
                    <a:gd name="connsiteX66" fmla="*/ 224252 w 405250"/>
                    <a:gd name="connsiteY66" fmla="*/ 40481 h 402431"/>
                    <a:gd name="connsiteX67" fmla="*/ 219489 w 405250"/>
                    <a:gd name="connsiteY67" fmla="*/ 33337 h 402431"/>
                    <a:gd name="connsiteX68" fmla="*/ 212345 w 405250"/>
                    <a:gd name="connsiteY68" fmla="*/ 19050 h 402431"/>
                    <a:gd name="connsiteX69" fmla="*/ 205202 w 405250"/>
                    <a:gd name="connsiteY69" fmla="*/ 16669 h 402431"/>
                    <a:gd name="connsiteX70" fmla="*/ 190914 w 405250"/>
                    <a:gd name="connsiteY70" fmla="*/ 7144 h 402431"/>
                    <a:gd name="connsiteX71" fmla="*/ 176627 w 405250"/>
                    <a:gd name="connsiteY71" fmla="*/ 0 h 402431"/>
                    <a:gd name="connsiteX72" fmla="*/ 152814 w 405250"/>
                    <a:gd name="connsiteY72" fmla="*/ 2381 h 402431"/>
                    <a:gd name="connsiteX73" fmla="*/ 145670 w 405250"/>
                    <a:gd name="connsiteY73" fmla="*/ 4762 h 402431"/>
                    <a:gd name="connsiteX74" fmla="*/ 143289 w 405250"/>
                    <a:gd name="connsiteY74" fmla="*/ 11906 h 402431"/>
                    <a:gd name="connsiteX75" fmla="*/ 148052 w 405250"/>
                    <a:gd name="connsiteY75" fmla="*/ 33337 h 402431"/>
                    <a:gd name="connsiteX76" fmla="*/ 155195 w 405250"/>
                    <a:gd name="connsiteY76" fmla="*/ 40481 h 402431"/>
                    <a:gd name="connsiteX77" fmla="*/ 162339 w 405250"/>
                    <a:gd name="connsiteY77" fmla="*/ 66675 h 402431"/>
                    <a:gd name="connsiteX78" fmla="*/ 159958 w 405250"/>
                    <a:gd name="connsiteY78" fmla="*/ 78581 h 402431"/>
                    <a:gd name="connsiteX79" fmla="*/ 133764 w 405250"/>
                    <a:gd name="connsiteY79" fmla="*/ 71437 h 402431"/>
                    <a:gd name="connsiteX80" fmla="*/ 124239 w 405250"/>
                    <a:gd name="connsiteY80" fmla="*/ 47625 h 402431"/>
                    <a:gd name="connsiteX81" fmla="*/ 121858 w 405250"/>
                    <a:gd name="connsiteY81" fmla="*/ 40481 h 402431"/>
                    <a:gd name="connsiteX82" fmla="*/ 114714 w 405250"/>
                    <a:gd name="connsiteY82" fmla="*/ 35719 h 402431"/>
                    <a:gd name="connsiteX83" fmla="*/ 100427 w 405250"/>
                    <a:gd name="connsiteY83" fmla="*/ 30956 h 402431"/>
                    <a:gd name="connsiteX84" fmla="*/ 88520 w 405250"/>
                    <a:gd name="connsiteY84" fmla="*/ 30956 h 4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05250" h="402431">
                      <a:moveTo>
                        <a:pt x="88520" y="30956"/>
                      </a:moveTo>
                      <a:cubicBezTo>
                        <a:pt x="84154" y="31353"/>
                        <a:pt x="78917" y="32166"/>
                        <a:pt x="74233" y="33337"/>
                      </a:cubicBezTo>
                      <a:cubicBezTo>
                        <a:pt x="69363" y="34555"/>
                        <a:pt x="59945" y="38100"/>
                        <a:pt x="59945" y="38100"/>
                      </a:cubicBezTo>
                      <a:cubicBezTo>
                        <a:pt x="45742" y="59407"/>
                        <a:pt x="67062" y="25305"/>
                        <a:pt x="52802" y="59531"/>
                      </a:cubicBezTo>
                      <a:cubicBezTo>
                        <a:pt x="49976" y="66313"/>
                        <a:pt x="42285" y="75836"/>
                        <a:pt x="36133" y="80962"/>
                      </a:cubicBezTo>
                      <a:cubicBezTo>
                        <a:pt x="33934" y="82794"/>
                        <a:pt x="31188" y="83893"/>
                        <a:pt x="28989" y="85725"/>
                      </a:cubicBezTo>
                      <a:cubicBezTo>
                        <a:pt x="26402" y="87881"/>
                        <a:pt x="24432" y="90713"/>
                        <a:pt x="21845" y="92869"/>
                      </a:cubicBezTo>
                      <a:cubicBezTo>
                        <a:pt x="15690" y="97998"/>
                        <a:pt x="14718" y="97626"/>
                        <a:pt x="7558" y="100012"/>
                      </a:cubicBezTo>
                      <a:cubicBezTo>
                        <a:pt x="5177" y="101600"/>
                        <a:pt x="748" y="101933"/>
                        <a:pt x="414" y="104775"/>
                      </a:cubicBezTo>
                      <a:cubicBezTo>
                        <a:pt x="-980" y="116626"/>
                        <a:pt x="1477" y="128634"/>
                        <a:pt x="2795" y="140494"/>
                      </a:cubicBezTo>
                      <a:cubicBezTo>
                        <a:pt x="3072" y="142989"/>
                        <a:pt x="4054" y="145392"/>
                        <a:pt x="5177" y="147637"/>
                      </a:cubicBezTo>
                      <a:cubicBezTo>
                        <a:pt x="8126" y="153534"/>
                        <a:pt x="10959" y="156822"/>
                        <a:pt x="17083" y="159544"/>
                      </a:cubicBezTo>
                      <a:cubicBezTo>
                        <a:pt x="37719" y="168716"/>
                        <a:pt x="50359" y="165142"/>
                        <a:pt x="76614" y="166687"/>
                      </a:cubicBezTo>
                      <a:lnTo>
                        <a:pt x="112333" y="169069"/>
                      </a:lnTo>
                      <a:cubicBezTo>
                        <a:pt x="117095" y="169863"/>
                        <a:pt x="121936" y="170279"/>
                        <a:pt x="126620" y="171450"/>
                      </a:cubicBezTo>
                      <a:cubicBezTo>
                        <a:pt x="131490" y="172667"/>
                        <a:pt x="140908" y="176212"/>
                        <a:pt x="140908" y="176212"/>
                      </a:cubicBezTo>
                      <a:cubicBezTo>
                        <a:pt x="150718" y="190930"/>
                        <a:pt x="139828" y="176576"/>
                        <a:pt x="152814" y="188119"/>
                      </a:cubicBezTo>
                      <a:cubicBezTo>
                        <a:pt x="157848" y="192594"/>
                        <a:pt x="167102" y="202406"/>
                        <a:pt x="167102" y="202406"/>
                      </a:cubicBezTo>
                      <a:cubicBezTo>
                        <a:pt x="168689" y="207169"/>
                        <a:pt x="171310" y="211704"/>
                        <a:pt x="171864" y="216694"/>
                      </a:cubicBezTo>
                      <a:cubicBezTo>
                        <a:pt x="172658" y="223838"/>
                        <a:pt x="170386" y="232061"/>
                        <a:pt x="174245" y="238125"/>
                      </a:cubicBezTo>
                      <a:cubicBezTo>
                        <a:pt x="176940" y="242360"/>
                        <a:pt x="188533" y="242887"/>
                        <a:pt x="188533" y="242887"/>
                      </a:cubicBezTo>
                      <a:cubicBezTo>
                        <a:pt x="190120" y="245268"/>
                        <a:pt x="193116" y="247175"/>
                        <a:pt x="193295" y="250031"/>
                      </a:cubicBezTo>
                      <a:cubicBezTo>
                        <a:pt x="194732" y="273022"/>
                        <a:pt x="186470" y="282960"/>
                        <a:pt x="193295" y="304800"/>
                      </a:cubicBezTo>
                      <a:cubicBezTo>
                        <a:pt x="196905" y="316353"/>
                        <a:pt x="203352" y="318297"/>
                        <a:pt x="209964" y="326231"/>
                      </a:cubicBezTo>
                      <a:cubicBezTo>
                        <a:pt x="211796" y="328430"/>
                        <a:pt x="213139" y="330994"/>
                        <a:pt x="214727" y="333375"/>
                      </a:cubicBezTo>
                      <a:cubicBezTo>
                        <a:pt x="215521" y="335756"/>
                        <a:pt x="215540" y="338559"/>
                        <a:pt x="217108" y="340519"/>
                      </a:cubicBezTo>
                      <a:cubicBezTo>
                        <a:pt x="218896" y="342754"/>
                        <a:pt x="221637" y="344119"/>
                        <a:pt x="224252" y="345281"/>
                      </a:cubicBezTo>
                      <a:cubicBezTo>
                        <a:pt x="233042" y="349188"/>
                        <a:pt x="248932" y="352642"/>
                        <a:pt x="257589" y="354806"/>
                      </a:cubicBezTo>
                      <a:lnTo>
                        <a:pt x="267114" y="357187"/>
                      </a:lnTo>
                      <a:lnTo>
                        <a:pt x="276639" y="359569"/>
                      </a:lnTo>
                      <a:cubicBezTo>
                        <a:pt x="279020" y="361156"/>
                        <a:pt x="281168" y="363169"/>
                        <a:pt x="283783" y="364331"/>
                      </a:cubicBezTo>
                      <a:cubicBezTo>
                        <a:pt x="288370" y="366370"/>
                        <a:pt x="298070" y="369094"/>
                        <a:pt x="298070" y="369094"/>
                      </a:cubicBezTo>
                      <a:cubicBezTo>
                        <a:pt x="308764" y="379787"/>
                        <a:pt x="302020" y="375172"/>
                        <a:pt x="319502" y="381000"/>
                      </a:cubicBezTo>
                      <a:lnTo>
                        <a:pt x="326645" y="383381"/>
                      </a:lnTo>
                      <a:cubicBezTo>
                        <a:pt x="329026" y="384969"/>
                        <a:pt x="331229" y="386864"/>
                        <a:pt x="333789" y="388144"/>
                      </a:cubicBezTo>
                      <a:cubicBezTo>
                        <a:pt x="338669" y="390584"/>
                        <a:pt x="348313" y="392001"/>
                        <a:pt x="352839" y="392906"/>
                      </a:cubicBezTo>
                      <a:cubicBezTo>
                        <a:pt x="355220" y="394494"/>
                        <a:pt x="357247" y="396827"/>
                        <a:pt x="359983" y="397669"/>
                      </a:cubicBezTo>
                      <a:cubicBezTo>
                        <a:pt x="367720" y="400049"/>
                        <a:pt x="383795" y="402431"/>
                        <a:pt x="383795" y="402431"/>
                      </a:cubicBezTo>
                      <a:cubicBezTo>
                        <a:pt x="390145" y="401637"/>
                        <a:pt x="396997" y="402649"/>
                        <a:pt x="402845" y="400050"/>
                      </a:cubicBezTo>
                      <a:cubicBezTo>
                        <a:pt x="408111" y="397709"/>
                        <a:pt x="403133" y="381432"/>
                        <a:pt x="402845" y="381000"/>
                      </a:cubicBezTo>
                      <a:cubicBezTo>
                        <a:pt x="401453" y="378912"/>
                        <a:pt x="398083" y="379413"/>
                        <a:pt x="395702" y="378619"/>
                      </a:cubicBezTo>
                      <a:cubicBezTo>
                        <a:pt x="393321" y="377031"/>
                        <a:pt x="391118" y="375136"/>
                        <a:pt x="388558" y="373856"/>
                      </a:cubicBezTo>
                      <a:cubicBezTo>
                        <a:pt x="386313" y="372733"/>
                        <a:pt x="383189" y="373250"/>
                        <a:pt x="381414" y="371475"/>
                      </a:cubicBezTo>
                      <a:cubicBezTo>
                        <a:pt x="379639" y="369700"/>
                        <a:pt x="379827" y="366712"/>
                        <a:pt x="379033" y="364331"/>
                      </a:cubicBezTo>
                      <a:cubicBezTo>
                        <a:pt x="379827" y="357981"/>
                        <a:pt x="379730" y="351455"/>
                        <a:pt x="381414" y="345281"/>
                      </a:cubicBezTo>
                      <a:cubicBezTo>
                        <a:pt x="382167" y="342520"/>
                        <a:pt x="385015" y="340752"/>
                        <a:pt x="386177" y="338137"/>
                      </a:cubicBezTo>
                      <a:cubicBezTo>
                        <a:pt x="388216" y="333550"/>
                        <a:pt x="389955" y="328772"/>
                        <a:pt x="390939" y="323850"/>
                      </a:cubicBezTo>
                      <a:cubicBezTo>
                        <a:pt x="393962" y="308735"/>
                        <a:pt x="392338" y="315870"/>
                        <a:pt x="395702" y="302419"/>
                      </a:cubicBezTo>
                      <a:cubicBezTo>
                        <a:pt x="394908" y="292894"/>
                        <a:pt x="395195" y="283216"/>
                        <a:pt x="393320" y="273844"/>
                      </a:cubicBezTo>
                      <a:cubicBezTo>
                        <a:pt x="392759" y="271038"/>
                        <a:pt x="390712" y="268585"/>
                        <a:pt x="388558" y="266700"/>
                      </a:cubicBezTo>
                      <a:cubicBezTo>
                        <a:pt x="378481" y="257883"/>
                        <a:pt x="376938" y="258064"/>
                        <a:pt x="367127" y="254794"/>
                      </a:cubicBezTo>
                      <a:cubicBezTo>
                        <a:pt x="364746" y="253206"/>
                        <a:pt x="362598" y="251193"/>
                        <a:pt x="359983" y="250031"/>
                      </a:cubicBezTo>
                      <a:cubicBezTo>
                        <a:pt x="355690" y="248123"/>
                        <a:pt x="342025" y="243952"/>
                        <a:pt x="336170" y="242887"/>
                      </a:cubicBezTo>
                      <a:cubicBezTo>
                        <a:pt x="323031" y="240498"/>
                        <a:pt x="308357" y="239967"/>
                        <a:pt x="295689" y="235744"/>
                      </a:cubicBezTo>
                      <a:cubicBezTo>
                        <a:pt x="290927" y="234156"/>
                        <a:pt x="285579" y="233765"/>
                        <a:pt x="281402" y="230981"/>
                      </a:cubicBezTo>
                      <a:lnTo>
                        <a:pt x="274258" y="226219"/>
                      </a:lnTo>
                      <a:cubicBezTo>
                        <a:pt x="272670" y="223838"/>
                        <a:pt x="271327" y="221274"/>
                        <a:pt x="269495" y="219075"/>
                      </a:cubicBezTo>
                      <a:cubicBezTo>
                        <a:pt x="267339" y="216488"/>
                        <a:pt x="264220" y="214733"/>
                        <a:pt x="262352" y="211931"/>
                      </a:cubicBezTo>
                      <a:cubicBezTo>
                        <a:pt x="260960" y="209842"/>
                        <a:pt x="261093" y="207032"/>
                        <a:pt x="259970" y="204787"/>
                      </a:cubicBezTo>
                      <a:cubicBezTo>
                        <a:pt x="258690" y="202228"/>
                        <a:pt x="256795" y="200025"/>
                        <a:pt x="255208" y="197644"/>
                      </a:cubicBezTo>
                      <a:cubicBezTo>
                        <a:pt x="254019" y="192888"/>
                        <a:pt x="250780" y="180573"/>
                        <a:pt x="250445" y="176212"/>
                      </a:cubicBezTo>
                      <a:cubicBezTo>
                        <a:pt x="249165" y="159574"/>
                        <a:pt x="249395" y="142840"/>
                        <a:pt x="248064" y="126206"/>
                      </a:cubicBezTo>
                      <a:cubicBezTo>
                        <a:pt x="247459" y="118644"/>
                        <a:pt x="244889" y="116412"/>
                        <a:pt x="243302" y="109537"/>
                      </a:cubicBezTo>
                      <a:cubicBezTo>
                        <a:pt x="241465" y="101575"/>
                        <a:pt x="239060" y="85872"/>
                        <a:pt x="236158" y="76200"/>
                      </a:cubicBezTo>
                      <a:cubicBezTo>
                        <a:pt x="234715" y="71391"/>
                        <a:pt x="232983" y="66675"/>
                        <a:pt x="231395" y="61912"/>
                      </a:cubicBezTo>
                      <a:lnTo>
                        <a:pt x="226633" y="47625"/>
                      </a:lnTo>
                      <a:cubicBezTo>
                        <a:pt x="225839" y="45244"/>
                        <a:pt x="225644" y="42569"/>
                        <a:pt x="224252" y="40481"/>
                      </a:cubicBezTo>
                      <a:lnTo>
                        <a:pt x="219489" y="33337"/>
                      </a:lnTo>
                      <a:cubicBezTo>
                        <a:pt x="217920" y="28630"/>
                        <a:pt x="216542" y="22408"/>
                        <a:pt x="212345" y="19050"/>
                      </a:cubicBezTo>
                      <a:cubicBezTo>
                        <a:pt x="210385" y="17482"/>
                        <a:pt x="207583" y="17463"/>
                        <a:pt x="205202" y="16669"/>
                      </a:cubicBezTo>
                      <a:cubicBezTo>
                        <a:pt x="191658" y="3125"/>
                        <a:pt x="204700" y="14037"/>
                        <a:pt x="190914" y="7144"/>
                      </a:cubicBezTo>
                      <a:cubicBezTo>
                        <a:pt x="172447" y="-2090"/>
                        <a:pt x="194583" y="5985"/>
                        <a:pt x="176627" y="0"/>
                      </a:cubicBezTo>
                      <a:cubicBezTo>
                        <a:pt x="168689" y="794"/>
                        <a:pt x="160699" y="1168"/>
                        <a:pt x="152814" y="2381"/>
                      </a:cubicBezTo>
                      <a:cubicBezTo>
                        <a:pt x="150333" y="2763"/>
                        <a:pt x="147445" y="2987"/>
                        <a:pt x="145670" y="4762"/>
                      </a:cubicBezTo>
                      <a:cubicBezTo>
                        <a:pt x="143895" y="6537"/>
                        <a:pt x="144083" y="9525"/>
                        <a:pt x="143289" y="11906"/>
                      </a:cubicBezTo>
                      <a:cubicBezTo>
                        <a:pt x="143578" y="13641"/>
                        <a:pt x="145444" y="29426"/>
                        <a:pt x="148052" y="33337"/>
                      </a:cubicBezTo>
                      <a:cubicBezTo>
                        <a:pt x="149920" y="36139"/>
                        <a:pt x="152814" y="38100"/>
                        <a:pt x="155195" y="40481"/>
                      </a:cubicBezTo>
                      <a:cubicBezTo>
                        <a:pt x="161238" y="58609"/>
                        <a:pt x="158974" y="49846"/>
                        <a:pt x="162339" y="66675"/>
                      </a:cubicBezTo>
                      <a:cubicBezTo>
                        <a:pt x="161545" y="70644"/>
                        <a:pt x="163656" y="76937"/>
                        <a:pt x="159958" y="78581"/>
                      </a:cubicBezTo>
                      <a:cubicBezTo>
                        <a:pt x="149286" y="83324"/>
                        <a:pt x="141215" y="76405"/>
                        <a:pt x="133764" y="71437"/>
                      </a:cubicBezTo>
                      <a:cubicBezTo>
                        <a:pt x="126758" y="57424"/>
                        <a:pt x="130123" y="65276"/>
                        <a:pt x="124239" y="47625"/>
                      </a:cubicBezTo>
                      <a:cubicBezTo>
                        <a:pt x="123445" y="45244"/>
                        <a:pt x="123947" y="41873"/>
                        <a:pt x="121858" y="40481"/>
                      </a:cubicBezTo>
                      <a:cubicBezTo>
                        <a:pt x="119477" y="38894"/>
                        <a:pt x="117329" y="36881"/>
                        <a:pt x="114714" y="35719"/>
                      </a:cubicBezTo>
                      <a:cubicBezTo>
                        <a:pt x="110127" y="33680"/>
                        <a:pt x="105189" y="32544"/>
                        <a:pt x="100427" y="30956"/>
                      </a:cubicBezTo>
                      <a:cubicBezTo>
                        <a:pt x="86508" y="26316"/>
                        <a:pt x="92886" y="30559"/>
                        <a:pt x="88520" y="3095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36" name="Freeform 335"/>
                <p:cNvSpPr/>
                <p:nvPr/>
              </p:nvSpPr>
              <p:spPr>
                <a:xfrm>
                  <a:off x="3438925" y="3770920"/>
                  <a:ext cx="171450" cy="188119"/>
                </a:xfrm>
                <a:custGeom>
                  <a:avLst/>
                  <a:gdLst>
                    <a:gd name="connsiteX0" fmla="*/ 28575 w 171450"/>
                    <a:gd name="connsiteY0" fmla="*/ 7144 h 188119"/>
                    <a:gd name="connsiteX1" fmla="*/ 28575 w 171450"/>
                    <a:gd name="connsiteY1" fmla="*/ 38100 h 188119"/>
                    <a:gd name="connsiteX2" fmla="*/ 23813 w 171450"/>
                    <a:gd name="connsiteY2" fmla="*/ 45244 h 188119"/>
                    <a:gd name="connsiteX3" fmla="*/ 9525 w 171450"/>
                    <a:gd name="connsiteY3" fmla="*/ 50007 h 188119"/>
                    <a:gd name="connsiteX4" fmla="*/ 4763 w 171450"/>
                    <a:gd name="connsiteY4" fmla="*/ 64294 h 188119"/>
                    <a:gd name="connsiteX5" fmla="*/ 0 w 171450"/>
                    <a:gd name="connsiteY5" fmla="*/ 119063 h 188119"/>
                    <a:gd name="connsiteX6" fmla="*/ 2381 w 171450"/>
                    <a:gd name="connsiteY6" fmla="*/ 161925 h 188119"/>
                    <a:gd name="connsiteX7" fmla="*/ 4763 w 171450"/>
                    <a:gd name="connsiteY7" fmla="*/ 169069 h 188119"/>
                    <a:gd name="connsiteX8" fmla="*/ 19050 w 171450"/>
                    <a:gd name="connsiteY8" fmla="*/ 176213 h 188119"/>
                    <a:gd name="connsiteX9" fmla="*/ 26194 w 171450"/>
                    <a:gd name="connsiteY9" fmla="*/ 183357 h 188119"/>
                    <a:gd name="connsiteX10" fmla="*/ 40481 w 171450"/>
                    <a:gd name="connsiteY10" fmla="*/ 188119 h 188119"/>
                    <a:gd name="connsiteX11" fmla="*/ 54769 w 171450"/>
                    <a:gd name="connsiteY11" fmla="*/ 185738 h 188119"/>
                    <a:gd name="connsiteX12" fmla="*/ 61913 w 171450"/>
                    <a:gd name="connsiteY12" fmla="*/ 171450 h 188119"/>
                    <a:gd name="connsiteX13" fmla="*/ 64294 w 171450"/>
                    <a:gd name="connsiteY13" fmla="*/ 157163 h 188119"/>
                    <a:gd name="connsiteX14" fmla="*/ 88106 w 171450"/>
                    <a:gd name="connsiteY14" fmla="*/ 166688 h 188119"/>
                    <a:gd name="connsiteX15" fmla="*/ 90488 w 171450"/>
                    <a:gd name="connsiteY15" fmla="*/ 180975 h 188119"/>
                    <a:gd name="connsiteX16" fmla="*/ 97631 w 171450"/>
                    <a:gd name="connsiteY16" fmla="*/ 185738 h 188119"/>
                    <a:gd name="connsiteX17" fmla="*/ 142875 w 171450"/>
                    <a:gd name="connsiteY17" fmla="*/ 183357 h 188119"/>
                    <a:gd name="connsiteX18" fmla="*/ 145256 w 171450"/>
                    <a:gd name="connsiteY18" fmla="*/ 173832 h 188119"/>
                    <a:gd name="connsiteX19" fmla="*/ 147638 w 171450"/>
                    <a:gd name="connsiteY19" fmla="*/ 142875 h 188119"/>
                    <a:gd name="connsiteX20" fmla="*/ 152400 w 171450"/>
                    <a:gd name="connsiteY20" fmla="*/ 128588 h 188119"/>
                    <a:gd name="connsiteX21" fmla="*/ 157163 w 171450"/>
                    <a:gd name="connsiteY21" fmla="*/ 111919 h 188119"/>
                    <a:gd name="connsiteX22" fmla="*/ 164306 w 171450"/>
                    <a:gd name="connsiteY22" fmla="*/ 104775 h 188119"/>
                    <a:gd name="connsiteX23" fmla="*/ 171450 w 171450"/>
                    <a:gd name="connsiteY23" fmla="*/ 80963 h 188119"/>
                    <a:gd name="connsiteX24" fmla="*/ 169069 w 171450"/>
                    <a:gd name="connsiteY24" fmla="*/ 69057 h 188119"/>
                    <a:gd name="connsiteX25" fmla="*/ 157163 w 171450"/>
                    <a:gd name="connsiteY25" fmla="*/ 57150 h 188119"/>
                    <a:gd name="connsiteX26" fmla="*/ 150019 w 171450"/>
                    <a:gd name="connsiteY26" fmla="*/ 54769 h 188119"/>
                    <a:gd name="connsiteX27" fmla="*/ 145256 w 171450"/>
                    <a:gd name="connsiteY27" fmla="*/ 47625 h 188119"/>
                    <a:gd name="connsiteX28" fmla="*/ 138113 w 171450"/>
                    <a:gd name="connsiteY28" fmla="*/ 42863 h 188119"/>
                    <a:gd name="connsiteX29" fmla="*/ 121444 w 171450"/>
                    <a:gd name="connsiteY29" fmla="*/ 33338 h 188119"/>
                    <a:gd name="connsiteX30" fmla="*/ 114300 w 171450"/>
                    <a:gd name="connsiteY30" fmla="*/ 28575 h 188119"/>
                    <a:gd name="connsiteX31" fmla="*/ 107156 w 171450"/>
                    <a:gd name="connsiteY31" fmla="*/ 26194 h 188119"/>
                    <a:gd name="connsiteX32" fmla="*/ 92869 w 171450"/>
                    <a:gd name="connsiteY32" fmla="*/ 16669 h 188119"/>
                    <a:gd name="connsiteX33" fmla="*/ 76200 w 171450"/>
                    <a:gd name="connsiteY33" fmla="*/ 0 h 188119"/>
                    <a:gd name="connsiteX34" fmla="*/ 33338 w 171450"/>
                    <a:gd name="connsiteY34" fmla="*/ 2382 h 188119"/>
                    <a:gd name="connsiteX35" fmla="*/ 26194 w 171450"/>
                    <a:gd name="connsiteY35" fmla="*/ 4763 h 188119"/>
                    <a:gd name="connsiteX36" fmla="*/ 28575 w 171450"/>
                    <a:gd name="connsiteY36" fmla="*/ 26194 h 188119"/>
                    <a:gd name="connsiteX37" fmla="*/ 19050 w 171450"/>
                    <a:gd name="connsiteY37" fmla="*/ 40482 h 188119"/>
                    <a:gd name="connsiteX38" fmla="*/ 28575 w 171450"/>
                    <a:gd name="connsiteY38" fmla="*/ 7144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1450" h="188119">
                      <a:moveTo>
                        <a:pt x="28575" y="7144"/>
                      </a:moveTo>
                      <a:cubicBezTo>
                        <a:pt x="30163" y="6747"/>
                        <a:pt x="32899" y="22242"/>
                        <a:pt x="28575" y="38100"/>
                      </a:cubicBezTo>
                      <a:cubicBezTo>
                        <a:pt x="27822" y="40861"/>
                        <a:pt x="26240" y="43727"/>
                        <a:pt x="23813" y="45244"/>
                      </a:cubicBezTo>
                      <a:cubicBezTo>
                        <a:pt x="19556" y="47905"/>
                        <a:pt x="9525" y="50007"/>
                        <a:pt x="9525" y="50007"/>
                      </a:cubicBezTo>
                      <a:cubicBezTo>
                        <a:pt x="7938" y="54769"/>
                        <a:pt x="5027" y="59281"/>
                        <a:pt x="4763" y="64294"/>
                      </a:cubicBezTo>
                      <a:cubicBezTo>
                        <a:pt x="2209" y="112806"/>
                        <a:pt x="6043" y="94887"/>
                        <a:pt x="0" y="119063"/>
                      </a:cubicBezTo>
                      <a:cubicBezTo>
                        <a:pt x="794" y="133350"/>
                        <a:pt x="1024" y="147680"/>
                        <a:pt x="2381" y="161925"/>
                      </a:cubicBezTo>
                      <a:cubicBezTo>
                        <a:pt x="2619" y="164424"/>
                        <a:pt x="3195" y="167109"/>
                        <a:pt x="4763" y="169069"/>
                      </a:cubicBezTo>
                      <a:cubicBezTo>
                        <a:pt x="8121" y="173267"/>
                        <a:pt x="14342" y="174644"/>
                        <a:pt x="19050" y="176213"/>
                      </a:cubicBezTo>
                      <a:cubicBezTo>
                        <a:pt x="21431" y="178594"/>
                        <a:pt x="23250" y="181722"/>
                        <a:pt x="26194" y="183357"/>
                      </a:cubicBezTo>
                      <a:cubicBezTo>
                        <a:pt x="30582" y="185795"/>
                        <a:pt x="40481" y="188119"/>
                        <a:pt x="40481" y="188119"/>
                      </a:cubicBezTo>
                      <a:cubicBezTo>
                        <a:pt x="45244" y="187325"/>
                        <a:pt x="50450" y="187897"/>
                        <a:pt x="54769" y="185738"/>
                      </a:cubicBezTo>
                      <a:cubicBezTo>
                        <a:pt x="58460" y="183892"/>
                        <a:pt x="60786" y="174830"/>
                        <a:pt x="61913" y="171450"/>
                      </a:cubicBezTo>
                      <a:cubicBezTo>
                        <a:pt x="62707" y="166688"/>
                        <a:pt x="59976" y="159322"/>
                        <a:pt x="64294" y="157163"/>
                      </a:cubicBezTo>
                      <a:cubicBezTo>
                        <a:pt x="81300" y="148660"/>
                        <a:pt x="85869" y="156623"/>
                        <a:pt x="88106" y="166688"/>
                      </a:cubicBezTo>
                      <a:cubicBezTo>
                        <a:pt x="89153" y="171401"/>
                        <a:pt x="88329" y="176657"/>
                        <a:pt x="90488" y="180975"/>
                      </a:cubicBezTo>
                      <a:cubicBezTo>
                        <a:pt x="91768" y="183535"/>
                        <a:pt x="95250" y="184150"/>
                        <a:pt x="97631" y="185738"/>
                      </a:cubicBezTo>
                      <a:cubicBezTo>
                        <a:pt x="112712" y="184944"/>
                        <a:pt x="128224" y="187020"/>
                        <a:pt x="142875" y="183357"/>
                      </a:cubicBezTo>
                      <a:cubicBezTo>
                        <a:pt x="146050" y="182563"/>
                        <a:pt x="144874" y="177082"/>
                        <a:pt x="145256" y="173832"/>
                      </a:cubicBezTo>
                      <a:cubicBezTo>
                        <a:pt x="146465" y="163553"/>
                        <a:pt x="146024" y="153098"/>
                        <a:pt x="147638" y="142875"/>
                      </a:cubicBezTo>
                      <a:cubicBezTo>
                        <a:pt x="148421" y="137917"/>
                        <a:pt x="151183" y="133458"/>
                        <a:pt x="152400" y="128588"/>
                      </a:cubicBezTo>
                      <a:cubicBezTo>
                        <a:pt x="152719" y="127313"/>
                        <a:pt x="155795" y="113972"/>
                        <a:pt x="157163" y="111919"/>
                      </a:cubicBezTo>
                      <a:cubicBezTo>
                        <a:pt x="159031" y="109117"/>
                        <a:pt x="161925" y="107156"/>
                        <a:pt x="164306" y="104775"/>
                      </a:cubicBezTo>
                      <a:cubicBezTo>
                        <a:pt x="170104" y="87383"/>
                        <a:pt x="167852" y="95358"/>
                        <a:pt x="171450" y="80963"/>
                      </a:cubicBezTo>
                      <a:cubicBezTo>
                        <a:pt x="170656" y="76994"/>
                        <a:pt x="170490" y="72847"/>
                        <a:pt x="169069" y="69057"/>
                      </a:cubicBezTo>
                      <a:cubicBezTo>
                        <a:pt x="166871" y="63197"/>
                        <a:pt x="162535" y="59836"/>
                        <a:pt x="157163" y="57150"/>
                      </a:cubicBezTo>
                      <a:cubicBezTo>
                        <a:pt x="154918" y="56027"/>
                        <a:pt x="152400" y="55563"/>
                        <a:pt x="150019" y="54769"/>
                      </a:cubicBezTo>
                      <a:cubicBezTo>
                        <a:pt x="148431" y="52388"/>
                        <a:pt x="147280" y="49649"/>
                        <a:pt x="145256" y="47625"/>
                      </a:cubicBezTo>
                      <a:cubicBezTo>
                        <a:pt x="143233" y="45602"/>
                        <a:pt x="140442" y="44526"/>
                        <a:pt x="138113" y="42863"/>
                      </a:cubicBezTo>
                      <a:cubicBezTo>
                        <a:pt x="125499" y="33853"/>
                        <a:pt x="133037" y="37202"/>
                        <a:pt x="121444" y="33338"/>
                      </a:cubicBezTo>
                      <a:cubicBezTo>
                        <a:pt x="119063" y="31750"/>
                        <a:pt x="116860" y="29855"/>
                        <a:pt x="114300" y="28575"/>
                      </a:cubicBezTo>
                      <a:cubicBezTo>
                        <a:pt x="112055" y="27452"/>
                        <a:pt x="109350" y="27413"/>
                        <a:pt x="107156" y="26194"/>
                      </a:cubicBezTo>
                      <a:cubicBezTo>
                        <a:pt x="102153" y="23414"/>
                        <a:pt x="92869" y="16669"/>
                        <a:pt x="92869" y="16669"/>
                      </a:cubicBezTo>
                      <a:cubicBezTo>
                        <a:pt x="81952" y="293"/>
                        <a:pt x="88774" y="4192"/>
                        <a:pt x="76200" y="0"/>
                      </a:cubicBezTo>
                      <a:cubicBezTo>
                        <a:pt x="61913" y="794"/>
                        <a:pt x="47583" y="1025"/>
                        <a:pt x="33338" y="2382"/>
                      </a:cubicBezTo>
                      <a:cubicBezTo>
                        <a:pt x="30839" y="2620"/>
                        <a:pt x="26686" y="2302"/>
                        <a:pt x="26194" y="4763"/>
                      </a:cubicBezTo>
                      <a:cubicBezTo>
                        <a:pt x="24784" y="11811"/>
                        <a:pt x="27781" y="19050"/>
                        <a:pt x="28575" y="26194"/>
                      </a:cubicBezTo>
                      <a:cubicBezTo>
                        <a:pt x="23735" y="50398"/>
                        <a:pt x="31254" y="30719"/>
                        <a:pt x="19050" y="40482"/>
                      </a:cubicBezTo>
                      <a:cubicBezTo>
                        <a:pt x="9296" y="48286"/>
                        <a:pt x="26987" y="7541"/>
                        <a:pt x="28575" y="714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grpSp>
          <p:sp>
            <p:nvSpPr>
              <p:cNvPr id="257" name="Freeform 256"/>
              <p:cNvSpPr/>
              <p:nvPr/>
            </p:nvSpPr>
            <p:spPr>
              <a:xfrm>
                <a:off x="2867425" y="4613672"/>
                <a:ext cx="345281" cy="283580"/>
              </a:xfrm>
              <a:custGeom>
                <a:avLst/>
                <a:gdLst>
                  <a:gd name="connsiteX0" fmla="*/ 195263 w 345281"/>
                  <a:gd name="connsiteY0" fmla="*/ 211 h 283580"/>
                  <a:gd name="connsiteX1" fmla="*/ 176213 w 345281"/>
                  <a:gd name="connsiteY1" fmla="*/ 9736 h 283580"/>
                  <a:gd name="connsiteX2" fmla="*/ 173831 w 345281"/>
                  <a:gd name="connsiteY2" fmla="*/ 16880 h 283580"/>
                  <a:gd name="connsiteX3" fmla="*/ 159544 w 345281"/>
                  <a:gd name="connsiteY3" fmla="*/ 26405 h 283580"/>
                  <a:gd name="connsiteX4" fmla="*/ 152400 w 345281"/>
                  <a:gd name="connsiteY4" fmla="*/ 40692 h 283580"/>
                  <a:gd name="connsiteX5" fmla="*/ 145256 w 345281"/>
                  <a:gd name="connsiteY5" fmla="*/ 45455 h 283580"/>
                  <a:gd name="connsiteX6" fmla="*/ 138113 w 345281"/>
                  <a:gd name="connsiteY6" fmla="*/ 52598 h 283580"/>
                  <a:gd name="connsiteX7" fmla="*/ 135731 w 345281"/>
                  <a:gd name="connsiteY7" fmla="*/ 59742 h 283580"/>
                  <a:gd name="connsiteX8" fmla="*/ 128588 w 345281"/>
                  <a:gd name="connsiteY8" fmla="*/ 64505 h 283580"/>
                  <a:gd name="connsiteX9" fmla="*/ 126206 w 345281"/>
                  <a:gd name="connsiteY9" fmla="*/ 121655 h 283580"/>
                  <a:gd name="connsiteX10" fmla="*/ 123825 w 345281"/>
                  <a:gd name="connsiteY10" fmla="*/ 128798 h 283580"/>
                  <a:gd name="connsiteX11" fmla="*/ 116681 w 345281"/>
                  <a:gd name="connsiteY11" fmla="*/ 131180 h 283580"/>
                  <a:gd name="connsiteX12" fmla="*/ 114300 w 345281"/>
                  <a:gd name="connsiteY12" fmla="*/ 138323 h 283580"/>
                  <a:gd name="connsiteX13" fmla="*/ 90488 w 345281"/>
                  <a:gd name="connsiteY13" fmla="*/ 145467 h 283580"/>
                  <a:gd name="connsiteX14" fmla="*/ 83344 w 345281"/>
                  <a:gd name="connsiteY14" fmla="*/ 147848 h 283580"/>
                  <a:gd name="connsiteX15" fmla="*/ 78581 w 345281"/>
                  <a:gd name="connsiteY15" fmla="*/ 154992 h 283580"/>
                  <a:gd name="connsiteX16" fmla="*/ 71438 w 345281"/>
                  <a:gd name="connsiteY16" fmla="*/ 159755 h 283580"/>
                  <a:gd name="connsiteX17" fmla="*/ 66675 w 345281"/>
                  <a:gd name="connsiteY17" fmla="*/ 174042 h 283580"/>
                  <a:gd name="connsiteX18" fmla="*/ 59531 w 345281"/>
                  <a:gd name="connsiteY18" fmla="*/ 188330 h 283580"/>
                  <a:gd name="connsiteX19" fmla="*/ 52388 w 345281"/>
                  <a:gd name="connsiteY19" fmla="*/ 193092 h 283580"/>
                  <a:gd name="connsiteX20" fmla="*/ 40481 w 345281"/>
                  <a:gd name="connsiteY20" fmla="*/ 204998 h 283580"/>
                  <a:gd name="connsiteX21" fmla="*/ 33338 w 345281"/>
                  <a:gd name="connsiteY21" fmla="*/ 202617 h 283580"/>
                  <a:gd name="connsiteX22" fmla="*/ 2381 w 345281"/>
                  <a:gd name="connsiteY22" fmla="*/ 197855 h 283580"/>
                  <a:gd name="connsiteX23" fmla="*/ 0 w 345281"/>
                  <a:gd name="connsiteY23" fmla="*/ 204998 h 283580"/>
                  <a:gd name="connsiteX24" fmla="*/ 23813 w 345281"/>
                  <a:gd name="connsiteY24" fmla="*/ 233573 h 283580"/>
                  <a:gd name="connsiteX25" fmla="*/ 30956 w 345281"/>
                  <a:gd name="connsiteY25" fmla="*/ 231192 h 283580"/>
                  <a:gd name="connsiteX26" fmla="*/ 88106 w 345281"/>
                  <a:gd name="connsiteY26" fmla="*/ 233573 h 283580"/>
                  <a:gd name="connsiteX27" fmla="*/ 97631 w 345281"/>
                  <a:gd name="connsiteY27" fmla="*/ 235955 h 283580"/>
                  <a:gd name="connsiteX28" fmla="*/ 183356 w 345281"/>
                  <a:gd name="connsiteY28" fmla="*/ 238336 h 283580"/>
                  <a:gd name="connsiteX29" fmla="*/ 197644 w 345281"/>
                  <a:gd name="connsiteY29" fmla="*/ 243098 h 283580"/>
                  <a:gd name="connsiteX30" fmla="*/ 204788 w 345281"/>
                  <a:gd name="connsiteY30" fmla="*/ 247861 h 283580"/>
                  <a:gd name="connsiteX31" fmla="*/ 219075 w 345281"/>
                  <a:gd name="connsiteY31" fmla="*/ 252623 h 283580"/>
                  <a:gd name="connsiteX32" fmla="*/ 226219 w 345281"/>
                  <a:gd name="connsiteY32" fmla="*/ 259767 h 283580"/>
                  <a:gd name="connsiteX33" fmla="*/ 238125 w 345281"/>
                  <a:gd name="connsiteY33" fmla="*/ 274055 h 283580"/>
                  <a:gd name="connsiteX34" fmla="*/ 252413 w 345281"/>
                  <a:gd name="connsiteY34" fmla="*/ 283580 h 283580"/>
                  <a:gd name="connsiteX35" fmla="*/ 269081 w 345281"/>
                  <a:gd name="connsiteY35" fmla="*/ 281198 h 283580"/>
                  <a:gd name="connsiteX36" fmla="*/ 283369 w 345281"/>
                  <a:gd name="connsiteY36" fmla="*/ 276436 h 283580"/>
                  <a:gd name="connsiteX37" fmla="*/ 285750 w 345281"/>
                  <a:gd name="connsiteY37" fmla="*/ 269292 h 283580"/>
                  <a:gd name="connsiteX38" fmla="*/ 290513 w 345281"/>
                  <a:gd name="connsiteY38" fmla="*/ 262148 h 283580"/>
                  <a:gd name="connsiteX39" fmla="*/ 285750 w 345281"/>
                  <a:gd name="connsiteY39" fmla="*/ 235955 h 283580"/>
                  <a:gd name="connsiteX40" fmla="*/ 280988 w 345281"/>
                  <a:gd name="connsiteY40" fmla="*/ 212142 h 283580"/>
                  <a:gd name="connsiteX41" fmla="*/ 278606 w 345281"/>
                  <a:gd name="connsiteY41" fmla="*/ 195473 h 283580"/>
                  <a:gd name="connsiteX42" fmla="*/ 266700 w 345281"/>
                  <a:gd name="connsiteY42" fmla="*/ 174042 h 283580"/>
                  <a:gd name="connsiteX43" fmla="*/ 261938 w 345281"/>
                  <a:gd name="connsiteY43" fmla="*/ 166898 h 283580"/>
                  <a:gd name="connsiteX44" fmla="*/ 264319 w 345281"/>
                  <a:gd name="connsiteY44" fmla="*/ 152611 h 283580"/>
                  <a:gd name="connsiteX45" fmla="*/ 278606 w 345281"/>
                  <a:gd name="connsiteY45" fmla="*/ 124036 h 283580"/>
                  <a:gd name="connsiteX46" fmla="*/ 314325 w 345281"/>
                  <a:gd name="connsiteY46" fmla="*/ 121655 h 283580"/>
                  <a:gd name="connsiteX47" fmla="*/ 326231 w 345281"/>
                  <a:gd name="connsiteY47" fmla="*/ 119273 h 283580"/>
                  <a:gd name="connsiteX48" fmla="*/ 333375 w 345281"/>
                  <a:gd name="connsiteY48" fmla="*/ 116892 h 283580"/>
                  <a:gd name="connsiteX49" fmla="*/ 345281 w 345281"/>
                  <a:gd name="connsiteY49" fmla="*/ 114511 h 283580"/>
                  <a:gd name="connsiteX50" fmla="*/ 342900 w 345281"/>
                  <a:gd name="connsiteY50" fmla="*/ 102605 h 283580"/>
                  <a:gd name="connsiteX51" fmla="*/ 338138 w 345281"/>
                  <a:gd name="connsiteY51" fmla="*/ 95461 h 283580"/>
                  <a:gd name="connsiteX52" fmla="*/ 335756 w 345281"/>
                  <a:gd name="connsiteY52" fmla="*/ 24023 h 283580"/>
                  <a:gd name="connsiteX53" fmla="*/ 326231 w 345281"/>
                  <a:gd name="connsiteY53" fmla="*/ 21642 h 283580"/>
                  <a:gd name="connsiteX54" fmla="*/ 271463 w 345281"/>
                  <a:gd name="connsiteY54" fmla="*/ 14498 h 283580"/>
                  <a:gd name="connsiteX55" fmla="*/ 261938 w 345281"/>
                  <a:gd name="connsiteY55" fmla="*/ 12117 h 283580"/>
                  <a:gd name="connsiteX56" fmla="*/ 254794 w 345281"/>
                  <a:gd name="connsiteY56" fmla="*/ 9736 h 283580"/>
                  <a:gd name="connsiteX57" fmla="*/ 226219 w 345281"/>
                  <a:gd name="connsiteY57" fmla="*/ 12117 h 283580"/>
                  <a:gd name="connsiteX58" fmla="*/ 197644 w 345281"/>
                  <a:gd name="connsiteY58" fmla="*/ 14498 h 283580"/>
                  <a:gd name="connsiteX59" fmla="*/ 195263 w 345281"/>
                  <a:gd name="connsiteY59" fmla="*/ 211 h 28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45281" h="283580">
                    <a:moveTo>
                      <a:pt x="195263" y="211"/>
                    </a:moveTo>
                    <a:cubicBezTo>
                      <a:pt x="191691" y="-583"/>
                      <a:pt x="182371" y="499"/>
                      <a:pt x="176213" y="9736"/>
                    </a:cubicBezTo>
                    <a:cubicBezTo>
                      <a:pt x="174821" y="11825"/>
                      <a:pt x="175606" y="15105"/>
                      <a:pt x="173831" y="16880"/>
                    </a:cubicBezTo>
                    <a:cubicBezTo>
                      <a:pt x="169784" y="20927"/>
                      <a:pt x="159544" y="26405"/>
                      <a:pt x="159544" y="26405"/>
                    </a:cubicBezTo>
                    <a:cubicBezTo>
                      <a:pt x="157607" y="32216"/>
                      <a:pt x="157017" y="36075"/>
                      <a:pt x="152400" y="40692"/>
                    </a:cubicBezTo>
                    <a:cubicBezTo>
                      <a:pt x="150376" y="42716"/>
                      <a:pt x="147455" y="43623"/>
                      <a:pt x="145256" y="45455"/>
                    </a:cubicBezTo>
                    <a:cubicBezTo>
                      <a:pt x="142669" y="47611"/>
                      <a:pt x="140494" y="50217"/>
                      <a:pt x="138113" y="52598"/>
                    </a:cubicBezTo>
                    <a:cubicBezTo>
                      <a:pt x="137319" y="54979"/>
                      <a:pt x="137299" y="57782"/>
                      <a:pt x="135731" y="59742"/>
                    </a:cubicBezTo>
                    <a:cubicBezTo>
                      <a:pt x="133943" y="61977"/>
                      <a:pt x="129023" y="61676"/>
                      <a:pt x="128588" y="64505"/>
                    </a:cubicBezTo>
                    <a:cubicBezTo>
                      <a:pt x="125689" y="83350"/>
                      <a:pt x="127615" y="102641"/>
                      <a:pt x="126206" y="121655"/>
                    </a:cubicBezTo>
                    <a:cubicBezTo>
                      <a:pt x="126021" y="124158"/>
                      <a:pt x="125600" y="127023"/>
                      <a:pt x="123825" y="128798"/>
                    </a:cubicBezTo>
                    <a:cubicBezTo>
                      <a:pt x="122050" y="130573"/>
                      <a:pt x="119062" y="130386"/>
                      <a:pt x="116681" y="131180"/>
                    </a:cubicBezTo>
                    <a:cubicBezTo>
                      <a:pt x="115887" y="133561"/>
                      <a:pt x="115868" y="136363"/>
                      <a:pt x="114300" y="138323"/>
                    </a:cubicBezTo>
                    <a:cubicBezTo>
                      <a:pt x="108710" y="145310"/>
                      <a:pt x="97785" y="144425"/>
                      <a:pt x="90488" y="145467"/>
                    </a:cubicBezTo>
                    <a:cubicBezTo>
                      <a:pt x="88107" y="146261"/>
                      <a:pt x="85304" y="146280"/>
                      <a:pt x="83344" y="147848"/>
                    </a:cubicBezTo>
                    <a:cubicBezTo>
                      <a:pt x="81109" y="149636"/>
                      <a:pt x="80605" y="152968"/>
                      <a:pt x="78581" y="154992"/>
                    </a:cubicBezTo>
                    <a:cubicBezTo>
                      <a:pt x="76557" y="157016"/>
                      <a:pt x="73819" y="158167"/>
                      <a:pt x="71438" y="159755"/>
                    </a:cubicBezTo>
                    <a:lnTo>
                      <a:pt x="66675" y="174042"/>
                    </a:lnTo>
                    <a:cubicBezTo>
                      <a:pt x="64738" y="179854"/>
                      <a:pt x="64149" y="183712"/>
                      <a:pt x="59531" y="188330"/>
                    </a:cubicBezTo>
                    <a:cubicBezTo>
                      <a:pt x="57508" y="190353"/>
                      <a:pt x="54769" y="191505"/>
                      <a:pt x="52388" y="193092"/>
                    </a:cubicBezTo>
                    <a:cubicBezTo>
                      <a:pt x="49609" y="197260"/>
                      <a:pt x="46435" y="204006"/>
                      <a:pt x="40481" y="204998"/>
                    </a:cubicBezTo>
                    <a:cubicBezTo>
                      <a:pt x="38005" y="205411"/>
                      <a:pt x="35719" y="203411"/>
                      <a:pt x="33338" y="202617"/>
                    </a:cubicBezTo>
                    <a:cubicBezTo>
                      <a:pt x="22770" y="192049"/>
                      <a:pt x="24294" y="189887"/>
                      <a:pt x="2381" y="197855"/>
                    </a:cubicBezTo>
                    <a:cubicBezTo>
                      <a:pt x="22" y="198713"/>
                      <a:pt x="794" y="202617"/>
                      <a:pt x="0" y="204998"/>
                    </a:cubicBezTo>
                    <a:cubicBezTo>
                      <a:pt x="2740" y="240617"/>
                      <a:pt x="-7771" y="238838"/>
                      <a:pt x="23813" y="233573"/>
                    </a:cubicBezTo>
                    <a:cubicBezTo>
                      <a:pt x="26289" y="233160"/>
                      <a:pt x="28575" y="231986"/>
                      <a:pt x="30956" y="231192"/>
                    </a:cubicBezTo>
                    <a:cubicBezTo>
                      <a:pt x="50006" y="231986"/>
                      <a:pt x="69088" y="232214"/>
                      <a:pt x="88106" y="233573"/>
                    </a:cubicBezTo>
                    <a:cubicBezTo>
                      <a:pt x="91370" y="233806"/>
                      <a:pt x="94362" y="235792"/>
                      <a:pt x="97631" y="235955"/>
                    </a:cubicBezTo>
                    <a:cubicBezTo>
                      <a:pt x="126181" y="237383"/>
                      <a:pt x="154781" y="237542"/>
                      <a:pt x="183356" y="238336"/>
                    </a:cubicBezTo>
                    <a:cubicBezTo>
                      <a:pt x="188119" y="239923"/>
                      <a:pt x="193467" y="240313"/>
                      <a:pt x="197644" y="243098"/>
                    </a:cubicBezTo>
                    <a:cubicBezTo>
                      <a:pt x="200025" y="244686"/>
                      <a:pt x="202173" y="246699"/>
                      <a:pt x="204788" y="247861"/>
                    </a:cubicBezTo>
                    <a:cubicBezTo>
                      <a:pt x="209375" y="249900"/>
                      <a:pt x="219075" y="252623"/>
                      <a:pt x="219075" y="252623"/>
                    </a:cubicBezTo>
                    <a:cubicBezTo>
                      <a:pt x="221456" y="255004"/>
                      <a:pt x="224063" y="257180"/>
                      <a:pt x="226219" y="259767"/>
                    </a:cubicBezTo>
                    <a:cubicBezTo>
                      <a:pt x="233461" y="268458"/>
                      <a:pt x="228237" y="266364"/>
                      <a:pt x="238125" y="274055"/>
                    </a:cubicBezTo>
                    <a:cubicBezTo>
                      <a:pt x="242643" y="277569"/>
                      <a:pt x="252413" y="283580"/>
                      <a:pt x="252413" y="283580"/>
                    </a:cubicBezTo>
                    <a:cubicBezTo>
                      <a:pt x="257969" y="282786"/>
                      <a:pt x="263612" y="282460"/>
                      <a:pt x="269081" y="281198"/>
                    </a:cubicBezTo>
                    <a:cubicBezTo>
                      <a:pt x="273973" y="280069"/>
                      <a:pt x="283369" y="276436"/>
                      <a:pt x="283369" y="276436"/>
                    </a:cubicBezTo>
                    <a:cubicBezTo>
                      <a:pt x="284163" y="274055"/>
                      <a:pt x="284627" y="271537"/>
                      <a:pt x="285750" y="269292"/>
                    </a:cubicBezTo>
                    <a:cubicBezTo>
                      <a:pt x="287030" y="266732"/>
                      <a:pt x="290254" y="264998"/>
                      <a:pt x="290513" y="262148"/>
                    </a:cubicBezTo>
                    <a:cubicBezTo>
                      <a:pt x="292133" y="244323"/>
                      <a:pt x="288463" y="247712"/>
                      <a:pt x="285750" y="235955"/>
                    </a:cubicBezTo>
                    <a:cubicBezTo>
                      <a:pt x="283930" y="228067"/>
                      <a:pt x="282133" y="220155"/>
                      <a:pt x="280988" y="212142"/>
                    </a:cubicBezTo>
                    <a:cubicBezTo>
                      <a:pt x="280194" y="206586"/>
                      <a:pt x="279707" y="200977"/>
                      <a:pt x="278606" y="195473"/>
                    </a:cubicBezTo>
                    <a:cubicBezTo>
                      <a:pt x="276810" y="186492"/>
                      <a:pt x="272156" y="182227"/>
                      <a:pt x="266700" y="174042"/>
                    </a:cubicBezTo>
                    <a:lnTo>
                      <a:pt x="261938" y="166898"/>
                    </a:lnTo>
                    <a:cubicBezTo>
                      <a:pt x="262732" y="162136"/>
                      <a:pt x="263148" y="157295"/>
                      <a:pt x="264319" y="152611"/>
                    </a:cubicBezTo>
                    <a:cubicBezTo>
                      <a:pt x="265286" y="148742"/>
                      <a:pt x="272686" y="124431"/>
                      <a:pt x="278606" y="124036"/>
                    </a:cubicBezTo>
                    <a:lnTo>
                      <a:pt x="314325" y="121655"/>
                    </a:lnTo>
                    <a:cubicBezTo>
                      <a:pt x="318294" y="120861"/>
                      <a:pt x="322305" y="120255"/>
                      <a:pt x="326231" y="119273"/>
                    </a:cubicBezTo>
                    <a:cubicBezTo>
                      <a:pt x="328666" y="118664"/>
                      <a:pt x="330940" y="117501"/>
                      <a:pt x="333375" y="116892"/>
                    </a:cubicBezTo>
                    <a:cubicBezTo>
                      <a:pt x="337301" y="115910"/>
                      <a:pt x="341312" y="115305"/>
                      <a:pt x="345281" y="114511"/>
                    </a:cubicBezTo>
                    <a:cubicBezTo>
                      <a:pt x="344487" y="110542"/>
                      <a:pt x="344321" y="106395"/>
                      <a:pt x="342900" y="102605"/>
                    </a:cubicBezTo>
                    <a:cubicBezTo>
                      <a:pt x="341895" y="99925"/>
                      <a:pt x="338397" y="98311"/>
                      <a:pt x="338138" y="95461"/>
                    </a:cubicBezTo>
                    <a:cubicBezTo>
                      <a:pt x="335981" y="71733"/>
                      <a:pt x="339550" y="47545"/>
                      <a:pt x="335756" y="24023"/>
                    </a:cubicBezTo>
                    <a:cubicBezTo>
                      <a:pt x="335235" y="20792"/>
                      <a:pt x="329440" y="22284"/>
                      <a:pt x="326231" y="21642"/>
                    </a:cubicBezTo>
                    <a:cubicBezTo>
                      <a:pt x="308155" y="18027"/>
                      <a:pt x="289775" y="16330"/>
                      <a:pt x="271463" y="14498"/>
                    </a:cubicBezTo>
                    <a:cubicBezTo>
                      <a:pt x="268288" y="13704"/>
                      <a:pt x="265085" y="13016"/>
                      <a:pt x="261938" y="12117"/>
                    </a:cubicBezTo>
                    <a:cubicBezTo>
                      <a:pt x="259524" y="11427"/>
                      <a:pt x="257304" y="9736"/>
                      <a:pt x="254794" y="9736"/>
                    </a:cubicBezTo>
                    <a:cubicBezTo>
                      <a:pt x="245236" y="9736"/>
                      <a:pt x="235744" y="11323"/>
                      <a:pt x="226219" y="12117"/>
                    </a:cubicBezTo>
                    <a:cubicBezTo>
                      <a:pt x="207351" y="18407"/>
                      <a:pt x="216883" y="17706"/>
                      <a:pt x="197644" y="14498"/>
                    </a:cubicBezTo>
                    <a:cubicBezTo>
                      <a:pt x="192258" y="6421"/>
                      <a:pt x="198835" y="1005"/>
                      <a:pt x="195263" y="21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8" name="Freeform 257"/>
              <p:cNvSpPr/>
              <p:nvPr/>
            </p:nvSpPr>
            <p:spPr>
              <a:xfrm>
                <a:off x="3200756" y="4637695"/>
                <a:ext cx="105523" cy="97632"/>
              </a:xfrm>
              <a:custGeom>
                <a:avLst/>
                <a:gdLst>
                  <a:gd name="connsiteX0" fmla="*/ 7188 w 105523"/>
                  <a:gd name="connsiteY0" fmla="*/ 54769 h 97632"/>
                  <a:gd name="connsiteX1" fmla="*/ 14332 w 105523"/>
                  <a:gd name="connsiteY1" fmla="*/ 80963 h 97632"/>
                  <a:gd name="connsiteX2" fmla="*/ 19094 w 105523"/>
                  <a:gd name="connsiteY2" fmla="*/ 88107 h 97632"/>
                  <a:gd name="connsiteX3" fmla="*/ 26238 w 105523"/>
                  <a:gd name="connsiteY3" fmla="*/ 92869 h 97632"/>
                  <a:gd name="connsiteX4" fmla="*/ 40525 w 105523"/>
                  <a:gd name="connsiteY4" fmla="*/ 97632 h 97632"/>
                  <a:gd name="connsiteX5" fmla="*/ 64338 w 105523"/>
                  <a:gd name="connsiteY5" fmla="*/ 95250 h 97632"/>
                  <a:gd name="connsiteX6" fmla="*/ 71482 w 105523"/>
                  <a:gd name="connsiteY6" fmla="*/ 92869 h 97632"/>
                  <a:gd name="connsiteX7" fmla="*/ 85769 w 105523"/>
                  <a:gd name="connsiteY7" fmla="*/ 78582 h 97632"/>
                  <a:gd name="connsiteX8" fmla="*/ 92913 w 105523"/>
                  <a:gd name="connsiteY8" fmla="*/ 57150 h 97632"/>
                  <a:gd name="connsiteX9" fmla="*/ 95294 w 105523"/>
                  <a:gd name="connsiteY9" fmla="*/ 50007 h 97632"/>
                  <a:gd name="connsiteX10" fmla="*/ 102438 w 105523"/>
                  <a:gd name="connsiteY10" fmla="*/ 42863 h 97632"/>
                  <a:gd name="connsiteX11" fmla="*/ 102438 w 105523"/>
                  <a:gd name="connsiteY11" fmla="*/ 19050 h 97632"/>
                  <a:gd name="connsiteX12" fmla="*/ 95294 w 105523"/>
                  <a:gd name="connsiteY12" fmla="*/ 11907 h 97632"/>
                  <a:gd name="connsiteX13" fmla="*/ 71482 w 105523"/>
                  <a:gd name="connsiteY13" fmla="*/ 14288 h 97632"/>
                  <a:gd name="connsiteX14" fmla="*/ 57194 w 105523"/>
                  <a:gd name="connsiteY14" fmla="*/ 19050 h 97632"/>
                  <a:gd name="connsiteX15" fmla="*/ 35763 w 105523"/>
                  <a:gd name="connsiteY15" fmla="*/ 16669 h 97632"/>
                  <a:gd name="connsiteX16" fmla="*/ 28619 w 105523"/>
                  <a:gd name="connsiteY16" fmla="*/ 14288 h 97632"/>
                  <a:gd name="connsiteX17" fmla="*/ 26238 w 105523"/>
                  <a:gd name="connsiteY17" fmla="*/ 7144 h 97632"/>
                  <a:gd name="connsiteX18" fmla="*/ 11950 w 105523"/>
                  <a:gd name="connsiteY18" fmla="*/ 0 h 97632"/>
                  <a:gd name="connsiteX19" fmla="*/ 44 w 105523"/>
                  <a:gd name="connsiteY19" fmla="*/ 19050 h 97632"/>
                  <a:gd name="connsiteX20" fmla="*/ 7188 w 105523"/>
                  <a:gd name="connsiteY20" fmla="*/ 54769 h 9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523" h="97632">
                    <a:moveTo>
                      <a:pt x="7188" y="54769"/>
                    </a:moveTo>
                    <a:cubicBezTo>
                      <a:pt x="9569" y="65088"/>
                      <a:pt x="10878" y="75781"/>
                      <a:pt x="14332" y="80963"/>
                    </a:cubicBezTo>
                    <a:cubicBezTo>
                      <a:pt x="15919" y="83344"/>
                      <a:pt x="17070" y="86083"/>
                      <a:pt x="19094" y="88107"/>
                    </a:cubicBezTo>
                    <a:cubicBezTo>
                      <a:pt x="21118" y="90131"/>
                      <a:pt x="23623" y="91707"/>
                      <a:pt x="26238" y="92869"/>
                    </a:cubicBezTo>
                    <a:cubicBezTo>
                      <a:pt x="30825" y="94908"/>
                      <a:pt x="40525" y="97632"/>
                      <a:pt x="40525" y="97632"/>
                    </a:cubicBezTo>
                    <a:cubicBezTo>
                      <a:pt x="48463" y="96838"/>
                      <a:pt x="56453" y="96463"/>
                      <a:pt x="64338" y="95250"/>
                    </a:cubicBezTo>
                    <a:cubicBezTo>
                      <a:pt x="66819" y="94868"/>
                      <a:pt x="69501" y="94410"/>
                      <a:pt x="71482" y="92869"/>
                    </a:cubicBezTo>
                    <a:cubicBezTo>
                      <a:pt x="76798" y="88734"/>
                      <a:pt x="85769" y="78582"/>
                      <a:pt x="85769" y="78582"/>
                    </a:cubicBezTo>
                    <a:lnTo>
                      <a:pt x="92913" y="57150"/>
                    </a:lnTo>
                    <a:cubicBezTo>
                      <a:pt x="93707" y="54769"/>
                      <a:pt x="93519" y="51782"/>
                      <a:pt x="95294" y="50007"/>
                    </a:cubicBezTo>
                    <a:lnTo>
                      <a:pt x="102438" y="42863"/>
                    </a:lnTo>
                    <a:cubicBezTo>
                      <a:pt x="105592" y="33398"/>
                      <a:pt x="107413" y="31487"/>
                      <a:pt x="102438" y="19050"/>
                    </a:cubicBezTo>
                    <a:cubicBezTo>
                      <a:pt x="101187" y="15923"/>
                      <a:pt x="97675" y="14288"/>
                      <a:pt x="95294" y="11907"/>
                    </a:cubicBezTo>
                    <a:cubicBezTo>
                      <a:pt x="87357" y="12701"/>
                      <a:pt x="79322" y="12818"/>
                      <a:pt x="71482" y="14288"/>
                    </a:cubicBezTo>
                    <a:cubicBezTo>
                      <a:pt x="66548" y="15213"/>
                      <a:pt x="57194" y="19050"/>
                      <a:pt x="57194" y="19050"/>
                    </a:cubicBezTo>
                    <a:cubicBezTo>
                      <a:pt x="50050" y="18256"/>
                      <a:pt x="42853" y="17851"/>
                      <a:pt x="35763" y="16669"/>
                    </a:cubicBezTo>
                    <a:cubicBezTo>
                      <a:pt x="33287" y="16256"/>
                      <a:pt x="30394" y="16063"/>
                      <a:pt x="28619" y="14288"/>
                    </a:cubicBezTo>
                    <a:cubicBezTo>
                      <a:pt x="26844" y="12513"/>
                      <a:pt x="27806" y="9104"/>
                      <a:pt x="26238" y="7144"/>
                    </a:cubicBezTo>
                    <a:cubicBezTo>
                      <a:pt x="22882" y="2949"/>
                      <a:pt x="16654" y="1569"/>
                      <a:pt x="11950" y="0"/>
                    </a:cubicBezTo>
                    <a:cubicBezTo>
                      <a:pt x="-3494" y="3862"/>
                      <a:pt x="3700" y="-1061"/>
                      <a:pt x="44" y="19050"/>
                    </a:cubicBezTo>
                    <a:cubicBezTo>
                      <a:pt x="-541" y="22270"/>
                      <a:pt x="4807" y="44450"/>
                      <a:pt x="7188" y="547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59" name="Freeform 258"/>
              <p:cNvSpPr/>
              <p:nvPr/>
            </p:nvSpPr>
            <p:spPr>
              <a:xfrm>
                <a:off x="3124555" y="4625789"/>
                <a:ext cx="629564" cy="481013"/>
              </a:xfrm>
              <a:custGeom>
                <a:avLst/>
                <a:gdLst>
                  <a:gd name="connsiteX0" fmla="*/ 31001 w 629564"/>
                  <a:gd name="connsiteY0" fmla="*/ 276225 h 481013"/>
                  <a:gd name="connsiteX1" fmla="*/ 21476 w 629564"/>
                  <a:gd name="connsiteY1" fmla="*/ 288131 h 481013"/>
                  <a:gd name="connsiteX2" fmla="*/ 16714 w 629564"/>
                  <a:gd name="connsiteY2" fmla="*/ 302419 h 481013"/>
                  <a:gd name="connsiteX3" fmla="*/ 14333 w 629564"/>
                  <a:gd name="connsiteY3" fmla="*/ 309563 h 481013"/>
                  <a:gd name="connsiteX4" fmla="*/ 2426 w 629564"/>
                  <a:gd name="connsiteY4" fmla="*/ 323850 h 481013"/>
                  <a:gd name="connsiteX5" fmla="*/ 45 w 629564"/>
                  <a:gd name="connsiteY5" fmla="*/ 335756 h 481013"/>
                  <a:gd name="connsiteX6" fmla="*/ 11951 w 629564"/>
                  <a:gd name="connsiteY6" fmla="*/ 354806 h 481013"/>
                  <a:gd name="connsiteX7" fmla="*/ 19095 w 629564"/>
                  <a:gd name="connsiteY7" fmla="*/ 361950 h 481013"/>
                  <a:gd name="connsiteX8" fmla="*/ 26239 w 629564"/>
                  <a:gd name="connsiteY8" fmla="*/ 366713 h 481013"/>
                  <a:gd name="connsiteX9" fmla="*/ 40526 w 629564"/>
                  <a:gd name="connsiteY9" fmla="*/ 376238 h 481013"/>
                  <a:gd name="connsiteX10" fmla="*/ 100058 w 629564"/>
                  <a:gd name="connsiteY10" fmla="*/ 376238 h 481013"/>
                  <a:gd name="connsiteX11" fmla="*/ 114345 w 629564"/>
                  <a:gd name="connsiteY11" fmla="*/ 381000 h 481013"/>
                  <a:gd name="connsiteX12" fmla="*/ 121489 w 629564"/>
                  <a:gd name="connsiteY12" fmla="*/ 383381 h 481013"/>
                  <a:gd name="connsiteX13" fmla="*/ 128633 w 629564"/>
                  <a:gd name="connsiteY13" fmla="*/ 385763 h 481013"/>
                  <a:gd name="connsiteX14" fmla="*/ 242933 w 629564"/>
                  <a:gd name="connsiteY14" fmla="*/ 385763 h 481013"/>
                  <a:gd name="connsiteX15" fmla="*/ 259601 w 629564"/>
                  <a:gd name="connsiteY15" fmla="*/ 392906 h 481013"/>
                  <a:gd name="connsiteX16" fmla="*/ 273889 w 629564"/>
                  <a:gd name="connsiteY16" fmla="*/ 397669 h 481013"/>
                  <a:gd name="connsiteX17" fmla="*/ 288176 w 629564"/>
                  <a:gd name="connsiteY17" fmla="*/ 402431 h 481013"/>
                  <a:gd name="connsiteX18" fmla="*/ 295320 w 629564"/>
                  <a:gd name="connsiteY18" fmla="*/ 404813 h 481013"/>
                  <a:gd name="connsiteX19" fmla="*/ 302464 w 629564"/>
                  <a:gd name="connsiteY19" fmla="*/ 407194 h 481013"/>
                  <a:gd name="connsiteX20" fmla="*/ 309608 w 629564"/>
                  <a:gd name="connsiteY20" fmla="*/ 411956 h 481013"/>
                  <a:gd name="connsiteX21" fmla="*/ 316751 w 629564"/>
                  <a:gd name="connsiteY21" fmla="*/ 419100 h 481013"/>
                  <a:gd name="connsiteX22" fmla="*/ 331039 w 629564"/>
                  <a:gd name="connsiteY22" fmla="*/ 428625 h 481013"/>
                  <a:gd name="connsiteX23" fmla="*/ 335801 w 629564"/>
                  <a:gd name="connsiteY23" fmla="*/ 435769 h 481013"/>
                  <a:gd name="connsiteX24" fmla="*/ 357233 w 629564"/>
                  <a:gd name="connsiteY24" fmla="*/ 447675 h 481013"/>
                  <a:gd name="connsiteX25" fmla="*/ 371520 w 629564"/>
                  <a:gd name="connsiteY25" fmla="*/ 457200 h 481013"/>
                  <a:gd name="connsiteX26" fmla="*/ 385808 w 629564"/>
                  <a:gd name="connsiteY26" fmla="*/ 461963 h 481013"/>
                  <a:gd name="connsiteX27" fmla="*/ 392951 w 629564"/>
                  <a:gd name="connsiteY27" fmla="*/ 464344 h 481013"/>
                  <a:gd name="connsiteX28" fmla="*/ 400095 w 629564"/>
                  <a:gd name="connsiteY28" fmla="*/ 469106 h 481013"/>
                  <a:gd name="connsiteX29" fmla="*/ 412001 w 629564"/>
                  <a:gd name="connsiteY29" fmla="*/ 471488 h 481013"/>
                  <a:gd name="connsiteX30" fmla="*/ 452483 w 629564"/>
                  <a:gd name="connsiteY30" fmla="*/ 473869 h 481013"/>
                  <a:gd name="connsiteX31" fmla="*/ 459626 w 629564"/>
                  <a:gd name="connsiteY31" fmla="*/ 476250 h 481013"/>
                  <a:gd name="connsiteX32" fmla="*/ 488201 w 629564"/>
                  <a:gd name="connsiteY32" fmla="*/ 481013 h 481013"/>
                  <a:gd name="connsiteX33" fmla="*/ 507251 w 629564"/>
                  <a:gd name="connsiteY33" fmla="*/ 478631 h 481013"/>
                  <a:gd name="connsiteX34" fmla="*/ 521539 w 629564"/>
                  <a:gd name="connsiteY34" fmla="*/ 473869 h 481013"/>
                  <a:gd name="connsiteX35" fmla="*/ 528683 w 629564"/>
                  <a:gd name="connsiteY35" fmla="*/ 471488 h 481013"/>
                  <a:gd name="connsiteX36" fmla="*/ 540589 w 629564"/>
                  <a:gd name="connsiteY36" fmla="*/ 469106 h 481013"/>
                  <a:gd name="connsiteX37" fmla="*/ 554876 w 629564"/>
                  <a:gd name="connsiteY37" fmla="*/ 464344 h 481013"/>
                  <a:gd name="connsiteX38" fmla="*/ 562020 w 629564"/>
                  <a:gd name="connsiteY38" fmla="*/ 461963 h 481013"/>
                  <a:gd name="connsiteX39" fmla="*/ 576308 w 629564"/>
                  <a:gd name="connsiteY39" fmla="*/ 454819 h 481013"/>
                  <a:gd name="connsiteX40" fmla="*/ 583451 w 629564"/>
                  <a:gd name="connsiteY40" fmla="*/ 450056 h 481013"/>
                  <a:gd name="connsiteX41" fmla="*/ 597739 w 629564"/>
                  <a:gd name="connsiteY41" fmla="*/ 445294 h 481013"/>
                  <a:gd name="connsiteX42" fmla="*/ 604883 w 629564"/>
                  <a:gd name="connsiteY42" fmla="*/ 442913 h 481013"/>
                  <a:gd name="connsiteX43" fmla="*/ 612026 w 629564"/>
                  <a:gd name="connsiteY43" fmla="*/ 440531 h 481013"/>
                  <a:gd name="connsiteX44" fmla="*/ 609645 w 629564"/>
                  <a:gd name="connsiteY44" fmla="*/ 419100 h 481013"/>
                  <a:gd name="connsiteX45" fmla="*/ 604883 w 629564"/>
                  <a:gd name="connsiteY45" fmla="*/ 411956 h 481013"/>
                  <a:gd name="connsiteX46" fmla="*/ 597739 w 629564"/>
                  <a:gd name="connsiteY46" fmla="*/ 390525 h 481013"/>
                  <a:gd name="connsiteX47" fmla="*/ 592976 w 629564"/>
                  <a:gd name="connsiteY47" fmla="*/ 376238 h 481013"/>
                  <a:gd name="connsiteX48" fmla="*/ 590595 w 629564"/>
                  <a:gd name="connsiteY48" fmla="*/ 369094 h 481013"/>
                  <a:gd name="connsiteX49" fmla="*/ 583451 w 629564"/>
                  <a:gd name="connsiteY49" fmla="*/ 364331 h 481013"/>
                  <a:gd name="connsiteX50" fmla="*/ 578689 w 629564"/>
                  <a:gd name="connsiteY50" fmla="*/ 357188 h 481013"/>
                  <a:gd name="connsiteX51" fmla="*/ 566783 w 629564"/>
                  <a:gd name="connsiteY51" fmla="*/ 354806 h 481013"/>
                  <a:gd name="connsiteX52" fmla="*/ 557258 w 629564"/>
                  <a:gd name="connsiteY52" fmla="*/ 352425 h 481013"/>
                  <a:gd name="connsiteX53" fmla="*/ 552495 w 629564"/>
                  <a:gd name="connsiteY53" fmla="*/ 345281 h 481013"/>
                  <a:gd name="connsiteX54" fmla="*/ 552495 w 629564"/>
                  <a:gd name="connsiteY54" fmla="*/ 316706 h 481013"/>
                  <a:gd name="connsiteX55" fmla="*/ 562020 w 629564"/>
                  <a:gd name="connsiteY55" fmla="*/ 314325 h 481013"/>
                  <a:gd name="connsiteX56" fmla="*/ 581070 w 629564"/>
                  <a:gd name="connsiteY56" fmla="*/ 309563 h 481013"/>
                  <a:gd name="connsiteX57" fmla="*/ 588214 w 629564"/>
                  <a:gd name="connsiteY57" fmla="*/ 304800 h 481013"/>
                  <a:gd name="connsiteX58" fmla="*/ 602501 w 629564"/>
                  <a:gd name="connsiteY58" fmla="*/ 292894 h 481013"/>
                  <a:gd name="connsiteX59" fmla="*/ 619170 w 629564"/>
                  <a:gd name="connsiteY59" fmla="*/ 288131 h 481013"/>
                  <a:gd name="connsiteX60" fmla="*/ 623933 w 629564"/>
                  <a:gd name="connsiteY60" fmla="*/ 235744 h 481013"/>
                  <a:gd name="connsiteX61" fmla="*/ 621551 w 629564"/>
                  <a:gd name="connsiteY61" fmla="*/ 216694 h 481013"/>
                  <a:gd name="connsiteX62" fmla="*/ 614408 w 629564"/>
                  <a:gd name="connsiteY62" fmla="*/ 211931 h 481013"/>
                  <a:gd name="connsiteX63" fmla="*/ 573926 w 629564"/>
                  <a:gd name="connsiteY63" fmla="*/ 204788 h 481013"/>
                  <a:gd name="connsiteX64" fmla="*/ 566783 w 629564"/>
                  <a:gd name="connsiteY64" fmla="*/ 200025 h 481013"/>
                  <a:gd name="connsiteX65" fmla="*/ 562020 w 629564"/>
                  <a:gd name="connsiteY65" fmla="*/ 183356 h 481013"/>
                  <a:gd name="connsiteX66" fmla="*/ 554876 w 629564"/>
                  <a:gd name="connsiteY66" fmla="*/ 145256 h 481013"/>
                  <a:gd name="connsiteX67" fmla="*/ 545351 w 629564"/>
                  <a:gd name="connsiteY67" fmla="*/ 130969 h 481013"/>
                  <a:gd name="connsiteX68" fmla="*/ 540589 w 629564"/>
                  <a:gd name="connsiteY68" fmla="*/ 123825 h 481013"/>
                  <a:gd name="connsiteX69" fmla="*/ 531064 w 629564"/>
                  <a:gd name="connsiteY69" fmla="*/ 109538 h 481013"/>
                  <a:gd name="connsiteX70" fmla="*/ 519158 w 629564"/>
                  <a:gd name="connsiteY70" fmla="*/ 90488 h 481013"/>
                  <a:gd name="connsiteX71" fmla="*/ 497726 w 629564"/>
                  <a:gd name="connsiteY71" fmla="*/ 73819 h 481013"/>
                  <a:gd name="connsiteX72" fmla="*/ 476295 w 629564"/>
                  <a:gd name="connsiteY72" fmla="*/ 76200 h 481013"/>
                  <a:gd name="connsiteX73" fmla="*/ 469151 w 629564"/>
                  <a:gd name="connsiteY73" fmla="*/ 78581 h 481013"/>
                  <a:gd name="connsiteX74" fmla="*/ 462008 w 629564"/>
                  <a:gd name="connsiteY74" fmla="*/ 85725 h 481013"/>
                  <a:gd name="connsiteX75" fmla="*/ 459626 w 629564"/>
                  <a:gd name="connsiteY75" fmla="*/ 92869 h 481013"/>
                  <a:gd name="connsiteX76" fmla="*/ 419145 w 629564"/>
                  <a:gd name="connsiteY76" fmla="*/ 85725 h 481013"/>
                  <a:gd name="connsiteX77" fmla="*/ 414383 w 629564"/>
                  <a:gd name="connsiteY77" fmla="*/ 78581 h 481013"/>
                  <a:gd name="connsiteX78" fmla="*/ 407239 w 629564"/>
                  <a:gd name="connsiteY78" fmla="*/ 71438 h 481013"/>
                  <a:gd name="connsiteX79" fmla="*/ 404858 w 629564"/>
                  <a:gd name="connsiteY79" fmla="*/ 64294 h 481013"/>
                  <a:gd name="connsiteX80" fmla="*/ 390570 w 629564"/>
                  <a:gd name="connsiteY80" fmla="*/ 59531 h 481013"/>
                  <a:gd name="connsiteX81" fmla="*/ 364376 w 629564"/>
                  <a:gd name="connsiteY81" fmla="*/ 64294 h 481013"/>
                  <a:gd name="connsiteX82" fmla="*/ 357233 w 629564"/>
                  <a:gd name="connsiteY82" fmla="*/ 71438 h 481013"/>
                  <a:gd name="connsiteX83" fmla="*/ 342945 w 629564"/>
                  <a:gd name="connsiteY83" fmla="*/ 78581 h 481013"/>
                  <a:gd name="connsiteX84" fmla="*/ 331039 w 629564"/>
                  <a:gd name="connsiteY84" fmla="*/ 76200 h 481013"/>
                  <a:gd name="connsiteX85" fmla="*/ 316751 w 629564"/>
                  <a:gd name="connsiteY85" fmla="*/ 64294 h 481013"/>
                  <a:gd name="connsiteX86" fmla="*/ 309608 w 629564"/>
                  <a:gd name="connsiteY86" fmla="*/ 61913 h 481013"/>
                  <a:gd name="connsiteX87" fmla="*/ 290558 w 629564"/>
                  <a:gd name="connsiteY87" fmla="*/ 40481 h 481013"/>
                  <a:gd name="connsiteX88" fmla="*/ 281033 w 629564"/>
                  <a:gd name="connsiteY88" fmla="*/ 26194 h 481013"/>
                  <a:gd name="connsiteX89" fmla="*/ 276270 w 629564"/>
                  <a:gd name="connsiteY89" fmla="*/ 19050 h 481013"/>
                  <a:gd name="connsiteX90" fmla="*/ 254839 w 629564"/>
                  <a:gd name="connsiteY90" fmla="*/ 4763 h 481013"/>
                  <a:gd name="connsiteX91" fmla="*/ 247695 w 629564"/>
                  <a:gd name="connsiteY91" fmla="*/ 0 h 481013"/>
                  <a:gd name="connsiteX92" fmla="*/ 157208 w 629564"/>
                  <a:gd name="connsiteY92" fmla="*/ 2381 h 481013"/>
                  <a:gd name="connsiteX93" fmla="*/ 154826 w 629564"/>
                  <a:gd name="connsiteY93" fmla="*/ 9525 h 481013"/>
                  <a:gd name="connsiteX94" fmla="*/ 157208 w 629564"/>
                  <a:gd name="connsiteY94" fmla="*/ 19050 h 481013"/>
                  <a:gd name="connsiteX95" fmla="*/ 173876 w 629564"/>
                  <a:gd name="connsiteY95" fmla="*/ 28575 h 481013"/>
                  <a:gd name="connsiteX96" fmla="*/ 176258 w 629564"/>
                  <a:gd name="connsiteY96" fmla="*/ 57150 h 481013"/>
                  <a:gd name="connsiteX97" fmla="*/ 169114 w 629564"/>
                  <a:gd name="connsiteY97" fmla="*/ 61913 h 481013"/>
                  <a:gd name="connsiteX98" fmla="*/ 161970 w 629564"/>
                  <a:gd name="connsiteY98" fmla="*/ 76200 h 481013"/>
                  <a:gd name="connsiteX99" fmla="*/ 150064 w 629564"/>
                  <a:gd name="connsiteY99" fmla="*/ 97631 h 481013"/>
                  <a:gd name="connsiteX100" fmla="*/ 138158 w 629564"/>
                  <a:gd name="connsiteY100" fmla="*/ 109538 h 481013"/>
                  <a:gd name="connsiteX101" fmla="*/ 73864 w 629564"/>
                  <a:gd name="connsiteY101" fmla="*/ 111919 h 481013"/>
                  <a:gd name="connsiteX102" fmla="*/ 66720 w 629564"/>
                  <a:gd name="connsiteY102" fmla="*/ 114300 h 481013"/>
                  <a:gd name="connsiteX103" fmla="*/ 23858 w 629564"/>
                  <a:gd name="connsiteY103" fmla="*/ 119063 h 481013"/>
                  <a:gd name="connsiteX104" fmla="*/ 9570 w 629564"/>
                  <a:gd name="connsiteY104" fmla="*/ 128588 h 481013"/>
                  <a:gd name="connsiteX105" fmla="*/ 4808 w 629564"/>
                  <a:gd name="connsiteY105" fmla="*/ 147638 h 481013"/>
                  <a:gd name="connsiteX106" fmla="*/ 2426 w 629564"/>
                  <a:gd name="connsiteY106" fmla="*/ 157163 h 481013"/>
                  <a:gd name="connsiteX107" fmla="*/ 4808 w 629564"/>
                  <a:gd name="connsiteY107" fmla="*/ 171450 h 481013"/>
                  <a:gd name="connsiteX108" fmla="*/ 19095 w 629564"/>
                  <a:gd name="connsiteY108" fmla="*/ 185738 h 481013"/>
                  <a:gd name="connsiteX109" fmla="*/ 23858 w 629564"/>
                  <a:gd name="connsiteY109" fmla="*/ 192881 h 481013"/>
                  <a:gd name="connsiteX110" fmla="*/ 28620 w 629564"/>
                  <a:gd name="connsiteY110" fmla="*/ 216694 h 481013"/>
                  <a:gd name="connsiteX111" fmla="*/ 33383 w 629564"/>
                  <a:gd name="connsiteY111" fmla="*/ 238125 h 481013"/>
                  <a:gd name="connsiteX112" fmla="*/ 35764 w 629564"/>
                  <a:gd name="connsiteY112" fmla="*/ 245269 h 481013"/>
                  <a:gd name="connsiteX113" fmla="*/ 31001 w 629564"/>
                  <a:gd name="connsiteY113" fmla="*/ 276225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29564" h="481013">
                    <a:moveTo>
                      <a:pt x="31001" y="276225"/>
                    </a:moveTo>
                    <a:cubicBezTo>
                      <a:pt x="28620" y="283369"/>
                      <a:pt x="23910" y="283669"/>
                      <a:pt x="21476" y="288131"/>
                    </a:cubicBezTo>
                    <a:cubicBezTo>
                      <a:pt x="19072" y="292538"/>
                      <a:pt x="18301" y="297656"/>
                      <a:pt x="16714" y="302419"/>
                    </a:cubicBezTo>
                    <a:cubicBezTo>
                      <a:pt x="15920" y="304800"/>
                      <a:pt x="16108" y="307788"/>
                      <a:pt x="14333" y="309563"/>
                    </a:cubicBezTo>
                    <a:cubicBezTo>
                      <a:pt x="5165" y="318730"/>
                      <a:pt x="9057" y="313904"/>
                      <a:pt x="2426" y="323850"/>
                    </a:cubicBezTo>
                    <a:cubicBezTo>
                      <a:pt x="1632" y="327819"/>
                      <a:pt x="-322" y="331725"/>
                      <a:pt x="45" y="335756"/>
                    </a:cubicBezTo>
                    <a:cubicBezTo>
                      <a:pt x="1579" y="352624"/>
                      <a:pt x="2987" y="347336"/>
                      <a:pt x="11951" y="354806"/>
                    </a:cubicBezTo>
                    <a:cubicBezTo>
                      <a:pt x="14538" y="356962"/>
                      <a:pt x="16508" y="359794"/>
                      <a:pt x="19095" y="361950"/>
                    </a:cubicBezTo>
                    <a:cubicBezTo>
                      <a:pt x="21294" y="363782"/>
                      <a:pt x="24040" y="364881"/>
                      <a:pt x="26239" y="366713"/>
                    </a:cubicBezTo>
                    <a:cubicBezTo>
                      <a:pt x="38130" y="376622"/>
                      <a:pt x="27973" y="372052"/>
                      <a:pt x="40526" y="376238"/>
                    </a:cubicBezTo>
                    <a:cubicBezTo>
                      <a:pt x="67018" y="373829"/>
                      <a:pt x="71695" y="371983"/>
                      <a:pt x="100058" y="376238"/>
                    </a:cubicBezTo>
                    <a:cubicBezTo>
                      <a:pt x="105022" y="376983"/>
                      <a:pt x="109583" y="379413"/>
                      <a:pt x="114345" y="381000"/>
                    </a:cubicBezTo>
                    <a:lnTo>
                      <a:pt x="121489" y="383381"/>
                    </a:lnTo>
                    <a:lnTo>
                      <a:pt x="128633" y="385763"/>
                    </a:lnTo>
                    <a:cubicBezTo>
                      <a:pt x="182463" y="382398"/>
                      <a:pt x="173251" y="381781"/>
                      <a:pt x="242933" y="385763"/>
                    </a:cubicBezTo>
                    <a:cubicBezTo>
                      <a:pt x="247403" y="386018"/>
                      <a:pt x="256375" y="391616"/>
                      <a:pt x="259601" y="392906"/>
                    </a:cubicBezTo>
                    <a:cubicBezTo>
                      <a:pt x="264262" y="394770"/>
                      <a:pt x="269126" y="396081"/>
                      <a:pt x="273889" y="397669"/>
                    </a:cubicBezTo>
                    <a:lnTo>
                      <a:pt x="288176" y="402431"/>
                    </a:lnTo>
                    <a:lnTo>
                      <a:pt x="295320" y="404813"/>
                    </a:lnTo>
                    <a:cubicBezTo>
                      <a:pt x="297701" y="405607"/>
                      <a:pt x="300375" y="405802"/>
                      <a:pt x="302464" y="407194"/>
                    </a:cubicBezTo>
                    <a:cubicBezTo>
                      <a:pt x="304845" y="408781"/>
                      <a:pt x="307409" y="410124"/>
                      <a:pt x="309608" y="411956"/>
                    </a:cubicBezTo>
                    <a:cubicBezTo>
                      <a:pt x="312195" y="414112"/>
                      <a:pt x="314093" y="417033"/>
                      <a:pt x="316751" y="419100"/>
                    </a:cubicBezTo>
                    <a:cubicBezTo>
                      <a:pt x="321269" y="422614"/>
                      <a:pt x="331039" y="428625"/>
                      <a:pt x="331039" y="428625"/>
                    </a:cubicBezTo>
                    <a:cubicBezTo>
                      <a:pt x="332626" y="431006"/>
                      <a:pt x="333647" y="433884"/>
                      <a:pt x="335801" y="435769"/>
                    </a:cubicBezTo>
                    <a:cubicBezTo>
                      <a:pt x="345878" y="444587"/>
                      <a:pt x="347421" y="444405"/>
                      <a:pt x="357233" y="447675"/>
                    </a:cubicBezTo>
                    <a:cubicBezTo>
                      <a:pt x="361995" y="450850"/>
                      <a:pt x="366090" y="455390"/>
                      <a:pt x="371520" y="457200"/>
                    </a:cubicBezTo>
                    <a:lnTo>
                      <a:pt x="385808" y="461963"/>
                    </a:lnTo>
                    <a:cubicBezTo>
                      <a:pt x="388189" y="462757"/>
                      <a:pt x="390863" y="462952"/>
                      <a:pt x="392951" y="464344"/>
                    </a:cubicBezTo>
                    <a:cubicBezTo>
                      <a:pt x="395332" y="465931"/>
                      <a:pt x="397415" y="468101"/>
                      <a:pt x="400095" y="469106"/>
                    </a:cubicBezTo>
                    <a:cubicBezTo>
                      <a:pt x="403885" y="470527"/>
                      <a:pt x="407970" y="471122"/>
                      <a:pt x="412001" y="471488"/>
                    </a:cubicBezTo>
                    <a:cubicBezTo>
                      <a:pt x="425463" y="472712"/>
                      <a:pt x="438989" y="473075"/>
                      <a:pt x="452483" y="473869"/>
                    </a:cubicBezTo>
                    <a:cubicBezTo>
                      <a:pt x="454864" y="474663"/>
                      <a:pt x="457165" y="475758"/>
                      <a:pt x="459626" y="476250"/>
                    </a:cubicBezTo>
                    <a:cubicBezTo>
                      <a:pt x="469095" y="478144"/>
                      <a:pt x="488201" y="481013"/>
                      <a:pt x="488201" y="481013"/>
                    </a:cubicBezTo>
                    <a:cubicBezTo>
                      <a:pt x="494551" y="480219"/>
                      <a:pt x="500994" y="479972"/>
                      <a:pt x="507251" y="478631"/>
                    </a:cubicBezTo>
                    <a:cubicBezTo>
                      <a:pt x="512160" y="477579"/>
                      <a:pt x="516776" y="475456"/>
                      <a:pt x="521539" y="473869"/>
                    </a:cubicBezTo>
                    <a:cubicBezTo>
                      <a:pt x="523920" y="473075"/>
                      <a:pt x="526222" y="471980"/>
                      <a:pt x="528683" y="471488"/>
                    </a:cubicBezTo>
                    <a:cubicBezTo>
                      <a:pt x="532652" y="470694"/>
                      <a:pt x="536684" y="470171"/>
                      <a:pt x="540589" y="469106"/>
                    </a:cubicBezTo>
                    <a:cubicBezTo>
                      <a:pt x="545432" y="467785"/>
                      <a:pt x="550114" y="465931"/>
                      <a:pt x="554876" y="464344"/>
                    </a:cubicBezTo>
                    <a:lnTo>
                      <a:pt x="562020" y="461963"/>
                    </a:lnTo>
                    <a:cubicBezTo>
                      <a:pt x="582499" y="448309"/>
                      <a:pt x="556585" y="464681"/>
                      <a:pt x="576308" y="454819"/>
                    </a:cubicBezTo>
                    <a:cubicBezTo>
                      <a:pt x="578868" y="453539"/>
                      <a:pt x="580836" y="451218"/>
                      <a:pt x="583451" y="450056"/>
                    </a:cubicBezTo>
                    <a:cubicBezTo>
                      <a:pt x="588039" y="448017"/>
                      <a:pt x="592976" y="446881"/>
                      <a:pt x="597739" y="445294"/>
                    </a:cubicBezTo>
                    <a:lnTo>
                      <a:pt x="604883" y="442913"/>
                    </a:lnTo>
                    <a:lnTo>
                      <a:pt x="612026" y="440531"/>
                    </a:lnTo>
                    <a:cubicBezTo>
                      <a:pt x="611232" y="433387"/>
                      <a:pt x="611388" y="426073"/>
                      <a:pt x="609645" y="419100"/>
                    </a:cubicBezTo>
                    <a:cubicBezTo>
                      <a:pt x="608951" y="416324"/>
                      <a:pt x="606045" y="414571"/>
                      <a:pt x="604883" y="411956"/>
                    </a:cubicBezTo>
                    <a:cubicBezTo>
                      <a:pt x="604877" y="411942"/>
                      <a:pt x="598932" y="394104"/>
                      <a:pt x="597739" y="390525"/>
                    </a:cubicBezTo>
                    <a:lnTo>
                      <a:pt x="592976" y="376238"/>
                    </a:lnTo>
                    <a:cubicBezTo>
                      <a:pt x="592182" y="373857"/>
                      <a:pt x="592683" y="370486"/>
                      <a:pt x="590595" y="369094"/>
                    </a:cubicBezTo>
                    <a:lnTo>
                      <a:pt x="583451" y="364331"/>
                    </a:lnTo>
                    <a:cubicBezTo>
                      <a:pt x="581864" y="361950"/>
                      <a:pt x="581174" y="358608"/>
                      <a:pt x="578689" y="357188"/>
                    </a:cubicBezTo>
                    <a:cubicBezTo>
                      <a:pt x="575175" y="355180"/>
                      <a:pt x="570734" y="355684"/>
                      <a:pt x="566783" y="354806"/>
                    </a:cubicBezTo>
                    <a:cubicBezTo>
                      <a:pt x="563588" y="354096"/>
                      <a:pt x="560433" y="353219"/>
                      <a:pt x="557258" y="352425"/>
                    </a:cubicBezTo>
                    <a:cubicBezTo>
                      <a:pt x="555670" y="350044"/>
                      <a:pt x="553622" y="347912"/>
                      <a:pt x="552495" y="345281"/>
                    </a:cubicBezTo>
                    <a:cubicBezTo>
                      <a:pt x="549114" y="337392"/>
                      <a:pt x="548629" y="323665"/>
                      <a:pt x="552495" y="316706"/>
                    </a:cubicBezTo>
                    <a:cubicBezTo>
                      <a:pt x="554084" y="313845"/>
                      <a:pt x="558825" y="315035"/>
                      <a:pt x="562020" y="314325"/>
                    </a:cubicBezTo>
                    <a:cubicBezTo>
                      <a:pt x="579261" y="310494"/>
                      <a:pt x="568304" y="313818"/>
                      <a:pt x="581070" y="309563"/>
                    </a:cubicBezTo>
                    <a:cubicBezTo>
                      <a:pt x="583451" y="307975"/>
                      <a:pt x="586015" y="306632"/>
                      <a:pt x="588214" y="304800"/>
                    </a:cubicBezTo>
                    <a:cubicBezTo>
                      <a:pt x="596112" y="298219"/>
                      <a:pt x="593635" y="297327"/>
                      <a:pt x="602501" y="292894"/>
                    </a:cubicBezTo>
                    <a:cubicBezTo>
                      <a:pt x="605914" y="291188"/>
                      <a:pt x="616123" y="288893"/>
                      <a:pt x="619170" y="288131"/>
                    </a:cubicBezTo>
                    <a:cubicBezTo>
                      <a:pt x="636777" y="270526"/>
                      <a:pt x="627462" y="283380"/>
                      <a:pt x="623933" y="235744"/>
                    </a:cubicBezTo>
                    <a:cubicBezTo>
                      <a:pt x="623460" y="229362"/>
                      <a:pt x="623928" y="222636"/>
                      <a:pt x="621551" y="216694"/>
                    </a:cubicBezTo>
                    <a:cubicBezTo>
                      <a:pt x="620488" y="214037"/>
                      <a:pt x="617023" y="213093"/>
                      <a:pt x="614408" y="211931"/>
                    </a:cubicBezTo>
                    <a:cubicBezTo>
                      <a:pt x="598910" y="205043"/>
                      <a:pt x="592707" y="206495"/>
                      <a:pt x="573926" y="204788"/>
                    </a:cubicBezTo>
                    <a:cubicBezTo>
                      <a:pt x="571545" y="203200"/>
                      <a:pt x="568571" y="202260"/>
                      <a:pt x="566783" y="200025"/>
                    </a:cubicBezTo>
                    <a:cubicBezTo>
                      <a:pt x="565539" y="198470"/>
                      <a:pt x="562177" y="183982"/>
                      <a:pt x="562020" y="183356"/>
                    </a:cubicBezTo>
                    <a:cubicBezTo>
                      <a:pt x="561182" y="174975"/>
                      <a:pt x="560876" y="154256"/>
                      <a:pt x="554876" y="145256"/>
                    </a:cubicBezTo>
                    <a:lnTo>
                      <a:pt x="545351" y="130969"/>
                    </a:lnTo>
                    <a:cubicBezTo>
                      <a:pt x="543764" y="128588"/>
                      <a:pt x="541494" y="126540"/>
                      <a:pt x="540589" y="123825"/>
                    </a:cubicBezTo>
                    <a:cubicBezTo>
                      <a:pt x="537143" y="113486"/>
                      <a:pt x="539983" y="118456"/>
                      <a:pt x="531064" y="109538"/>
                    </a:cubicBezTo>
                    <a:cubicBezTo>
                      <a:pt x="523305" y="86263"/>
                      <a:pt x="531670" y="101610"/>
                      <a:pt x="519158" y="90488"/>
                    </a:cubicBezTo>
                    <a:cubicBezTo>
                      <a:pt x="499883" y="73355"/>
                      <a:pt x="512457" y="78729"/>
                      <a:pt x="497726" y="73819"/>
                    </a:cubicBezTo>
                    <a:cubicBezTo>
                      <a:pt x="490582" y="74613"/>
                      <a:pt x="483385" y="75018"/>
                      <a:pt x="476295" y="76200"/>
                    </a:cubicBezTo>
                    <a:cubicBezTo>
                      <a:pt x="473819" y="76613"/>
                      <a:pt x="471240" y="77189"/>
                      <a:pt x="469151" y="78581"/>
                    </a:cubicBezTo>
                    <a:cubicBezTo>
                      <a:pt x="466349" y="80449"/>
                      <a:pt x="464389" y="83344"/>
                      <a:pt x="462008" y="85725"/>
                    </a:cubicBezTo>
                    <a:cubicBezTo>
                      <a:pt x="461214" y="88106"/>
                      <a:pt x="462114" y="92537"/>
                      <a:pt x="459626" y="92869"/>
                    </a:cubicBezTo>
                    <a:cubicBezTo>
                      <a:pt x="432697" y="96460"/>
                      <a:pt x="433179" y="95081"/>
                      <a:pt x="419145" y="85725"/>
                    </a:cubicBezTo>
                    <a:cubicBezTo>
                      <a:pt x="417558" y="83344"/>
                      <a:pt x="416215" y="80780"/>
                      <a:pt x="414383" y="78581"/>
                    </a:cubicBezTo>
                    <a:cubicBezTo>
                      <a:pt x="412227" y="75994"/>
                      <a:pt x="409107" y="74240"/>
                      <a:pt x="407239" y="71438"/>
                    </a:cubicBezTo>
                    <a:cubicBezTo>
                      <a:pt x="405847" y="69349"/>
                      <a:pt x="406901" y="65753"/>
                      <a:pt x="404858" y="64294"/>
                    </a:cubicBezTo>
                    <a:cubicBezTo>
                      <a:pt x="400773" y="61376"/>
                      <a:pt x="390570" y="59531"/>
                      <a:pt x="390570" y="59531"/>
                    </a:cubicBezTo>
                    <a:cubicBezTo>
                      <a:pt x="389768" y="59631"/>
                      <a:pt x="369457" y="60907"/>
                      <a:pt x="364376" y="64294"/>
                    </a:cubicBezTo>
                    <a:cubicBezTo>
                      <a:pt x="361574" y="66162"/>
                      <a:pt x="359820" y="69282"/>
                      <a:pt x="357233" y="71438"/>
                    </a:cubicBezTo>
                    <a:cubicBezTo>
                      <a:pt x="351079" y="76566"/>
                      <a:pt x="350103" y="76195"/>
                      <a:pt x="342945" y="78581"/>
                    </a:cubicBezTo>
                    <a:cubicBezTo>
                      <a:pt x="338976" y="77787"/>
                      <a:pt x="334829" y="77621"/>
                      <a:pt x="331039" y="76200"/>
                    </a:cubicBezTo>
                    <a:cubicBezTo>
                      <a:pt x="322134" y="72861"/>
                      <a:pt x="324693" y="69589"/>
                      <a:pt x="316751" y="64294"/>
                    </a:cubicBezTo>
                    <a:cubicBezTo>
                      <a:pt x="314663" y="62902"/>
                      <a:pt x="311989" y="62707"/>
                      <a:pt x="309608" y="61913"/>
                    </a:cubicBezTo>
                    <a:cubicBezTo>
                      <a:pt x="303290" y="55595"/>
                      <a:pt x="294809" y="48983"/>
                      <a:pt x="290558" y="40481"/>
                    </a:cubicBezTo>
                    <a:cubicBezTo>
                      <a:pt x="281144" y="21654"/>
                      <a:pt x="297956" y="46503"/>
                      <a:pt x="281033" y="26194"/>
                    </a:cubicBezTo>
                    <a:cubicBezTo>
                      <a:pt x="279201" y="23995"/>
                      <a:pt x="278424" y="20935"/>
                      <a:pt x="276270" y="19050"/>
                    </a:cubicBezTo>
                    <a:cubicBezTo>
                      <a:pt x="276258" y="19040"/>
                      <a:pt x="258417" y="7148"/>
                      <a:pt x="254839" y="4763"/>
                    </a:cubicBezTo>
                    <a:lnTo>
                      <a:pt x="247695" y="0"/>
                    </a:lnTo>
                    <a:cubicBezTo>
                      <a:pt x="217533" y="794"/>
                      <a:pt x="187223" y="-697"/>
                      <a:pt x="157208" y="2381"/>
                    </a:cubicBezTo>
                    <a:cubicBezTo>
                      <a:pt x="154711" y="2637"/>
                      <a:pt x="154826" y="7015"/>
                      <a:pt x="154826" y="9525"/>
                    </a:cubicBezTo>
                    <a:cubicBezTo>
                      <a:pt x="154826" y="12798"/>
                      <a:pt x="155919" y="16042"/>
                      <a:pt x="157208" y="19050"/>
                    </a:cubicBezTo>
                    <a:cubicBezTo>
                      <a:pt x="161479" y="29014"/>
                      <a:pt x="163033" y="26407"/>
                      <a:pt x="173876" y="28575"/>
                    </a:cubicBezTo>
                    <a:cubicBezTo>
                      <a:pt x="181047" y="39330"/>
                      <a:pt x="182922" y="38824"/>
                      <a:pt x="176258" y="57150"/>
                    </a:cubicBezTo>
                    <a:cubicBezTo>
                      <a:pt x="175280" y="59840"/>
                      <a:pt x="171495" y="60325"/>
                      <a:pt x="169114" y="61913"/>
                    </a:cubicBezTo>
                    <a:cubicBezTo>
                      <a:pt x="163129" y="79869"/>
                      <a:pt x="171204" y="57733"/>
                      <a:pt x="161970" y="76200"/>
                    </a:cubicBezTo>
                    <a:cubicBezTo>
                      <a:pt x="149396" y="101349"/>
                      <a:pt x="180098" y="52582"/>
                      <a:pt x="150064" y="97631"/>
                    </a:cubicBezTo>
                    <a:cubicBezTo>
                      <a:pt x="147570" y="101372"/>
                      <a:pt x="143826" y="108971"/>
                      <a:pt x="138158" y="109538"/>
                    </a:cubicBezTo>
                    <a:cubicBezTo>
                      <a:pt x="116818" y="111672"/>
                      <a:pt x="95295" y="111125"/>
                      <a:pt x="73864" y="111919"/>
                    </a:cubicBezTo>
                    <a:cubicBezTo>
                      <a:pt x="71483" y="112713"/>
                      <a:pt x="69205" y="113945"/>
                      <a:pt x="66720" y="114300"/>
                    </a:cubicBezTo>
                    <a:cubicBezTo>
                      <a:pt x="52489" y="116333"/>
                      <a:pt x="23858" y="119063"/>
                      <a:pt x="23858" y="119063"/>
                    </a:cubicBezTo>
                    <a:cubicBezTo>
                      <a:pt x="19095" y="122238"/>
                      <a:pt x="10958" y="123035"/>
                      <a:pt x="9570" y="128588"/>
                    </a:cubicBezTo>
                    <a:lnTo>
                      <a:pt x="4808" y="147638"/>
                    </a:lnTo>
                    <a:lnTo>
                      <a:pt x="2426" y="157163"/>
                    </a:lnTo>
                    <a:cubicBezTo>
                      <a:pt x="3220" y="161925"/>
                      <a:pt x="2375" y="167280"/>
                      <a:pt x="4808" y="171450"/>
                    </a:cubicBezTo>
                    <a:cubicBezTo>
                      <a:pt x="8202" y="177268"/>
                      <a:pt x="15358" y="180134"/>
                      <a:pt x="19095" y="185738"/>
                    </a:cubicBezTo>
                    <a:lnTo>
                      <a:pt x="23858" y="192881"/>
                    </a:lnTo>
                    <a:cubicBezTo>
                      <a:pt x="28422" y="206574"/>
                      <a:pt x="24972" y="194803"/>
                      <a:pt x="28620" y="216694"/>
                    </a:cubicBezTo>
                    <a:cubicBezTo>
                      <a:pt x="29604" y="222597"/>
                      <a:pt x="31668" y="232123"/>
                      <a:pt x="33383" y="238125"/>
                    </a:cubicBezTo>
                    <a:cubicBezTo>
                      <a:pt x="34073" y="240539"/>
                      <a:pt x="34970" y="242888"/>
                      <a:pt x="35764" y="245269"/>
                    </a:cubicBezTo>
                    <a:cubicBezTo>
                      <a:pt x="33311" y="272253"/>
                      <a:pt x="33382" y="269081"/>
                      <a:pt x="31001" y="2762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0" name="Freeform 259"/>
              <p:cNvSpPr/>
              <p:nvPr/>
            </p:nvSpPr>
            <p:spPr>
              <a:xfrm>
                <a:off x="3674475" y="4742470"/>
                <a:ext cx="790769" cy="452438"/>
              </a:xfrm>
              <a:custGeom>
                <a:avLst/>
                <a:gdLst>
                  <a:gd name="connsiteX0" fmla="*/ 74013 w 790769"/>
                  <a:gd name="connsiteY0" fmla="*/ 95250 h 452438"/>
                  <a:gd name="connsiteX1" fmla="*/ 85919 w 790769"/>
                  <a:gd name="connsiteY1" fmla="*/ 97632 h 452438"/>
                  <a:gd name="connsiteX2" fmla="*/ 93063 w 790769"/>
                  <a:gd name="connsiteY2" fmla="*/ 100013 h 452438"/>
                  <a:gd name="connsiteX3" fmla="*/ 121638 w 790769"/>
                  <a:gd name="connsiteY3" fmla="*/ 104775 h 452438"/>
                  <a:gd name="connsiteX4" fmla="*/ 140688 w 790769"/>
                  <a:gd name="connsiteY4" fmla="*/ 102394 h 452438"/>
                  <a:gd name="connsiteX5" fmla="*/ 212125 w 790769"/>
                  <a:gd name="connsiteY5" fmla="*/ 107157 h 452438"/>
                  <a:gd name="connsiteX6" fmla="*/ 226413 w 790769"/>
                  <a:gd name="connsiteY6" fmla="*/ 109538 h 452438"/>
                  <a:gd name="connsiteX7" fmla="*/ 288325 w 790769"/>
                  <a:gd name="connsiteY7" fmla="*/ 109538 h 452438"/>
                  <a:gd name="connsiteX8" fmla="*/ 438344 w 790769"/>
                  <a:gd name="connsiteY8" fmla="*/ 111919 h 452438"/>
                  <a:gd name="connsiteX9" fmla="*/ 495494 w 790769"/>
                  <a:gd name="connsiteY9" fmla="*/ 111919 h 452438"/>
                  <a:gd name="connsiteX10" fmla="*/ 500256 w 790769"/>
                  <a:gd name="connsiteY10" fmla="*/ 104775 h 452438"/>
                  <a:gd name="connsiteX11" fmla="*/ 507400 w 790769"/>
                  <a:gd name="connsiteY11" fmla="*/ 100013 h 452438"/>
                  <a:gd name="connsiteX12" fmla="*/ 514544 w 790769"/>
                  <a:gd name="connsiteY12" fmla="*/ 92869 h 452438"/>
                  <a:gd name="connsiteX13" fmla="*/ 516925 w 790769"/>
                  <a:gd name="connsiteY13" fmla="*/ 85725 h 452438"/>
                  <a:gd name="connsiteX14" fmla="*/ 526450 w 790769"/>
                  <a:gd name="connsiteY14" fmla="*/ 71438 h 452438"/>
                  <a:gd name="connsiteX15" fmla="*/ 531213 w 790769"/>
                  <a:gd name="connsiteY15" fmla="*/ 64294 h 452438"/>
                  <a:gd name="connsiteX16" fmla="*/ 538356 w 790769"/>
                  <a:gd name="connsiteY16" fmla="*/ 57150 h 452438"/>
                  <a:gd name="connsiteX17" fmla="*/ 543119 w 790769"/>
                  <a:gd name="connsiteY17" fmla="*/ 42863 h 452438"/>
                  <a:gd name="connsiteX18" fmla="*/ 547881 w 790769"/>
                  <a:gd name="connsiteY18" fmla="*/ 35719 h 452438"/>
                  <a:gd name="connsiteX19" fmla="*/ 559788 w 790769"/>
                  <a:gd name="connsiteY19" fmla="*/ 14288 h 452438"/>
                  <a:gd name="connsiteX20" fmla="*/ 566931 w 790769"/>
                  <a:gd name="connsiteY20" fmla="*/ 9525 h 452438"/>
                  <a:gd name="connsiteX21" fmla="*/ 590744 w 790769"/>
                  <a:gd name="connsiteY21" fmla="*/ 2382 h 452438"/>
                  <a:gd name="connsiteX22" fmla="*/ 597888 w 790769"/>
                  <a:gd name="connsiteY22" fmla="*/ 0 h 452438"/>
                  <a:gd name="connsiteX23" fmla="*/ 626463 w 790769"/>
                  <a:gd name="connsiteY23" fmla="*/ 2382 h 452438"/>
                  <a:gd name="connsiteX24" fmla="*/ 643131 w 790769"/>
                  <a:gd name="connsiteY24" fmla="*/ 7144 h 452438"/>
                  <a:gd name="connsiteX25" fmla="*/ 650275 w 790769"/>
                  <a:gd name="connsiteY25" fmla="*/ 11907 h 452438"/>
                  <a:gd name="connsiteX26" fmla="*/ 655038 w 790769"/>
                  <a:gd name="connsiteY26" fmla="*/ 26194 h 452438"/>
                  <a:gd name="connsiteX27" fmla="*/ 659800 w 790769"/>
                  <a:gd name="connsiteY27" fmla="*/ 47625 h 452438"/>
                  <a:gd name="connsiteX28" fmla="*/ 662181 w 790769"/>
                  <a:gd name="connsiteY28" fmla="*/ 54769 h 452438"/>
                  <a:gd name="connsiteX29" fmla="*/ 676469 w 790769"/>
                  <a:gd name="connsiteY29" fmla="*/ 64294 h 452438"/>
                  <a:gd name="connsiteX30" fmla="*/ 695519 w 790769"/>
                  <a:gd name="connsiteY30" fmla="*/ 69057 h 452438"/>
                  <a:gd name="connsiteX31" fmla="*/ 702663 w 790769"/>
                  <a:gd name="connsiteY31" fmla="*/ 73819 h 452438"/>
                  <a:gd name="connsiteX32" fmla="*/ 726475 w 790769"/>
                  <a:gd name="connsiteY32" fmla="*/ 73819 h 452438"/>
                  <a:gd name="connsiteX33" fmla="*/ 728856 w 790769"/>
                  <a:gd name="connsiteY33" fmla="*/ 64294 h 452438"/>
                  <a:gd name="connsiteX34" fmla="*/ 736000 w 790769"/>
                  <a:gd name="connsiteY34" fmla="*/ 61913 h 452438"/>
                  <a:gd name="connsiteX35" fmla="*/ 776481 w 790769"/>
                  <a:gd name="connsiteY35" fmla="*/ 64294 h 452438"/>
                  <a:gd name="connsiteX36" fmla="*/ 788388 w 790769"/>
                  <a:gd name="connsiteY36" fmla="*/ 80963 h 452438"/>
                  <a:gd name="connsiteX37" fmla="*/ 790769 w 790769"/>
                  <a:gd name="connsiteY37" fmla="*/ 88107 h 452438"/>
                  <a:gd name="connsiteX38" fmla="*/ 781244 w 790769"/>
                  <a:gd name="connsiteY38" fmla="*/ 119063 h 452438"/>
                  <a:gd name="connsiteX39" fmla="*/ 774100 w 790769"/>
                  <a:gd name="connsiteY39" fmla="*/ 123825 h 452438"/>
                  <a:gd name="connsiteX40" fmla="*/ 769338 w 790769"/>
                  <a:gd name="connsiteY40" fmla="*/ 147638 h 452438"/>
                  <a:gd name="connsiteX41" fmla="*/ 766956 w 790769"/>
                  <a:gd name="connsiteY41" fmla="*/ 159544 h 452438"/>
                  <a:gd name="connsiteX42" fmla="*/ 762194 w 790769"/>
                  <a:gd name="connsiteY42" fmla="*/ 173832 h 452438"/>
                  <a:gd name="connsiteX43" fmla="*/ 752669 w 790769"/>
                  <a:gd name="connsiteY43" fmla="*/ 200025 h 452438"/>
                  <a:gd name="connsiteX44" fmla="*/ 738381 w 790769"/>
                  <a:gd name="connsiteY44" fmla="*/ 207169 h 452438"/>
                  <a:gd name="connsiteX45" fmla="*/ 731238 w 790769"/>
                  <a:gd name="connsiteY45" fmla="*/ 211932 h 452438"/>
                  <a:gd name="connsiteX46" fmla="*/ 721713 w 790769"/>
                  <a:gd name="connsiteY46" fmla="*/ 214313 h 452438"/>
                  <a:gd name="connsiteX47" fmla="*/ 690756 w 790769"/>
                  <a:gd name="connsiteY47" fmla="*/ 219075 h 452438"/>
                  <a:gd name="connsiteX48" fmla="*/ 683613 w 790769"/>
                  <a:gd name="connsiteY48" fmla="*/ 221457 h 452438"/>
                  <a:gd name="connsiteX49" fmla="*/ 669325 w 790769"/>
                  <a:gd name="connsiteY49" fmla="*/ 223838 h 452438"/>
                  <a:gd name="connsiteX50" fmla="*/ 664563 w 790769"/>
                  <a:gd name="connsiteY50" fmla="*/ 230982 h 452438"/>
                  <a:gd name="connsiteX51" fmla="*/ 662181 w 790769"/>
                  <a:gd name="connsiteY51" fmla="*/ 288132 h 452438"/>
                  <a:gd name="connsiteX52" fmla="*/ 662181 w 790769"/>
                  <a:gd name="connsiteY52" fmla="*/ 323850 h 452438"/>
                  <a:gd name="connsiteX53" fmla="*/ 669325 w 790769"/>
                  <a:gd name="connsiteY53" fmla="*/ 328613 h 452438"/>
                  <a:gd name="connsiteX54" fmla="*/ 681231 w 790769"/>
                  <a:gd name="connsiteY54" fmla="*/ 350044 h 452438"/>
                  <a:gd name="connsiteX55" fmla="*/ 671706 w 790769"/>
                  <a:gd name="connsiteY55" fmla="*/ 385763 h 452438"/>
                  <a:gd name="connsiteX56" fmla="*/ 657419 w 790769"/>
                  <a:gd name="connsiteY56" fmla="*/ 390525 h 452438"/>
                  <a:gd name="connsiteX57" fmla="*/ 650275 w 790769"/>
                  <a:gd name="connsiteY57" fmla="*/ 392907 h 452438"/>
                  <a:gd name="connsiteX58" fmla="*/ 643131 w 790769"/>
                  <a:gd name="connsiteY58" fmla="*/ 400050 h 452438"/>
                  <a:gd name="connsiteX59" fmla="*/ 638369 w 790769"/>
                  <a:gd name="connsiteY59" fmla="*/ 407194 h 452438"/>
                  <a:gd name="connsiteX60" fmla="*/ 624081 w 790769"/>
                  <a:gd name="connsiteY60" fmla="*/ 419100 h 452438"/>
                  <a:gd name="connsiteX61" fmla="*/ 619319 w 790769"/>
                  <a:gd name="connsiteY61" fmla="*/ 426244 h 452438"/>
                  <a:gd name="connsiteX62" fmla="*/ 614556 w 790769"/>
                  <a:gd name="connsiteY62" fmla="*/ 440532 h 452438"/>
                  <a:gd name="connsiteX63" fmla="*/ 607413 w 790769"/>
                  <a:gd name="connsiteY63" fmla="*/ 445294 h 452438"/>
                  <a:gd name="connsiteX64" fmla="*/ 569313 w 790769"/>
                  <a:gd name="connsiteY64" fmla="*/ 450057 h 452438"/>
                  <a:gd name="connsiteX65" fmla="*/ 562169 w 790769"/>
                  <a:gd name="connsiteY65" fmla="*/ 452438 h 452438"/>
                  <a:gd name="connsiteX66" fmla="*/ 531213 w 790769"/>
                  <a:gd name="connsiteY66" fmla="*/ 445294 h 452438"/>
                  <a:gd name="connsiteX67" fmla="*/ 524069 w 790769"/>
                  <a:gd name="connsiteY67" fmla="*/ 442913 h 452438"/>
                  <a:gd name="connsiteX68" fmla="*/ 514544 w 790769"/>
                  <a:gd name="connsiteY68" fmla="*/ 438150 h 452438"/>
                  <a:gd name="connsiteX69" fmla="*/ 497875 w 790769"/>
                  <a:gd name="connsiteY69" fmla="*/ 435769 h 452438"/>
                  <a:gd name="connsiteX70" fmla="*/ 483588 w 790769"/>
                  <a:gd name="connsiteY70" fmla="*/ 431007 h 452438"/>
                  <a:gd name="connsiteX71" fmla="*/ 469300 w 790769"/>
                  <a:gd name="connsiteY71" fmla="*/ 421482 h 452438"/>
                  <a:gd name="connsiteX72" fmla="*/ 462156 w 790769"/>
                  <a:gd name="connsiteY72" fmla="*/ 419100 h 452438"/>
                  <a:gd name="connsiteX73" fmla="*/ 447869 w 790769"/>
                  <a:gd name="connsiteY73" fmla="*/ 409575 h 452438"/>
                  <a:gd name="connsiteX74" fmla="*/ 440725 w 790769"/>
                  <a:gd name="connsiteY74" fmla="*/ 404813 h 452438"/>
                  <a:gd name="connsiteX75" fmla="*/ 433581 w 790769"/>
                  <a:gd name="connsiteY75" fmla="*/ 402432 h 452438"/>
                  <a:gd name="connsiteX76" fmla="*/ 419294 w 790769"/>
                  <a:gd name="connsiteY76" fmla="*/ 395288 h 452438"/>
                  <a:gd name="connsiteX77" fmla="*/ 405006 w 790769"/>
                  <a:gd name="connsiteY77" fmla="*/ 388144 h 452438"/>
                  <a:gd name="connsiteX78" fmla="*/ 383575 w 790769"/>
                  <a:gd name="connsiteY78" fmla="*/ 378619 h 452438"/>
                  <a:gd name="connsiteX79" fmla="*/ 369288 w 790769"/>
                  <a:gd name="connsiteY79" fmla="*/ 373857 h 452438"/>
                  <a:gd name="connsiteX80" fmla="*/ 362144 w 790769"/>
                  <a:gd name="connsiteY80" fmla="*/ 371475 h 452438"/>
                  <a:gd name="connsiteX81" fmla="*/ 350238 w 790769"/>
                  <a:gd name="connsiteY81" fmla="*/ 369094 h 452438"/>
                  <a:gd name="connsiteX82" fmla="*/ 340713 w 790769"/>
                  <a:gd name="connsiteY82" fmla="*/ 366713 h 452438"/>
                  <a:gd name="connsiteX83" fmla="*/ 326425 w 790769"/>
                  <a:gd name="connsiteY83" fmla="*/ 361950 h 452438"/>
                  <a:gd name="connsiteX84" fmla="*/ 316900 w 790769"/>
                  <a:gd name="connsiteY84" fmla="*/ 359569 h 452438"/>
                  <a:gd name="connsiteX85" fmla="*/ 309756 w 790769"/>
                  <a:gd name="connsiteY85" fmla="*/ 354807 h 452438"/>
                  <a:gd name="connsiteX86" fmla="*/ 285944 w 790769"/>
                  <a:gd name="connsiteY86" fmla="*/ 347663 h 452438"/>
                  <a:gd name="connsiteX87" fmla="*/ 266894 w 790769"/>
                  <a:gd name="connsiteY87" fmla="*/ 345282 h 452438"/>
                  <a:gd name="connsiteX88" fmla="*/ 252606 w 790769"/>
                  <a:gd name="connsiteY88" fmla="*/ 342900 h 452438"/>
                  <a:gd name="connsiteX89" fmla="*/ 240700 w 790769"/>
                  <a:gd name="connsiteY89" fmla="*/ 340519 h 452438"/>
                  <a:gd name="connsiteX90" fmla="*/ 219269 w 790769"/>
                  <a:gd name="connsiteY90" fmla="*/ 338138 h 452438"/>
                  <a:gd name="connsiteX91" fmla="*/ 197838 w 790769"/>
                  <a:gd name="connsiteY91" fmla="*/ 333375 h 452438"/>
                  <a:gd name="connsiteX92" fmla="*/ 164500 w 790769"/>
                  <a:gd name="connsiteY92" fmla="*/ 326232 h 452438"/>
                  <a:gd name="connsiteX93" fmla="*/ 150213 w 790769"/>
                  <a:gd name="connsiteY93" fmla="*/ 323850 h 452438"/>
                  <a:gd name="connsiteX94" fmla="*/ 143069 w 790769"/>
                  <a:gd name="connsiteY94" fmla="*/ 321469 h 452438"/>
                  <a:gd name="connsiteX95" fmla="*/ 88300 w 790769"/>
                  <a:gd name="connsiteY95" fmla="*/ 319088 h 452438"/>
                  <a:gd name="connsiteX96" fmla="*/ 76394 w 790769"/>
                  <a:gd name="connsiteY96" fmla="*/ 316707 h 452438"/>
                  <a:gd name="connsiteX97" fmla="*/ 59725 w 790769"/>
                  <a:gd name="connsiteY97" fmla="*/ 314325 h 452438"/>
                  <a:gd name="connsiteX98" fmla="*/ 52581 w 790769"/>
                  <a:gd name="connsiteY98" fmla="*/ 300038 h 452438"/>
                  <a:gd name="connsiteX99" fmla="*/ 43056 w 790769"/>
                  <a:gd name="connsiteY99" fmla="*/ 285750 h 452438"/>
                  <a:gd name="connsiteX100" fmla="*/ 40675 w 790769"/>
                  <a:gd name="connsiteY100" fmla="*/ 278607 h 452438"/>
                  <a:gd name="connsiteX101" fmla="*/ 38294 w 790769"/>
                  <a:gd name="connsiteY101" fmla="*/ 252413 h 452438"/>
                  <a:gd name="connsiteX102" fmla="*/ 16863 w 790769"/>
                  <a:gd name="connsiteY102" fmla="*/ 235744 h 452438"/>
                  <a:gd name="connsiteX103" fmla="*/ 2575 w 790769"/>
                  <a:gd name="connsiteY103" fmla="*/ 226219 h 452438"/>
                  <a:gd name="connsiteX104" fmla="*/ 2575 w 790769"/>
                  <a:gd name="connsiteY104" fmla="*/ 211932 h 452438"/>
                  <a:gd name="connsiteX105" fmla="*/ 24006 w 790769"/>
                  <a:gd name="connsiteY105" fmla="*/ 204788 h 452438"/>
                  <a:gd name="connsiteX106" fmla="*/ 31150 w 790769"/>
                  <a:gd name="connsiteY106" fmla="*/ 202407 h 452438"/>
                  <a:gd name="connsiteX107" fmla="*/ 38294 w 790769"/>
                  <a:gd name="connsiteY107" fmla="*/ 195263 h 452438"/>
                  <a:gd name="connsiteX108" fmla="*/ 57344 w 790769"/>
                  <a:gd name="connsiteY108" fmla="*/ 178594 h 452438"/>
                  <a:gd name="connsiteX109" fmla="*/ 71631 w 790769"/>
                  <a:gd name="connsiteY109" fmla="*/ 173832 h 452438"/>
                  <a:gd name="connsiteX110" fmla="*/ 76394 w 790769"/>
                  <a:gd name="connsiteY110" fmla="*/ 166688 h 452438"/>
                  <a:gd name="connsiteX111" fmla="*/ 81156 w 790769"/>
                  <a:gd name="connsiteY111" fmla="*/ 135732 h 452438"/>
                  <a:gd name="connsiteX112" fmla="*/ 83538 w 790769"/>
                  <a:gd name="connsiteY112" fmla="*/ 121444 h 452438"/>
                  <a:gd name="connsiteX113" fmla="*/ 81156 w 790769"/>
                  <a:gd name="connsiteY113" fmla="*/ 109538 h 452438"/>
                  <a:gd name="connsiteX114" fmla="*/ 74013 w 790769"/>
                  <a:gd name="connsiteY114" fmla="*/ 95250 h 45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90769" h="452438">
                    <a:moveTo>
                      <a:pt x="74013" y="95250"/>
                    </a:moveTo>
                    <a:cubicBezTo>
                      <a:pt x="74807" y="93266"/>
                      <a:pt x="81993" y="96650"/>
                      <a:pt x="85919" y="97632"/>
                    </a:cubicBezTo>
                    <a:cubicBezTo>
                      <a:pt x="88354" y="98241"/>
                      <a:pt x="90593" y="99564"/>
                      <a:pt x="93063" y="100013"/>
                    </a:cubicBezTo>
                    <a:cubicBezTo>
                      <a:pt x="133941" y="107444"/>
                      <a:pt x="96403" y="98467"/>
                      <a:pt x="121638" y="104775"/>
                    </a:cubicBezTo>
                    <a:cubicBezTo>
                      <a:pt x="127988" y="103981"/>
                      <a:pt x="134289" y="102394"/>
                      <a:pt x="140688" y="102394"/>
                    </a:cubicBezTo>
                    <a:cubicBezTo>
                      <a:pt x="158270" y="102394"/>
                      <a:pt x="191573" y="104588"/>
                      <a:pt x="212125" y="107157"/>
                    </a:cubicBezTo>
                    <a:cubicBezTo>
                      <a:pt x="216916" y="107756"/>
                      <a:pt x="221650" y="108744"/>
                      <a:pt x="226413" y="109538"/>
                    </a:cubicBezTo>
                    <a:cubicBezTo>
                      <a:pt x="251918" y="118040"/>
                      <a:pt x="223579" y="109538"/>
                      <a:pt x="288325" y="109538"/>
                    </a:cubicBezTo>
                    <a:cubicBezTo>
                      <a:pt x="338338" y="109538"/>
                      <a:pt x="388338" y="111125"/>
                      <a:pt x="438344" y="111919"/>
                    </a:cubicBezTo>
                    <a:cubicBezTo>
                      <a:pt x="459058" y="114220"/>
                      <a:pt x="473484" y="117098"/>
                      <a:pt x="495494" y="111919"/>
                    </a:cubicBezTo>
                    <a:cubicBezTo>
                      <a:pt x="498280" y="111264"/>
                      <a:pt x="498232" y="106799"/>
                      <a:pt x="500256" y="104775"/>
                    </a:cubicBezTo>
                    <a:cubicBezTo>
                      <a:pt x="502280" y="102751"/>
                      <a:pt x="505201" y="101845"/>
                      <a:pt x="507400" y="100013"/>
                    </a:cubicBezTo>
                    <a:cubicBezTo>
                      <a:pt x="509987" y="97857"/>
                      <a:pt x="512163" y="95250"/>
                      <a:pt x="514544" y="92869"/>
                    </a:cubicBezTo>
                    <a:cubicBezTo>
                      <a:pt x="515338" y="90488"/>
                      <a:pt x="515706" y="87919"/>
                      <a:pt x="516925" y="85725"/>
                    </a:cubicBezTo>
                    <a:cubicBezTo>
                      <a:pt x="519705" y="80722"/>
                      <a:pt x="523275" y="76200"/>
                      <a:pt x="526450" y="71438"/>
                    </a:cubicBezTo>
                    <a:cubicBezTo>
                      <a:pt x="528038" y="69057"/>
                      <a:pt x="529189" y="66318"/>
                      <a:pt x="531213" y="64294"/>
                    </a:cubicBezTo>
                    <a:lnTo>
                      <a:pt x="538356" y="57150"/>
                    </a:lnTo>
                    <a:cubicBezTo>
                      <a:pt x="539944" y="52388"/>
                      <a:pt x="540335" y="47040"/>
                      <a:pt x="543119" y="42863"/>
                    </a:cubicBezTo>
                    <a:cubicBezTo>
                      <a:pt x="544706" y="40482"/>
                      <a:pt x="546601" y="38279"/>
                      <a:pt x="547881" y="35719"/>
                    </a:cubicBezTo>
                    <a:cubicBezTo>
                      <a:pt x="552223" y="27034"/>
                      <a:pt x="548529" y="21796"/>
                      <a:pt x="559788" y="14288"/>
                    </a:cubicBezTo>
                    <a:cubicBezTo>
                      <a:pt x="562169" y="12700"/>
                      <a:pt x="564316" y="10687"/>
                      <a:pt x="566931" y="9525"/>
                    </a:cubicBezTo>
                    <a:cubicBezTo>
                      <a:pt x="577118" y="4997"/>
                      <a:pt x="581046" y="5153"/>
                      <a:pt x="590744" y="2382"/>
                    </a:cubicBezTo>
                    <a:cubicBezTo>
                      <a:pt x="593158" y="1692"/>
                      <a:pt x="595507" y="794"/>
                      <a:pt x="597888" y="0"/>
                    </a:cubicBezTo>
                    <a:cubicBezTo>
                      <a:pt x="607413" y="794"/>
                      <a:pt x="616979" y="1196"/>
                      <a:pt x="626463" y="2382"/>
                    </a:cubicBezTo>
                    <a:cubicBezTo>
                      <a:pt x="631249" y="2980"/>
                      <a:pt x="638385" y="5562"/>
                      <a:pt x="643131" y="7144"/>
                    </a:cubicBezTo>
                    <a:cubicBezTo>
                      <a:pt x="645512" y="8732"/>
                      <a:pt x="648758" y="9480"/>
                      <a:pt x="650275" y="11907"/>
                    </a:cubicBezTo>
                    <a:cubicBezTo>
                      <a:pt x="652936" y="16164"/>
                      <a:pt x="654054" y="21271"/>
                      <a:pt x="655038" y="26194"/>
                    </a:cubicBezTo>
                    <a:cubicBezTo>
                      <a:pt x="656675" y="34378"/>
                      <a:pt x="657558" y="39778"/>
                      <a:pt x="659800" y="47625"/>
                    </a:cubicBezTo>
                    <a:cubicBezTo>
                      <a:pt x="660490" y="50039"/>
                      <a:pt x="660789" y="52680"/>
                      <a:pt x="662181" y="54769"/>
                    </a:cubicBezTo>
                    <a:cubicBezTo>
                      <a:pt x="666782" y="61670"/>
                      <a:pt x="669349" y="62352"/>
                      <a:pt x="676469" y="64294"/>
                    </a:cubicBezTo>
                    <a:cubicBezTo>
                      <a:pt x="682784" y="66016"/>
                      <a:pt x="695519" y="69057"/>
                      <a:pt x="695519" y="69057"/>
                    </a:cubicBezTo>
                    <a:cubicBezTo>
                      <a:pt x="697900" y="70644"/>
                      <a:pt x="700103" y="72539"/>
                      <a:pt x="702663" y="73819"/>
                    </a:cubicBezTo>
                    <a:cubicBezTo>
                      <a:pt x="711899" y="78437"/>
                      <a:pt x="714549" y="75522"/>
                      <a:pt x="726475" y="73819"/>
                    </a:cubicBezTo>
                    <a:cubicBezTo>
                      <a:pt x="727269" y="70644"/>
                      <a:pt x="726812" y="66850"/>
                      <a:pt x="728856" y="64294"/>
                    </a:cubicBezTo>
                    <a:cubicBezTo>
                      <a:pt x="730424" y="62334"/>
                      <a:pt x="733490" y="61913"/>
                      <a:pt x="736000" y="61913"/>
                    </a:cubicBezTo>
                    <a:cubicBezTo>
                      <a:pt x="749517" y="61913"/>
                      <a:pt x="762987" y="63500"/>
                      <a:pt x="776481" y="64294"/>
                    </a:cubicBezTo>
                    <a:cubicBezTo>
                      <a:pt x="788388" y="68262"/>
                      <a:pt x="782832" y="64294"/>
                      <a:pt x="788388" y="80963"/>
                    </a:cubicBezTo>
                    <a:lnTo>
                      <a:pt x="790769" y="88107"/>
                    </a:lnTo>
                    <a:cubicBezTo>
                      <a:pt x="789317" y="98268"/>
                      <a:pt x="789238" y="111069"/>
                      <a:pt x="781244" y="119063"/>
                    </a:cubicBezTo>
                    <a:cubicBezTo>
                      <a:pt x="779220" y="121087"/>
                      <a:pt x="776481" y="122238"/>
                      <a:pt x="774100" y="123825"/>
                    </a:cubicBezTo>
                    <a:lnTo>
                      <a:pt x="769338" y="147638"/>
                    </a:lnTo>
                    <a:cubicBezTo>
                      <a:pt x="768544" y="151607"/>
                      <a:pt x="768236" y="155704"/>
                      <a:pt x="766956" y="159544"/>
                    </a:cubicBezTo>
                    <a:cubicBezTo>
                      <a:pt x="765369" y="164307"/>
                      <a:pt x="763178" y="168909"/>
                      <a:pt x="762194" y="173832"/>
                    </a:cubicBezTo>
                    <a:cubicBezTo>
                      <a:pt x="760432" y="182643"/>
                      <a:pt x="759487" y="193207"/>
                      <a:pt x="752669" y="200025"/>
                    </a:cubicBezTo>
                    <a:cubicBezTo>
                      <a:pt x="748052" y="204642"/>
                      <a:pt x="744193" y="205232"/>
                      <a:pt x="738381" y="207169"/>
                    </a:cubicBezTo>
                    <a:cubicBezTo>
                      <a:pt x="736000" y="208757"/>
                      <a:pt x="733868" y="210805"/>
                      <a:pt x="731238" y="211932"/>
                    </a:cubicBezTo>
                    <a:cubicBezTo>
                      <a:pt x="728230" y="213221"/>
                      <a:pt x="724860" y="213414"/>
                      <a:pt x="721713" y="214313"/>
                    </a:cubicBezTo>
                    <a:cubicBezTo>
                      <a:pt x="703229" y="219593"/>
                      <a:pt x="729053" y="215246"/>
                      <a:pt x="690756" y="219075"/>
                    </a:cubicBezTo>
                    <a:cubicBezTo>
                      <a:pt x="688375" y="219869"/>
                      <a:pt x="686063" y="220912"/>
                      <a:pt x="683613" y="221457"/>
                    </a:cubicBezTo>
                    <a:cubicBezTo>
                      <a:pt x="678900" y="222505"/>
                      <a:pt x="673644" y="221679"/>
                      <a:pt x="669325" y="223838"/>
                    </a:cubicBezTo>
                    <a:cubicBezTo>
                      <a:pt x="666765" y="225118"/>
                      <a:pt x="666150" y="228601"/>
                      <a:pt x="664563" y="230982"/>
                    </a:cubicBezTo>
                    <a:cubicBezTo>
                      <a:pt x="663769" y="250032"/>
                      <a:pt x="663540" y="269114"/>
                      <a:pt x="662181" y="288132"/>
                    </a:cubicBezTo>
                    <a:cubicBezTo>
                      <a:pt x="660736" y="308366"/>
                      <a:pt x="651302" y="288494"/>
                      <a:pt x="662181" y="323850"/>
                    </a:cubicBezTo>
                    <a:cubicBezTo>
                      <a:pt x="663023" y="326586"/>
                      <a:pt x="666944" y="327025"/>
                      <a:pt x="669325" y="328613"/>
                    </a:cubicBezTo>
                    <a:cubicBezTo>
                      <a:pt x="680242" y="344989"/>
                      <a:pt x="677040" y="337470"/>
                      <a:pt x="681231" y="350044"/>
                    </a:cubicBezTo>
                    <a:cubicBezTo>
                      <a:pt x="680103" y="363587"/>
                      <a:pt x="685069" y="378339"/>
                      <a:pt x="671706" y="385763"/>
                    </a:cubicBezTo>
                    <a:cubicBezTo>
                      <a:pt x="667318" y="388201"/>
                      <a:pt x="662181" y="388938"/>
                      <a:pt x="657419" y="390525"/>
                    </a:cubicBezTo>
                    <a:lnTo>
                      <a:pt x="650275" y="392907"/>
                    </a:lnTo>
                    <a:cubicBezTo>
                      <a:pt x="647894" y="395288"/>
                      <a:pt x="645287" y="397463"/>
                      <a:pt x="643131" y="400050"/>
                    </a:cubicBezTo>
                    <a:cubicBezTo>
                      <a:pt x="641299" y="402249"/>
                      <a:pt x="640393" y="405170"/>
                      <a:pt x="638369" y="407194"/>
                    </a:cubicBezTo>
                    <a:cubicBezTo>
                      <a:pt x="619637" y="425927"/>
                      <a:pt x="643586" y="395694"/>
                      <a:pt x="624081" y="419100"/>
                    </a:cubicBezTo>
                    <a:cubicBezTo>
                      <a:pt x="622249" y="421299"/>
                      <a:pt x="620481" y="423629"/>
                      <a:pt x="619319" y="426244"/>
                    </a:cubicBezTo>
                    <a:cubicBezTo>
                      <a:pt x="617280" y="430832"/>
                      <a:pt x="618733" y="437747"/>
                      <a:pt x="614556" y="440532"/>
                    </a:cubicBezTo>
                    <a:cubicBezTo>
                      <a:pt x="612175" y="442119"/>
                      <a:pt x="609973" y="444014"/>
                      <a:pt x="607413" y="445294"/>
                    </a:cubicBezTo>
                    <a:cubicBezTo>
                      <a:pt x="597134" y="450433"/>
                      <a:pt x="575216" y="449603"/>
                      <a:pt x="569313" y="450057"/>
                    </a:cubicBezTo>
                    <a:cubicBezTo>
                      <a:pt x="566932" y="450851"/>
                      <a:pt x="564679" y="452438"/>
                      <a:pt x="562169" y="452438"/>
                    </a:cubicBezTo>
                    <a:cubicBezTo>
                      <a:pt x="549801" y="452438"/>
                      <a:pt x="542533" y="449068"/>
                      <a:pt x="531213" y="445294"/>
                    </a:cubicBezTo>
                    <a:cubicBezTo>
                      <a:pt x="528832" y="444500"/>
                      <a:pt x="526314" y="444036"/>
                      <a:pt x="524069" y="442913"/>
                    </a:cubicBezTo>
                    <a:cubicBezTo>
                      <a:pt x="520894" y="441325"/>
                      <a:pt x="517969" y="439084"/>
                      <a:pt x="514544" y="438150"/>
                    </a:cubicBezTo>
                    <a:cubicBezTo>
                      <a:pt x="509129" y="436673"/>
                      <a:pt x="503431" y="436563"/>
                      <a:pt x="497875" y="435769"/>
                    </a:cubicBezTo>
                    <a:cubicBezTo>
                      <a:pt x="493113" y="434182"/>
                      <a:pt x="487765" y="433791"/>
                      <a:pt x="483588" y="431007"/>
                    </a:cubicBezTo>
                    <a:cubicBezTo>
                      <a:pt x="478825" y="427832"/>
                      <a:pt x="474730" y="423293"/>
                      <a:pt x="469300" y="421482"/>
                    </a:cubicBezTo>
                    <a:cubicBezTo>
                      <a:pt x="466919" y="420688"/>
                      <a:pt x="464350" y="420319"/>
                      <a:pt x="462156" y="419100"/>
                    </a:cubicBezTo>
                    <a:cubicBezTo>
                      <a:pt x="457153" y="416320"/>
                      <a:pt x="452631" y="412750"/>
                      <a:pt x="447869" y="409575"/>
                    </a:cubicBezTo>
                    <a:cubicBezTo>
                      <a:pt x="445488" y="407988"/>
                      <a:pt x="443440" y="405718"/>
                      <a:pt x="440725" y="404813"/>
                    </a:cubicBezTo>
                    <a:lnTo>
                      <a:pt x="433581" y="402432"/>
                    </a:lnTo>
                    <a:cubicBezTo>
                      <a:pt x="413116" y="388786"/>
                      <a:pt x="439006" y="405144"/>
                      <a:pt x="419294" y="395288"/>
                    </a:cubicBezTo>
                    <a:cubicBezTo>
                      <a:pt x="400829" y="386056"/>
                      <a:pt x="422962" y="394129"/>
                      <a:pt x="405006" y="388144"/>
                    </a:cubicBezTo>
                    <a:cubicBezTo>
                      <a:pt x="393687" y="380598"/>
                      <a:pt x="400577" y="384286"/>
                      <a:pt x="383575" y="378619"/>
                    </a:cubicBezTo>
                    <a:lnTo>
                      <a:pt x="369288" y="373857"/>
                    </a:lnTo>
                    <a:cubicBezTo>
                      <a:pt x="366907" y="373063"/>
                      <a:pt x="364605" y="371967"/>
                      <a:pt x="362144" y="371475"/>
                    </a:cubicBezTo>
                    <a:cubicBezTo>
                      <a:pt x="358175" y="370681"/>
                      <a:pt x="354189" y="369972"/>
                      <a:pt x="350238" y="369094"/>
                    </a:cubicBezTo>
                    <a:cubicBezTo>
                      <a:pt x="347043" y="368384"/>
                      <a:pt x="343848" y="367653"/>
                      <a:pt x="340713" y="366713"/>
                    </a:cubicBezTo>
                    <a:cubicBezTo>
                      <a:pt x="335904" y="365270"/>
                      <a:pt x="331295" y="363167"/>
                      <a:pt x="326425" y="361950"/>
                    </a:cubicBezTo>
                    <a:lnTo>
                      <a:pt x="316900" y="359569"/>
                    </a:lnTo>
                    <a:cubicBezTo>
                      <a:pt x="314519" y="357982"/>
                      <a:pt x="312371" y="355969"/>
                      <a:pt x="309756" y="354807"/>
                    </a:cubicBezTo>
                    <a:cubicBezTo>
                      <a:pt x="305941" y="353111"/>
                      <a:pt x="291488" y="348587"/>
                      <a:pt x="285944" y="347663"/>
                    </a:cubicBezTo>
                    <a:cubicBezTo>
                      <a:pt x="279632" y="346611"/>
                      <a:pt x="273229" y="346187"/>
                      <a:pt x="266894" y="345282"/>
                    </a:cubicBezTo>
                    <a:cubicBezTo>
                      <a:pt x="262114" y="344599"/>
                      <a:pt x="257357" y="343764"/>
                      <a:pt x="252606" y="342900"/>
                    </a:cubicBezTo>
                    <a:cubicBezTo>
                      <a:pt x="248624" y="342176"/>
                      <a:pt x="244707" y="341091"/>
                      <a:pt x="240700" y="340519"/>
                    </a:cubicBezTo>
                    <a:cubicBezTo>
                      <a:pt x="233585" y="339503"/>
                      <a:pt x="226413" y="338932"/>
                      <a:pt x="219269" y="338138"/>
                    </a:cubicBezTo>
                    <a:cubicBezTo>
                      <a:pt x="196040" y="332331"/>
                      <a:pt x="225045" y="339422"/>
                      <a:pt x="197838" y="333375"/>
                    </a:cubicBezTo>
                    <a:cubicBezTo>
                      <a:pt x="178324" y="329038"/>
                      <a:pt x="196804" y="331618"/>
                      <a:pt x="164500" y="326232"/>
                    </a:cubicBezTo>
                    <a:cubicBezTo>
                      <a:pt x="159738" y="325438"/>
                      <a:pt x="154926" y="324897"/>
                      <a:pt x="150213" y="323850"/>
                    </a:cubicBezTo>
                    <a:cubicBezTo>
                      <a:pt x="147763" y="323305"/>
                      <a:pt x="145572" y="321661"/>
                      <a:pt x="143069" y="321469"/>
                    </a:cubicBezTo>
                    <a:cubicBezTo>
                      <a:pt x="124849" y="320068"/>
                      <a:pt x="106556" y="319882"/>
                      <a:pt x="88300" y="319088"/>
                    </a:cubicBezTo>
                    <a:cubicBezTo>
                      <a:pt x="84331" y="318294"/>
                      <a:pt x="80386" y="317372"/>
                      <a:pt x="76394" y="316707"/>
                    </a:cubicBezTo>
                    <a:cubicBezTo>
                      <a:pt x="70858" y="315784"/>
                      <a:pt x="64854" y="316605"/>
                      <a:pt x="59725" y="314325"/>
                    </a:cubicBezTo>
                    <a:cubicBezTo>
                      <a:pt x="55048" y="312246"/>
                      <a:pt x="54572" y="303622"/>
                      <a:pt x="52581" y="300038"/>
                    </a:cubicBezTo>
                    <a:cubicBezTo>
                      <a:pt x="49801" y="295034"/>
                      <a:pt x="43056" y="285750"/>
                      <a:pt x="43056" y="285750"/>
                    </a:cubicBezTo>
                    <a:cubicBezTo>
                      <a:pt x="42262" y="283369"/>
                      <a:pt x="41030" y="281092"/>
                      <a:pt x="40675" y="278607"/>
                    </a:cubicBezTo>
                    <a:cubicBezTo>
                      <a:pt x="39435" y="269928"/>
                      <a:pt x="41632" y="260520"/>
                      <a:pt x="38294" y="252413"/>
                    </a:cubicBezTo>
                    <a:cubicBezTo>
                      <a:pt x="30174" y="232692"/>
                      <a:pt x="27436" y="241618"/>
                      <a:pt x="16863" y="235744"/>
                    </a:cubicBezTo>
                    <a:cubicBezTo>
                      <a:pt x="11859" y="232964"/>
                      <a:pt x="2575" y="226219"/>
                      <a:pt x="2575" y="226219"/>
                    </a:cubicBezTo>
                    <a:cubicBezTo>
                      <a:pt x="1354" y="222556"/>
                      <a:pt x="-2553" y="215595"/>
                      <a:pt x="2575" y="211932"/>
                    </a:cubicBezTo>
                    <a:cubicBezTo>
                      <a:pt x="2576" y="211932"/>
                      <a:pt x="20433" y="205979"/>
                      <a:pt x="24006" y="204788"/>
                    </a:cubicBezTo>
                    <a:lnTo>
                      <a:pt x="31150" y="202407"/>
                    </a:lnTo>
                    <a:cubicBezTo>
                      <a:pt x="33531" y="200026"/>
                      <a:pt x="36138" y="197850"/>
                      <a:pt x="38294" y="195263"/>
                    </a:cubicBezTo>
                    <a:cubicBezTo>
                      <a:pt x="45774" y="186287"/>
                      <a:pt x="41588" y="183845"/>
                      <a:pt x="57344" y="178594"/>
                    </a:cubicBezTo>
                    <a:lnTo>
                      <a:pt x="71631" y="173832"/>
                    </a:lnTo>
                    <a:cubicBezTo>
                      <a:pt x="73219" y="171451"/>
                      <a:pt x="75114" y="169248"/>
                      <a:pt x="76394" y="166688"/>
                    </a:cubicBezTo>
                    <a:cubicBezTo>
                      <a:pt x="80756" y="157964"/>
                      <a:pt x="80246" y="143012"/>
                      <a:pt x="81156" y="135732"/>
                    </a:cubicBezTo>
                    <a:cubicBezTo>
                      <a:pt x="81755" y="130941"/>
                      <a:pt x="82744" y="126207"/>
                      <a:pt x="83538" y="121444"/>
                    </a:cubicBezTo>
                    <a:cubicBezTo>
                      <a:pt x="82744" y="117475"/>
                      <a:pt x="82138" y="113464"/>
                      <a:pt x="81156" y="109538"/>
                    </a:cubicBezTo>
                    <a:cubicBezTo>
                      <a:pt x="78524" y="99011"/>
                      <a:pt x="73219" y="97234"/>
                      <a:pt x="74013" y="9525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1" name="Freeform 260"/>
              <p:cNvSpPr/>
              <p:nvPr/>
            </p:nvSpPr>
            <p:spPr>
              <a:xfrm>
                <a:off x="4260152" y="4832958"/>
                <a:ext cx="948195" cy="495300"/>
              </a:xfrm>
              <a:custGeom>
                <a:avLst/>
                <a:gdLst>
                  <a:gd name="connsiteX0" fmla="*/ 207473 w 948195"/>
                  <a:gd name="connsiteY0" fmla="*/ 0 h 495300"/>
                  <a:gd name="connsiteX1" fmla="*/ 226523 w 948195"/>
                  <a:gd name="connsiteY1" fmla="*/ 2381 h 495300"/>
                  <a:gd name="connsiteX2" fmla="*/ 283673 w 948195"/>
                  <a:gd name="connsiteY2" fmla="*/ 7144 h 495300"/>
                  <a:gd name="connsiteX3" fmla="*/ 288436 w 948195"/>
                  <a:gd name="connsiteY3" fmla="*/ 14287 h 495300"/>
                  <a:gd name="connsiteX4" fmla="*/ 302723 w 948195"/>
                  <a:gd name="connsiteY4" fmla="*/ 23812 h 495300"/>
                  <a:gd name="connsiteX5" fmla="*/ 307486 w 948195"/>
                  <a:gd name="connsiteY5" fmla="*/ 30956 h 495300"/>
                  <a:gd name="connsiteX6" fmla="*/ 321773 w 948195"/>
                  <a:gd name="connsiteY6" fmla="*/ 35719 h 495300"/>
                  <a:gd name="connsiteX7" fmla="*/ 331298 w 948195"/>
                  <a:gd name="connsiteY7" fmla="*/ 21431 h 495300"/>
                  <a:gd name="connsiteX8" fmla="*/ 338442 w 948195"/>
                  <a:gd name="connsiteY8" fmla="*/ 19050 h 495300"/>
                  <a:gd name="connsiteX9" fmla="*/ 407498 w 948195"/>
                  <a:gd name="connsiteY9" fmla="*/ 21431 h 495300"/>
                  <a:gd name="connsiteX10" fmla="*/ 412261 w 948195"/>
                  <a:gd name="connsiteY10" fmla="*/ 28575 h 495300"/>
                  <a:gd name="connsiteX11" fmla="*/ 431311 w 948195"/>
                  <a:gd name="connsiteY11" fmla="*/ 33337 h 495300"/>
                  <a:gd name="connsiteX12" fmla="*/ 433692 w 948195"/>
                  <a:gd name="connsiteY12" fmla="*/ 66675 h 495300"/>
                  <a:gd name="connsiteX13" fmla="*/ 447979 w 948195"/>
                  <a:gd name="connsiteY13" fmla="*/ 71437 h 495300"/>
                  <a:gd name="connsiteX14" fmla="*/ 455123 w 948195"/>
                  <a:gd name="connsiteY14" fmla="*/ 73819 h 495300"/>
                  <a:gd name="connsiteX15" fmla="*/ 467029 w 948195"/>
                  <a:gd name="connsiteY15" fmla="*/ 88106 h 495300"/>
                  <a:gd name="connsiteX16" fmla="*/ 469411 w 948195"/>
                  <a:gd name="connsiteY16" fmla="*/ 95250 h 495300"/>
                  <a:gd name="connsiteX17" fmla="*/ 474173 w 948195"/>
                  <a:gd name="connsiteY17" fmla="*/ 169069 h 495300"/>
                  <a:gd name="connsiteX18" fmla="*/ 476554 w 948195"/>
                  <a:gd name="connsiteY18" fmla="*/ 190500 h 495300"/>
                  <a:gd name="connsiteX19" fmla="*/ 490842 w 948195"/>
                  <a:gd name="connsiteY19" fmla="*/ 197644 h 495300"/>
                  <a:gd name="connsiteX20" fmla="*/ 528942 w 948195"/>
                  <a:gd name="connsiteY20" fmla="*/ 200025 h 495300"/>
                  <a:gd name="connsiteX21" fmla="*/ 550373 w 948195"/>
                  <a:gd name="connsiteY21" fmla="*/ 211931 h 495300"/>
                  <a:gd name="connsiteX22" fmla="*/ 571804 w 948195"/>
                  <a:gd name="connsiteY22" fmla="*/ 221456 h 495300"/>
                  <a:gd name="connsiteX23" fmla="*/ 578948 w 948195"/>
                  <a:gd name="connsiteY23" fmla="*/ 223837 h 495300"/>
                  <a:gd name="connsiteX24" fmla="*/ 593236 w 948195"/>
                  <a:gd name="connsiteY24" fmla="*/ 233362 h 495300"/>
                  <a:gd name="connsiteX25" fmla="*/ 600379 w 948195"/>
                  <a:gd name="connsiteY25" fmla="*/ 238125 h 495300"/>
                  <a:gd name="connsiteX26" fmla="*/ 614667 w 948195"/>
                  <a:gd name="connsiteY26" fmla="*/ 242887 h 495300"/>
                  <a:gd name="connsiteX27" fmla="*/ 655148 w 948195"/>
                  <a:gd name="connsiteY27" fmla="*/ 238125 h 495300"/>
                  <a:gd name="connsiteX28" fmla="*/ 676579 w 948195"/>
                  <a:gd name="connsiteY28" fmla="*/ 230981 h 495300"/>
                  <a:gd name="connsiteX29" fmla="*/ 683723 w 948195"/>
                  <a:gd name="connsiteY29" fmla="*/ 228600 h 495300"/>
                  <a:gd name="connsiteX30" fmla="*/ 755161 w 948195"/>
                  <a:gd name="connsiteY30" fmla="*/ 223837 h 495300"/>
                  <a:gd name="connsiteX31" fmla="*/ 757542 w 948195"/>
                  <a:gd name="connsiteY31" fmla="*/ 216694 h 495300"/>
                  <a:gd name="connsiteX32" fmla="*/ 759923 w 948195"/>
                  <a:gd name="connsiteY32" fmla="*/ 204787 h 495300"/>
                  <a:gd name="connsiteX33" fmla="*/ 767067 w 948195"/>
                  <a:gd name="connsiteY33" fmla="*/ 202406 h 495300"/>
                  <a:gd name="connsiteX34" fmla="*/ 776592 w 948195"/>
                  <a:gd name="connsiteY34" fmla="*/ 200025 h 495300"/>
                  <a:gd name="connsiteX35" fmla="*/ 814692 w 948195"/>
                  <a:gd name="connsiteY35" fmla="*/ 207169 h 495300"/>
                  <a:gd name="connsiteX36" fmla="*/ 817073 w 948195"/>
                  <a:gd name="connsiteY36" fmla="*/ 214312 h 495300"/>
                  <a:gd name="connsiteX37" fmla="*/ 826598 w 948195"/>
                  <a:gd name="connsiteY37" fmla="*/ 235744 h 495300"/>
                  <a:gd name="connsiteX38" fmla="*/ 840886 w 948195"/>
                  <a:gd name="connsiteY38" fmla="*/ 233362 h 495300"/>
                  <a:gd name="connsiteX39" fmla="*/ 857554 w 948195"/>
                  <a:gd name="connsiteY39" fmla="*/ 235744 h 495300"/>
                  <a:gd name="connsiteX40" fmla="*/ 871842 w 948195"/>
                  <a:gd name="connsiteY40" fmla="*/ 247650 h 495300"/>
                  <a:gd name="connsiteX41" fmla="*/ 878986 w 948195"/>
                  <a:gd name="connsiteY41" fmla="*/ 252412 h 495300"/>
                  <a:gd name="connsiteX42" fmla="*/ 883748 w 948195"/>
                  <a:gd name="connsiteY42" fmla="*/ 259556 h 495300"/>
                  <a:gd name="connsiteX43" fmla="*/ 886129 w 948195"/>
                  <a:gd name="connsiteY43" fmla="*/ 278606 h 495300"/>
                  <a:gd name="connsiteX44" fmla="*/ 888511 w 948195"/>
                  <a:gd name="connsiteY44" fmla="*/ 290512 h 495300"/>
                  <a:gd name="connsiteX45" fmla="*/ 893273 w 948195"/>
                  <a:gd name="connsiteY45" fmla="*/ 340519 h 495300"/>
                  <a:gd name="connsiteX46" fmla="*/ 888511 w 948195"/>
                  <a:gd name="connsiteY46" fmla="*/ 423862 h 495300"/>
                  <a:gd name="connsiteX47" fmla="*/ 890892 w 948195"/>
                  <a:gd name="connsiteY47" fmla="*/ 447675 h 495300"/>
                  <a:gd name="connsiteX48" fmla="*/ 893273 w 948195"/>
                  <a:gd name="connsiteY48" fmla="*/ 457200 h 495300"/>
                  <a:gd name="connsiteX49" fmla="*/ 900417 w 948195"/>
                  <a:gd name="connsiteY49" fmla="*/ 461962 h 495300"/>
                  <a:gd name="connsiteX50" fmla="*/ 914704 w 948195"/>
                  <a:gd name="connsiteY50" fmla="*/ 466725 h 495300"/>
                  <a:gd name="connsiteX51" fmla="*/ 928992 w 948195"/>
                  <a:gd name="connsiteY51" fmla="*/ 471487 h 495300"/>
                  <a:gd name="connsiteX52" fmla="*/ 936136 w 948195"/>
                  <a:gd name="connsiteY52" fmla="*/ 473869 h 495300"/>
                  <a:gd name="connsiteX53" fmla="*/ 943279 w 948195"/>
                  <a:gd name="connsiteY53" fmla="*/ 476250 h 495300"/>
                  <a:gd name="connsiteX54" fmla="*/ 948042 w 948195"/>
                  <a:gd name="connsiteY54" fmla="*/ 483394 h 495300"/>
                  <a:gd name="connsiteX55" fmla="*/ 938517 w 948195"/>
                  <a:gd name="connsiteY55" fmla="*/ 492919 h 495300"/>
                  <a:gd name="connsiteX56" fmla="*/ 898036 w 948195"/>
                  <a:gd name="connsiteY56" fmla="*/ 495300 h 495300"/>
                  <a:gd name="connsiteX57" fmla="*/ 888511 w 948195"/>
                  <a:gd name="connsiteY57" fmla="*/ 492919 h 495300"/>
                  <a:gd name="connsiteX58" fmla="*/ 883748 w 948195"/>
                  <a:gd name="connsiteY58" fmla="*/ 485775 h 495300"/>
                  <a:gd name="connsiteX59" fmla="*/ 876604 w 948195"/>
                  <a:gd name="connsiteY59" fmla="*/ 478631 h 495300"/>
                  <a:gd name="connsiteX60" fmla="*/ 871842 w 948195"/>
                  <a:gd name="connsiteY60" fmla="*/ 471487 h 495300"/>
                  <a:gd name="connsiteX61" fmla="*/ 845648 w 948195"/>
                  <a:gd name="connsiteY61" fmla="*/ 466725 h 495300"/>
                  <a:gd name="connsiteX62" fmla="*/ 821836 w 948195"/>
                  <a:gd name="connsiteY62" fmla="*/ 459581 h 495300"/>
                  <a:gd name="connsiteX63" fmla="*/ 757542 w 948195"/>
                  <a:gd name="connsiteY63" fmla="*/ 457200 h 495300"/>
                  <a:gd name="connsiteX64" fmla="*/ 750398 w 948195"/>
                  <a:gd name="connsiteY64" fmla="*/ 452437 h 495300"/>
                  <a:gd name="connsiteX65" fmla="*/ 736111 w 948195"/>
                  <a:gd name="connsiteY65" fmla="*/ 447675 h 495300"/>
                  <a:gd name="connsiteX66" fmla="*/ 721823 w 948195"/>
                  <a:gd name="connsiteY66" fmla="*/ 440531 h 495300"/>
                  <a:gd name="connsiteX67" fmla="*/ 714679 w 948195"/>
                  <a:gd name="connsiteY67" fmla="*/ 435769 h 495300"/>
                  <a:gd name="connsiteX68" fmla="*/ 700392 w 948195"/>
                  <a:gd name="connsiteY68" fmla="*/ 431006 h 495300"/>
                  <a:gd name="connsiteX69" fmla="*/ 686104 w 948195"/>
                  <a:gd name="connsiteY69" fmla="*/ 423862 h 495300"/>
                  <a:gd name="connsiteX70" fmla="*/ 678961 w 948195"/>
                  <a:gd name="connsiteY70" fmla="*/ 419100 h 495300"/>
                  <a:gd name="connsiteX71" fmla="*/ 669436 w 948195"/>
                  <a:gd name="connsiteY71" fmla="*/ 416719 h 495300"/>
                  <a:gd name="connsiteX72" fmla="*/ 655148 w 948195"/>
                  <a:gd name="connsiteY72" fmla="*/ 411956 h 495300"/>
                  <a:gd name="connsiteX73" fmla="*/ 648004 w 948195"/>
                  <a:gd name="connsiteY73" fmla="*/ 409575 h 495300"/>
                  <a:gd name="connsiteX74" fmla="*/ 640861 w 948195"/>
                  <a:gd name="connsiteY74" fmla="*/ 404812 h 495300"/>
                  <a:gd name="connsiteX75" fmla="*/ 624192 w 948195"/>
                  <a:gd name="connsiteY75" fmla="*/ 400050 h 495300"/>
                  <a:gd name="connsiteX76" fmla="*/ 609904 w 948195"/>
                  <a:gd name="connsiteY76" fmla="*/ 395287 h 495300"/>
                  <a:gd name="connsiteX77" fmla="*/ 576567 w 948195"/>
                  <a:gd name="connsiteY77" fmla="*/ 390525 h 495300"/>
                  <a:gd name="connsiteX78" fmla="*/ 533704 w 948195"/>
                  <a:gd name="connsiteY78" fmla="*/ 392906 h 495300"/>
                  <a:gd name="connsiteX79" fmla="*/ 526561 w 948195"/>
                  <a:gd name="connsiteY79" fmla="*/ 395287 h 495300"/>
                  <a:gd name="connsiteX80" fmla="*/ 512273 w 948195"/>
                  <a:gd name="connsiteY80" fmla="*/ 397669 h 495300"/>
                  <a:gd name="connsiteX81" fmla="*/ 505129 w 948195"/>
                  <a:gd name="connsiteY81" fmla="*/ 400050 h 495300"/>
                  <a:gd name="connsiteX82" fmla="*/ 495604 w 948195"/>
                  <a:gd name="connsiteY82" fmla="*/ 402431 h 495300"/>
                  <a:gd name="connsiteX83" fmla="*/ 481317 w 948195"/>
                  <a:gd name="connsiteY83" fmla="*/ 411956 h 495300"/>
                  <a:gd name="connsiteX84" fmla="*/ 447979 w 948195"/>
                  <a:gd name="connsiteY84" fmla="*/ 419100 h 495300"/>
                  <a:gd name="connsiteX85" fmla="*/ 386067 w 948195"/>
                  <a:gd name="connsiteY85" fmla="*/ 416719 h 495300"/>
                  <a:gd name="connsiteX86" fmla="*/ 371779 w 948195"/>
                  <a:gd name="connsiteY86" fmla="*/ 414337 h 495300"/>
                  <a:gd name="connsiteX87" fmla="*/ 362254 w 948195"/>
                  <a:gd name="connsiteY87" fmla="*/ 409575 h 495300"/>
                  <a:gd name="connsiteX88" fmla="*/ 355111 w 948195"/>
                  <a:gd name="connsiteY88" fmla="*/ 407194 h 495300"/>
                  <a:gd name="connsiteX89" fmla="*/ 347967 w 948195"/>
                  <a:gd name="connsiteY89" fmla="*/ 402431 h 495300"/>
                  <a:gd name="connsiteX90" fmla="*/ 331298 w 948195"/>
                  <a:gd name="connsiteY90" fmla="*/ 397669 h 495300"/>
                  <a:gd name="connsiteX91" fmla="*/ 293198 w 948195"/>
                  <a:gd name="connsiteY91" fmla="*/ 392906 h 495300"/>
                  <a:gd name="connsiteX92" fmla="*/ 128892 w 948195"/>
                  <a:gd name="connsiteY92" fmla="*/ 388144 h 495300"/>
                  <a:gd name="connsiteX93" fmla="*/ 102698 w 948195"/>
                  <a:gd name="connsiteY93" fmla="*/ 376237 h 495300"/>
                  <a:gd name="connsiteX94" fmla="*/ 90792 w 948195"/>
                  <a:gd name="connsiteY94" fmla="*/ 366712 h 495300"/>
                  <a:gd name="connsiteX95" fmla="*/ 66979 w 948195"/>
                  <a:gd name="connsiteY95" fmla="*/ 364331 h 495300"/>
                  <a:gd name="connsiteX96" fmla="*/ 12211 w 948195"/>
                  <a:gd name="connsiteY96" fmla="*/ 361950 h 495300"/>
                  <a:gd name="connsiteX97" fmla="*/ 304 w 948195"/>
                  <a:gd name="connsiteY97" fmla="*/ 359569 h 495300"/>
                  <a:gd name="connsiteX98" fmla="*/ 7448 w 948195"/>
                  <a:gd name="connsiteY98" fmla="*/ 357187 h 495300"/>
                  <a:gd name="connsiteX99" fmla="*/ 21736 w 948195"/>
                  <a:gd name="connsiteY99" fmla="*/ 354806 h 495300"/>
                  <a:gd name="connsiteX100" fmla="*/ 38404 w 948195"/>
                  <a:gd name="connsiteY100" fmla="*/ 335756 h 495300"/>
                  <a:gd name="connsiteX101" fmla="*/ 43167 w 948195"/>
                  <a:gd name="connsiteY101" fmla="*/ 328612 h 495300"/>
                  <a:gd name="connsiteX102" fmla="*/ 47929 w 948195"/>
                  <a:gd name="connsiteY102" fmla="*/ 321469 h 495300"/>
                  <a:gd name="connsiteX103" fmla="*/ 62217 w 948195"/>
                  <a:gd name="connsiteY103" fmla="*/ 311944 h 495300"/>
                  <a:gd name="connsiteX104" fmla="*/ 78886 w 948195"/>
                  <a:gd name="connsiteY104" fmla="*/ 304800 h 495300"/>
                  <a:gd name="connsiteX105" fmla="*/ 86029 w 948195"/>
                  <a:gd name="connsiteY105" fmla="*/ 297656 h 495300"/>
                  <a:gd name="connsiteX106" fmla="*/ 93173 w 948195"/>
                  <a:gd name="connsiteY106" fmla="*/ 292894 h 495300"/>
                  <a:gd name="connsiteX107" fmla="*/ 97936 w 948195"/>
                  <a:gd name="connsiteY107" fmla="*/ 285750 h 495300"/>
                  <a:gd name="connsiteX108" fmla="*/ 102698 w 948195"/>
                  <a:gd name="connsiteY108" fmla="*/ 266700 h 495300"/>
                  <a:gd name="connsiteX109" fmla="*/ 97936 w 948195"/>
                  <a:gd name="connsiteY109" fmla="*/ 250031 h 495300"/>
                  <a:gd name="connsiteX110" fmla="*/ 83648 w 948195"/>
                  <a:gd name="connsiteY110" fmla="*/ 233362 h 495300"/>
                  <a:gd name="connsiteX111" fmla="*/ 78886 w 948195"/>
                  <a:gd name="connsiteY111" fmla="*/ 219075 h 495300"/>
                  <a:gd name="connsiteX112" fmla="*/ 76504 w 948195"/>
                  <a:gd name="connsiteY112" fmla="*/ 211931 h 495300"/>
                  <a:gd name="connsiteX113" fmla="*/ 78886 w 948195"/>
                  <a:gd name="connsiteY113" fmla="*/ 147637 h 495300"/>
                  <a:gd name="connsiteX114" fmla="*/ 83648 w 948195"/>
                  <a:gd name="connsiteY114" fmla="*/ 138112 h 495300"/>
                  <a:gd name="connsiteX115" fmla="*/ 95554 w 948195"/>
                  <a:gd name="connsiteY115" fmla="*/ 135731 h 495300"/>
                  <a:gd name="connsiteX116" fmla="*/ 126511 w 948195"/>
                  <a:gd name="connsiteY116" fmla="*/ 133350 h 495300"/>
                  <a:gd name="connsiteX117" fmla="*/ 140798 w 948195"/>
                  <a:gd name="connsiteY117" fmla="*/ 128587 h 495300"/>
                  <a:gd name="connsiteX118" fmla="*/ 147942 w 948195"/>
                  <a:gd name="connsiteY118" fmla="*/ 126206 h 495300"/>
                  <a:gd name="connsiteX119" fmla="*/ 155086 w 948195"/>
                  <a:gd name="connsiteY119" fmla="*/ 121444 h 495300"/>
                  <a:gd name="connsiteX120" fmla="*/ 162229 w 948195"/>
                  <a:gd name="connsiteY120" fmla="*/ 119062 h 495300"/>
                  <a:gd name="connsiteX121" fmla="*/ 176517 w 948195"/>
                  <a:gd name="connsiteY121" fmla="*/ 109537 h 495300"/>
                  <a:gd name="connsiteX122" fmla="*/ 183661 w 948195"/>
                  <a:gd name="connsiteY122" fmla="*/ 95250 h 495300"/>
                  <a:gd name="connsiteX123" fmla="*/ 188423 w 948195"/>
                  <a:gd name="connsiteY123" fmla="*/ 85725 h 495300"/>
                  <a:gd name="connsiteX124" fmla="*/ 193186 w 948195"/>
                  <a:gd name="connsiteY124" fmla="*/ 71437 h 495300"/>
                  <a:gd name="connsiteX125" fmla="*/ 197948 w 948195"/>
                  <a:gd name="connsiteY125" fmla="*/ 35719 h 495300"/>
                  <a:gd name="connsiteX126" fmla="*/ 202711 w 948195"/>
                  <a:gd name="connsiteY126" fmla="*/ 26194 h 495300"/>
                  <a:gd name="connsiteX127" fmla="*/ 207473 w 948195"/>
                  <a:gd name="connsiteY127" fmla="*/ 11906 h 495300"/>
                  <a:gd name="connsiteX128" fmla="*/ 209854 w 948195"/>
                  <a:gd name="connsiteY128" fmla="*/ 4762 h 495300"/>
                  <a:gd name="connsiteX129" fmla="*/ 207473 w 948195"/>
                  <a:gd name="connsiteY129"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948195" h="495300">
                    <a:moveTo>
                      <a:pt x="207473" y="0"/>
                    </a:moveTo>
                    <a:cubicBezTo>
                      <a:pt x="213823" y="794"/>
                      <a:pt x="220140" y="1925"/>
                      <a:pt x="226523" y="2381"/>
                    </a:cubicBezTo>
                    <a:cubicBezTo>
                      <a:pt x="283520" y="6452"/>
                      <a:pt x="257471" y="592"/>
                      <a:pt x="283673" y="7144"/>
                    </a:cubicBezTo>
                    <a:cubicBezTo>
                      <a:pt x="285261" y="9525"/>
                      <a:pt x="286282" y="12403"/>
                      <a:pt x="288436" y="14287"/>
                    </a:cubicBezTo>
                    <a:cubicBezTo>
                      <a:pt x="292744" y="18056"/>
                      <a:pt x="302723" y="23812"/>
                      <a:pt x="302723" y="23812"/>
                    </a:cubicBezTo>
                    <a:cubicBezTo>
                      <a:pt x="304311" y="26193"/>
                      <a:pt x="305059" y="29439"/>
                      <a:pt x="307486" y="30956"/>
                    </a:cubicBezTo>
                    <a:cubicBezTo>
                      <a:pt x="311743" y="33617"/>
                      <a:pt x="321773" y="35719"/>
                      <a:pt x="321773" y="35719"/>
                    </a:cubicBezTo>
                    <a:cubicBezTo>
                      <a:pt x="324269" y="28229"/>
                      <a:pt x="323653" y="26527"/>
                      <a:pt x="331298" y="21431"/>
                    </a:cubicBezTo>
                    <a:cubicBezTo>
                      <a:pt x="333387" y="20039"/>
                      <a:pt x="336061" y="19844"/>
                      <a:pt x="338442" y="19050"/>
                    </a:cubicBezTo>
                    <a:cubicBezTo>
                      <a:pt x="361461" y="19844"/>
                      <a:pt x="384655" y="18484"/>
                      <a:pt x="407498" y="21431"/>
                    </a:cubicBezTo>
                    <a:cubicBezTo>
                      <a:pt x="410337" y="21797"/>
                      <a:pt x="410026" y="26787"/>
                      <a:pt x="412261" y="28575"/>
                    </a:cubicBezTo>
                    <a:cubicBezTo>
                      <a:pt x="414702" y="30528"/>
                      <a:pt x="430718" y="33219"/>
                      <a:pt x="431311" y="33337"/>
                    </a:cubicBezTo>
                    <a:cubicBezTo>
                      <a:pt x="432105" y="44450"/>
                      <a:pt x="429227" y="56468"/>
                      <a:pt x="433692" y="66675"/>
                    </a:cubicBezTo>
                    <a:cubicBezTo>
                      <a:pt x="435704" y="71274"/>
                      <a:pt x="443217" y="69850"/>
                      <a:pt x="447979" y="71437"/>
                    </a:cubicBezTo>
                    <a:lnTo>
                      <a:pt x="455123" y="73819"/>
                    </a:lnTo>
                    <a:cubicBezTo>
                      <a:pt x="460392" y="79088"/>
                      <a:pt x="463712" y="81473"/>
                      <a:pt x="467029" y="88106"/>
                    </a:cubicBezTo>
                    <a:cubicBezTo>
                      <a:pt x="468152" y="90351"/>
                      <a:pt x="468617" y="92869"/>
                      <a:pt x="469411" y="95250"/>
                    </a:cubicBezTo>
                    <a:cubicBezTo>
                      <a:pt x="473103" y="183878"/>
                      <a:pt x="468779" y="125909"/>
                      <a:pt x="474173" y="169069"/>
                    </a:cubicBezTo>
                    <a:cubicBezTo>
                      <a:pt x="475064" y="176201"/>
                      <a:pt x="474098" y="183745"/>
                      <a:pt x="476554" y="190500"/>
                    </a:cubicBezTo>
                    <a:cubicBezTo>
                      <a:pt x="477544" y="193222"/>
                      <a:pt x="488213" y="197367"/>
                      <a:pt x="490842" y="197644"/>
                    </a:cubicBezTo>
                    <a:cubicBezTo>
                      <a:pt x="503497" y="198976"/>
                      <a:pt x="516242" y="199231"/>
                      <a:pt x="528942" y="200025"/>
                    </a:cubicBezTo>
                    <a:cubicBezTo>
                      <a:pt x="545318" y="210942"/>
                      <a:pt x="537799" y="207740"/>
                      <a:pt x="550373" y="211931"/>
                    </a:cubicBezTo>
                    <a:cubicBezTo>
                      <a:pt x="561693" y="219479"/>
                      <a:pt x="554802" y="215789"/>
                      <a:pt x="571804" y="221456"/>
                    </a:cubicBezTo>
                    <a:lnTo>
                      <a:pt x="578948" y="223837"/>
                    </a:lnTo>
                    <a:lnTo>
                      <a:pt x="593236" y="233362"/>
                    </a:lnTo>
                    <a:cubicBezTo>
                      <a:pt x="595617" y="234949"/>
                      <a:pt x="597664" y="237220"/>
                      <a:pt x="600379" y="238125"/>
                    </a:cubicBezTo>
                    <a:lnTo>
                      <a:pt x="614667" y="242887"/>
                    </a:lnTo>
                    <a:cubicBezTo>
                      <a:pt x="635011" y="241322"/>
                      <a:pt x="639971" y="242678"/>
                      <a:pt x="655148" y="238125"/>
                    </a:cubicBezTo>
                    <a:cubicBezTo>
                      <a:pt x="662361" y="235961"/>
                      <a:pt x="669435" y="233362"/>
                      <a:pt x="676579" y="230981"/>
                    </a:cubicBezTo>
                    <a:cubicBezTo>
                      <a:pt x="678960" y="230187"/>
                      <a:pt x="681228" y="228877"/>
                      <a:pt x="683723" y="228600"/>
                    </a:cubicBezTo>
                    <a:cubicBezTo>
                      <a:pt x="721740" y="224376"/>
                      <a:pt x="697975" y="226561"/>
                      <a:pt x="755161" y="223837"/>
                    </a:cubicBezTo>
                    <a:cubicBezTo>
                      <a:pt x="755955" y="221456"/>
                      <a:pt x="756933" y="219129"/>
                      <a:pt x="757542" y="216694"/>
                    </a:cubicBezTo>
                    <a:cubicBezTo>
                      <a:pt x="758524" y="212767"/>
                      <a:pt x="757678" y="208155"/>
                      <a:pt x="759923" y="204787"/>
                    </a:cubicBezTo>
                    <a:cubicBezTo>
                      <a:pt x="761315" y="202698"/>
                      <a:pt x="764653" y="203096"/>
                      <a:pt x="767067" y="202406"/>
                    </a:cubicBezTo>
                    <a:cubicBezTo>
                      <a:pt x="770214" y="201507"/>
                      <a:pt x="773417" y="200819"/>
                      <a:pt x="776592" y="200025"/>
                    </a:cubicBezTo>
                    <a:cubicBezTo>
                      <a:pt x="782076" y="200447"/>
                      <a:pt x="806771" y="197268"/>
                      <a:pt x="814692" y="207169"/>
                    </a:cubicBezTo>
                    <a:cubicBezTo>
                      <a:pt x="816260" y="209129"/>
                      <a:pt x="816279" y="211931"/>
                      <a:pt x="817073" y="214312"/>
                    </a:cubicBezTo>
                    <a:cubicBezTo>
                      <a:pt x="817990" y="220734"/>
                      <a:pt x="815737" y="234537"/>
                      <a:pt x="826598" y="235744"/>
                    </a:cubicBezTo>
                    <a:cubicBezTo>
                      <a:pt x="831397" y="236277"/>
                      <a:pt x="836123" y="234156"/>
                      <a:pt x="840886" y="233362"/>
                    </a:cubicBezTo>
                    <a:cubicBezTo>
                      <a:pt x="846442" y="234156"/>
                      <a:pt x="852178" y="234131"/>
                      <a:pt x="857554" y="235744"/>
                    </a:cubicBezTo>
                    <a:cubicBezTo>
                      <a:pt x="863099" y="237408"/>
                      <a:pt x="867853" y="244326"/>
                      <a:pt x="871842" y="247650"/>
                    </a:cubicBezTo>
                    <a:cubicBezTo>
                      <a:pt x="874041" y="249482"/>
                      <a:pt x="876605" y="250825"/>
                      <a:pt x="878986" y="252412"/>
                    </a:cubicBezTo>
                    <a:cubicBezTo>
                      <a:pt x="880573" y="254793"/>
                      <a:pt x="882995" y="256795"/>
                      <a:pt x="883748" y="259556"/>
                    </a:cubicBezTo>
                    <a:cubicBezTo>
                      <a:pt x="885432" y="265730"/>
                      <a:pt x="885156" y="272281"/>
                      <a:pt x="886129" y="278606"/>
                    </a:cubicBezTo>
                    <a:cubicBezTo>
                      <a:pt x="886744" y="282606"/>
                      <a:pt x="887717" y="286543"/>
                      <a:pt x="888511" y="290512"/>
                    </a:cubicBezTo>
                    <a:cubicBezTo>
                      <a:pt x="890098" y="307181"/>
                      <a:pt x="894557" y="323824"/>
                      <a:pt x="893273" y="340519"/>
                    </a:cubicBezTo>
                    <a:cubicBezTo>
                      <a:pt x="889551" y="388904"/>
                      <a:pt x="891362" y="361137"/>
                      <a:pt x="888511" y="423862"/>
                    </a:cubicBezTo>
                    <a:cubicBezTo>
                      <a:pt x="889305" y="431800"/>
                      <a:pt x="889764" y="439778"/>
                      <a:pt x="890892" y="447675"/>
                    </a:cubicBezTo>
                    <a:cubicBezTo>
                      <a:pt x="891355" y="450915"/>
                      <a:pt x="891458" y="454477"/>
                      <a:pt x="893273" y="457200"/>
                    </a:cubicBezTo>
                    <a:cubicBezTo>
                      <a:pt x="894861" y="459581"/>
                      <a:pt x="897802" y="460800"/>
                      <a:pt x="900417" y="461962"/>
                    </a:cubicBezTo>
                    <a:cubicBezTo>
                      <a:pt x="905004" y="464001"/>
                      <a:pt x="909942" y="465137"/>
                      <a:pt x="914704" y="466725"/>
                    </a:cubicBezTo>
                    <a:lnTo>
                      <a:pt x="928992" y="471487"/>
                    </a:lnTo>
                    <a:lnTo>
                      <a:pt x="936136" y="473869"/>
                    </a:lnTo>
                    <a:lnTo>
                      <a:pt x="943279" y="476250"/>
                    </a:lnTo>
                    <a:cubicBezTo>
                      <a:pt x="944867" y="478631"/>
                      <a:pt x="947571" y="480571"/>
                      <a:pt x="948042" y="483394"/>
                    </a:cubicBezTo>
                    <a:cubicBezTo>
                      <a:pt x="949187" y="490263"/>
                      <a:pt x="943721" y="492399"/>
                      <a:pt x="938517" y="492919"/>
                    </a:cubicBezTo>
                    <a:cubicBezTo>
                      <a:pt x="925067" y="494264"/>
                      <a:pt x="911530" y="494506"/>
                      <a:pt x="898036" y="495300"/>
                    </a:cubicBezTo>
                    <a:cubicBezTo>
                      <a:pt x="894861" y="494506"/>
                      <a:pt x="891234" y="494734"/>
                      <a:pt x="888511" y="492919"/>
                    </a:cubicBezTo>
                    <a:cubicBezTo>
                      <a:pt x="886130" y="491331"/>
                      <a:pt x="885580" y="487974"/>
                      <a:pt x="883748" y="485775"/>
                    </a:cubicBezTo>
                    <a:cubicBezTo>
                      <a:pt x="881592" y="483188"/>
                      <a:pt x="878760" y="481218"/>
                      <a:pt x="876604" y="478631"/>
                    </a:cubicBezTo>
                    <a:cubicBezTo>
                      <a:pt x="874772" y="476432"/>
                      <a:pt x="874327" y="472907"/>
                      <a:pt x="871842" y="471487"/>
                    </a:cubicBezTo>
                    <a:cubicBezTo>
                      <a:pt x="870458" y="470696"/>
                      <a:pt x="845727" y="466745"/>
                      <a:pt x="845648" y="466725"/>
                    </a:cubicBezTo>
                    <a:cubicBezTo>
                      <a:pt x="842516" y="465942"/>
                      <a:pt x="826935" y="459910"/>
                      <a:pt x="821836" y="459581"/>
                    </a:cubicBezTo>
                    <a:cubicBezTo>
                      <a:pt x="800434" y="458200"/>
                      <a:pt x="778973" y="457994"/>
                      <a:pt x="757542" y="457200"/>
                    </a:cubicBezTo>
                    <a:cubicBezTo>
                      <a:pt x="755161" y="455612"/>
                      <a:pt x="753013" y="453599"/>
                      <a:pt x="750398" y="452437"/>
                    </a:cubicBezTo>
                    <a:cubicBezTo>
                      <a:pt x="745811" y="450398"/>
                      <a:pt x="736111" y="447675"/>
                      <a:pt x="736111" y="447675"/>
                    </a:cubicBezTo>
                    <a:cubicBezTo>
                      <a:pt x="715646" y="434031"/>
                      <a:pt x="741533" y="450385"/>
                      <a:pt x="721823" y="440531"/>
                    </a:cubicBezTo>
                    <a:cubicBezTo>
                      <a:pt x="719263" y="439251"/>
                      <a:pt x="717294" y="436931"/>
                      <a:pt x="714679" y="435769"/>
                    </a:cubicBezTo>
                    <a:cubicBezTo>
                      <a:pt x="710092" y="433730"/>
                      <a:pt x="704569" y="433790"/>
                      <a:pt x="700392" y="431006"/>
                    </a:cubicBezTo>
                    <a:cubicBezTo>
                      <a:pt x="679914" y="417356"/>
                      <a:pt x="705826" y="433724"/>
                      <a:pt x="686104" y="423862"/>
                    </a:cubicBezTo>
                    <a:cubicBezTo>
                      <a:pt x="683545" y="422582"/>
                      <a:pt x="681591" y="420227"/>
                      <a:pt x="678961" y="419100"/>
                    </a:cubicBezTo>
                    <a:cubicBezTo>
                      <a:pt x="675953" y="417811"/>
                      <a:pt x="672571" y="417659"/>
                      <a:pt x="669436" y="416719"/>
                    </a:cubicBezTo>
                    <a:cubicBezTo>
                      <a:pt x="664627" y="415276"/>
                      <a:pt x="659911" y="413544"/>
                      <a:pt x="655148" y="411956"/>
                    </a:cubicBezTo>
                    <a:lnTo>
                      <a:pt x="648004" y="409575"/>
                    </a:lnTo>
                    <a:cubicBezTo>
                      <a:pt x="645623" y="407987"/>
                      <a:pt x="643421" y="406092"/>
                      <a:pt x="640861" y="404812"/>
                    </a:cubicBezTo>
                    <a:cubicBezTo>
                      <a:pt x="636861" y="402812"/>
                      <a:pt x="628004" y="401194"/>
                      <a:pt x="624192" y="400050"/>
                    </a:cubicBezTo>
                    <a:cubicBezTo>
                      <a:pt x="619383" y="398607"/>
                      <a:pt x="614886" y="395910"/>
                      <a:pt x="609904" y="395287"/>
                    </a:cubicBezTo>
                    <a:cubicBezTo>
                      <a:pt x="586063" y="392307"/>
                      <a:pt x="597166" y="393958"/>
                      <a:pt x="576567" y="390525"/>
                    </a:cubicBezTo>
                    <a:cubicBezTo>
                      <a:pt x="562279" y="391319"/>
                      <a:pt x="547949" y="391549"/>
                      <a:pt x="533704" y="392906"/>
                    </a:cubicBezTo>
                    <a:cubicBezTo>
                      <a:pt x="531206" y="393144"/>
                      <a:pt x="529011" y="394742"/>
                      <a:pt x="526561" y="395287"/>
                    </a:cubicBezTo>
                    <a:cubicBezTo>
                      <a:pt x="521848" y="396335"/>
                      <a:pt x="516986" y="396622"/>
                      <a:pt x="512273" y="397669"/>
                    </a:cubicBezTo>
                    <a:cubicBezTo>
                      <a:pt x="509823" y="398214"/>
                      <a:pt x="507543" y="399360"/>
                      <a:pt x="505129" y="400050"/>
                    </a:cubicBezTo>
                    <a:cubicBezTo>
                      <a:pt x="501982" y="400949"/>
                      <a:pt x="498779" y="401637"/>
                      <a:pt x="495604" y="402431"/>
                    </a:cubicBezTo>
                    <a:cubicBezTo>
                      <a:pt x="490842" y="405606"/>
                      <a:pt x="486747" y="410146"/>
                      <a:pt x="481317" y="411956"/>
                    </a:cubicBezTo>
                    <a:cubicBezTo>
                      <a:pt x="460958" y="418743"/>
                      <a:pt x="472011" y="416096"/>
                      <a:pt x="447979" y="419100"/>
                    </a:cubicBezTo>
                    <a:cubicBezTo>
                      <a:pt x="427342" y="418306"/>
                      <a:pt x="406679" y="418007"/>
                      <a:pt x="386067" y="416719"/>
                    </a:cubicBezTo>
                    <a:cubicBezTo>
                      <a:pt x="381248" y="416418"/>
                      <a:pt x="376404" y="415724"/>
                      <a:pt x="371779" y="414337"/>
                    </a:cubicBezTo>
                    <a:cubicBezTo>
                      <a:pt x="368379" y="413317"/>
                      <a:pt x="365517" y="410973"/>
                      <a:pt x="362254" y="409575"/>
                    </a:cubicBezTo>
                    <a:cubicBezTo>
                      <a:pt x="359947" y="408586"/>
                      <a:pt x="357492" y="407988"/>
                      <a:pt x="355111" y="407194"/>
                    </a:cubicBezTo>
                    <a:cubicBezTo>
                      <a:pt x="352730" y="405606"/>
                      <a:pt x="350527" y="403711"/>
                      <a:pt x="347967" y="402431"/>
                    </a:cubicBezTo>
                    <a:cubicBezTo>
                      <a:pt x="344941" y="400918"/>
                      <a:pt x="333840" y="398178"/>
                      <a:pt x="331298" y="397669"/>
                    </a:cubicBezTo>
                    <a:cubicBezTo>
                      <a:pt x="320323" y="395474"/>
                      <a:pt x="303341" y="393291"/>
                      <a:pt x="293198" y="392906"/>
                    </a:cubicBezTo>
                    <a:lnTo>
                      <a:pt x="128892" y="388144"/>
                    </a:lnTo>
                    <a:cubicBezTo>
                      <a:pt x="114149" y="385194"/>
                      <a:pt x="116429" y="387222"/>
                      <a:pt x="102698" y="376237"/>
                    </a:cubicBezTo>
                    <a:cubicBezTo>
                      <a:pt x="98729" y="373062"/>
                      <a:pt x="95614" y="368319"/>
                      <a:pt x="90792" y="366712"/>
                    </a:cubicBezTo>
                    <a:cubicBezTo>
                      <a:pt x="83224" y="364189"/>
                      <a:pt x="74942" y="364814"/>
                      <a:pt x="66979" y="364331"/>
                    </a:cubicBezTo>
                    <a:cubicBezTo>
                      <a:pt x="48739" y="363226"/>
                      <a:pt x="30467" y="362744"/>
                      <a:pt x="12211" y="361950"/>
                    </a:cubicBezTo>
                    <a:cubicBezTo>
                      <a:pt x="8242" y="361156"/>
                      <a:pt x="3166" y="362431"/>
                      <a:pt x="304" y="359569"/>
                    </a:cubicBezTo>
                    <a:cubicBezTo>
                      <a:pt x="-1471" y="357794"/>
                      <a:pt x="4998" y="357732"/>
                      <a:pt x="7448" y="357187"/>
                    </a:cubicBezTo>
                    <a:cubicBezTo>
                      <a:pt x="12161" y="356140"/>
                      <a:pt x="16973" y="355600"/>
                      <a:pt x="21736" y="354806"/>
                    </a:cubicBezTo>
                    <a:cubicBezTo>
                      <a:pt x="33642" y="346869"/>
                      <a:pt x="27291" y="352425"/>
                      <a:pt x="38404" y="335756"/>
                    </a:cubicBezTo>
                    <a:lnTo>
                      <a:pt x="43167" y="328612"/>
                    </a:lnTo>
                    <a:cubicBezTo>
                      <a:pt x="44754" y="326231"/>
                      <a:pt x="45548" y="323056"/>
                      <a:pt x="47929" y="321469"/>
                    </a:cubicBezTo>
                    <a:cubicBezTo>
                      <a:pt x="52692" y="318294"/>
                      <a:pt x="56787" y="313755"/>
                      <a:pt x="62217" y="311944"/>
                    </a:cubicBezTo>
                    <a:cubicBezTo>
                      <a:pt x="72728" y="308439"/>
                      <a:pt x="67116" y="310685"/>
                      <a:pt x="78886" y="304800"/>
                    </a:cubicBezTo>
                    <a:cubicBezTo>
                      <a:pt x="81267" y="302419"/>
                      <a:pt x="83442" y="299812"/>
                      <a:pt x="86029" y="297656"/>
                    </a:cubicBezTo>
                    <a:cubicBezTo>
                      <a:pt x="88228" y="295824"/>
                      <a:pt x="91149" y="294918"/>
                      <a:pt x="93173" y="292894"/>
                    </a:cubicBezTo>
                    <a:cubicBezTo>
                      <a:pt x="95197" y="290870"/>
                      <a:pt x="96348" y="288131"/>
                      <a:pt x="97936" y="285750"/>
                    </a:cubicBezTo>
                    <a:cubicBezTo>
                      <a:pt x="99523" y="279400"/>
                      <a:pt x="104285" y="273050"/>
                      <a:pt x="102698" y="266700"/>
                    </a:cubicBezTo>
                    <a:cubicBezTo>
                      <a:pt x="102183" y="264639"/>
                      <a:pt x="99454" y="252687"/>
                      <a:pt x="97936" y="250031"/>
                    </a:cubicBezTo>
                    <a:cubicBezTo>
                      <a:pt x="93864" y="242904"/>
                      <a:pt x="89277" y="238991"/>
                      <a:pt x="83648" y="233362"/>
                    </a:cubicBezTo>
                    <a:lnTo>
                      <a:pt x="78886" y="219075"/>
                    </a:lnTo>
                    <a:lnTo>
                      <a:pt x="76504" y="211931"/>
                    </a:lnTo>
                    <a:cubicBezTo>
                      <a:pt x="77298" y="190500"/>
                      <a:pt x="76820" y="168983"/>
                      <a:pt x="78886" y="147637"/>
                    </a:cubicBezTo>
                    <a:cubicBezTo>
                      <a:pt x="79228" y="144104"/>
                      <a:pt x="80760" y="140175"/>
                      <a:pt x="83648" y="138112"/>
                    </a:cubicBezTo>
                    <a:cubicBezTo>
                      <a:pt x="86941" y="135760"/>
                      <a:pt x="91531" y="136178"/>
                      <a:pt x="95554" y="135731"/>
                    </a:cubicBezTo>
                    <a:cubicBezTo>
                      <a:pt x="105840" y="134588"/>
                      <a:pt x="116192" y="134144"/>
                      <a:pt x="126511" y="133350"/>
                    </a:cubicBezTo>
                    <a:lnTo>
                      <a:pt x="140798" y="128587"/>
                    </a:lnTo>
                    <a:cubicBezTo>
                      <a:pt x="143179" y="127793"/>
                      <a:pt x="145853" y="127598"/>
                      <a:pt x="147942" y="126206"/>
                    </a:cubicBezTo>
                    <a:cubicBezTo>
                      <a:pt x="150323" y="124619"/>
                      <a:pt x="152526" y="122724"/>
                      <a:pt x="155086" y="121444"/>
                    </a:cubicBezTo>
                    <a:cubicBezTo>
                      <a:pt x="157331" y="120321"/>
                      <a:pt x="160035" y="120281"/>
                      <a:pt x="162229" y="119062"/>
                    </a:cubicBezTo>
                    <a:cubicBezTo>
                      <a:pt x="167233" y="116282"/>
                      <a:pt x="176517" y="109537"/>
                      <a:pt x="176517" y="109537"/>
                    </a:cubicBezTo>
                    <a:cubicBezTo>
                      <a:pt x="185666" y="95814"/>
                      <a:pt x="177747" y="109049"/>
                      <a:pt x="183661" y="95250"/>
                    </a:cubicBezTo>
                    <a:cubicBezTo>
                      <a:pt x="185059" y="91987"/>
                      <a:pt x="187105" y="89021"/>
                      <a:pt x="188423" y="85725"/>
                    </a:cubicBezTo>
                    <a:cubicBezTo>
                      <a:pt x="190287" y="81064"/>
                      <a:pt x="193186" y="71437"/>
                      <a:pt x="193186" y="71437"/>
                    </a:cubicBezTo>
                    <a:cubicBezTo>
                      <a:pt x="193931" y="63242"/>
                      <a:pt x="194162" y="45814"/>
                      <a:pt x="197948" y="35719"/>
                    </a:cubicBezTo>
                    <a:cubicBezTo>
                      <a:pt x="199194" y="32395"/>
                      <a:pt x="201393" y="29490"/>
                      <a:pt x="202711" y="26194"/>
                    </a:cubicBezTo>
                    <a:cubicBezTo>
                      <a:pt x="204575" y="21533"/>
                      <a:pt x="205886" y="16669"/>
                      <a:pt x="207473" y="11906"/>
                    </a:cubicBezTo>
                    <a:cubicBezTo>
                      <a:pt x="208267" y="9525"/>
                      <a:pt x="207344" y="4762"/>
                      <a:pt x="209854" y="4762"/>
                    </a:cubicBezTo>
                    <a:lnTo>
                      <a:pt x="207473"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2" name="Freeform 261"/>
              <p:cNvSpPr/>
              <p:nvPr/>
            </p:nvSpPr>
            <p:spPr>
              <a:xfrm>
                <a:off x="4734325" y="4852008"/>
                <a:ext cx="342900" cy="104775"/>
              </a:xfrm>
              <a:custGeom>
                <a:avLst/>
                <a:gdLst>
                  <a:gd name="connsiteX0" fmla="*/ 50006 w 342900"/>
                  <a:gd name="connsiteY0" fmla="*/ 9525 h 104775"/>
                  <a:gd name="connsiteX1" fmla="*/ 38100 w 342900"/>
                  <a:gd name="connsiteY1" fmla="*/ 11906 h 104775"/>
                  <a:gd name="connsiteX2" fmla="*/ 4763 w 342900"/>
                  <a:gd name="connsiteY2" fmla="*/ 14287 h 104775"/>
                  <a:gd name="connsiteX3" fmla="*/ 0 w 342900"/>
                  <a:gd name="connsiteY3" fmla="*/ 28575 h 104775"/>
                  <a:gd name="connsiteX4" fmla="*/ 2381 w 342900"/>
                  <a:gd name="connsiteY4" fmla="*/ 42862 h 104775"/>
                  <a:gd name="connsiteX5" fmla="*/ 7144 w 342900"/>
                  <a:gd name="connsiteY5" fmla="*/ 57150 h 104775"/>
                  <a:gd name="connsiteX6" fmla="*/ 9525 w 342900"/>
                  <a:gd name="connsiteY6" fmla="*/ 64294 h 104775"/>
                  <a:gd name="connsiteX7" fmla="*/ 16669 w 342900"/>
                  <a:gd name="connsiteY7" fmla="*/ 78581 h 104775"/>
                  <a:gd name="connsiteX8" fmla="*/ 23813 w 342900"/>
                  <a:gd name="connsiteY8" fmla="*/ 80962 h 104775"/>
                  <a:gd name="connsiteX9" fmla="*/ 66675 w 342900"/>
                  <a:gd name="connsiteY9" fmla="*/ 83344 h 104775"/>
                  <a:gd name="connsiteX10" fmla="*/ 80963 w 342900"/>
                  <a:gd name="connsiteY10" fmla="*/ 90487 h 104775"/>
                  <a:gd name="connsiteX11" fmla="*/ 107156 w 342900"/>
                  <a:gd name="connsiteY11" fmla="*/ 97631 h 104775"/>
                  <a:gd name="connsiteX12" fmla="*/ 152400 w 342900"/>
                  <a:gd name="connsiteY12" fmla="*/ 100012 h 104775"/>
                  <a:gd name="connsiteX13" fmla="*/ 171450 w 342900"/>
                  <a:gd name="connsiteY13" fmla="*/ 102394 h 104775"/>
                  <a:gd name="connsiteX14" fmla="*/ 185738 w 342900"/>
                  <a:gd name="connsiteY14" fmla="*/ 104775 h 104775"/>
                  <a:gd name="connsiteX15" fmla="*/ 200025 w 342900"/>
                  <a:gd name="connsiteY15" fmla="*/ 102394 h 104775"/>
                  <a:gd name="connsiteX16" fmla="*/ 207169 w 342900"/>
                  <a:gd name="connsiteY16" fmla="*/ 88106 h 104775"/>
                  <a:gd name="connsiteX17" fmla="*/ 219075 w 342900"/>
                  <a:gd name="connsiteY17" fmla="*/ 73819 h 104775"/>
                  <a:gd name="connsiteX18" fmla="*/ 245269 w 342900"/>
                  <a:gd name="connsiteY18" fmla="*/ 76200 h 104775"/>
                  <a:gd name="connsiteX19" fmla="*/ 252413 w 342900"/>
                  <a:gd name="connsiteY19" fmla="*/ 78581 h 104775"/>
                  <a:gd name="connsiteX20" fmla="*/ 269081 w 342900"/>
                  <a:gd name="connsiteY20" fmla="*/ 76200 h 104775"/>
                  <a:gd name="connsiteX21" fmla="*/ 276225 w 342900"/>
                  <a:gd name="connsiteY21" fmla="*/ 69056 h 104775"/>
                  <a:gd name="connsiteX22" fmla="*/ 280988 w 342900"/>
                  <a:gd name="connsiteY22" fmla="*/ 54769 h 104775"/>
                  <a:gd name="connsiteX23" fmla="*/ 288131 w 342900"/>
                  <a:gd name="connsiteY23" fmla="*/ 50006 h 104775"/>
                  <a:gd name="connsiteX24" fmla="*/ 302419 w 342900"/>
                  <a:gd name="connsiteY24" fmla="*/ 45244 h 104775"/>
                  <a:gd name="connsiteX25" fmla="*/ 342900 w 342900"/>
                  <a:gd name="connsiteY25" fmla="*/ 40481 h 104775"/>
                  <a:gd name="connsiteX26" fmla="*/ 338138 w 342900"/>
                  <a:gd name="connsiteY26" fmla="*/ 33337 h 104775"/>
                  <a:gd name="connsiteX27" fmla="*/ 330994 w 342900"/>
                  <a:gd name="connsiteY27" fmla="*/ 30956 h 104775"/>
                  <a:gd name="connsiteX28" fmla="*/ 316706 w 342900"/>
                  <a:gd name="connsiteY28" fmla="*/ 23812 h 104775"/>
                  <a:gd name="connsiteX29" fmla="*/ 304800 w 342900"/>
                  <a:gd name="connsiteY29" fmla="*/ 9525 h 104775"/>
                  <a:gd name="connsiteX30" fmla="*/ 297656 w 342900"/>
                  <a:gd name="connsiteY30" fmla="*/ 7144 h 104775"/>
                  <a:gd name="connsiteX31" fmla="*/ 283369 w 342900"/>
                  <a:gd name="connsiteY31" fmla="*/ 0 h 104775"/>
                  <a:gd name="connsiteX32" fmla="*/ 276225 w 342900"/>
                  <a:gd name="connsiteY32" fmla="*/ 2381 h 104775"/>
                  <a:gd name="connsiteX33" fmla="*/ 269081 w 342900"/>
                  <a:gd name="connsiteY33" fmla="*/ 7144 h 104775"/>
                  <a:gd name="connsiteX34" fmla="*/ 266700 w 342900"/>
                  <a:gd name="connsiteY34" fmla="*/ 14287 h 104775"/>
                  <a:gd name="connsiteX35" fmla="*/ 254794 w 342900"/>
                  <a:gd name="connsiteY35" fmla="*/ 28575 h 104775"/>
                  <a:gd name="connsiteX36" fmla="*/ 245269 w 342900"/>
                  <a:gd name="connsiteY36" fmla="*/ 30956 h 104775"/>
                  <a:gd name="connsiteX37" fmla="*/ 230981 w 342900"/>
                  <a:gd name="connsiteY37" fmla="*/ 28575 h 104775"/>
                  <a:gd name="connsiteX38" fmla="*/ 202406 w 342900"/>
                  <a:gd name="connsiteY38" fmla="*/ 14287 h 104775"/>
                  <a:gd name="connsiteX39" fmla="*/ 114300 w 342900"/>
                  <a:gd name="connsiteY39" fmla="*/ 11906 h 104775"/>
                  <a:gd name="connsiteX40" fmla="*/ 107156 w 342900"/>
                  <a:gd name="connsiteY40" fmla="*/ 9525 h 104775"/>
                  <a:gd name="connsiteX41" fmla="*/ 69056 w 342900"/>
                  <a:gd name="connsiteY41" fmla="*/ 4762 h 104775"/>
                  <a:gd name="connsiteX42" fmla="*/ 57150 w 342900"/>
                  <a:gd name="connsiteY42" fmla="*/ 2381 h 104775"/>
                  <a:gd name="connsiteX43" fmla="*/ 50006 w 342900"/>
                  <a:gd name="connsiteY43" fmla="*/ 95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900" h="104775">
                    <a:moveTo>
                      <a:pt x="50006" y="9525"/>
                    </a:moveTo>
                    <a:cubicBezTo>
                      <a:pt x="46831" y="11112"/>
                      <a:pt x="42125" y="11482"/>
                      <a:pt x="38100" y="11906"/>
                    </a:cubicBezTo>
                    <a:cubicBezTo>
                      <a:pt x="27021" y="13072"/>
                      <a:pt x="14970" y="9822"/>
                      <a:pt x="4763" y="14287"/>
                    </a:cubicBezTo>
                    <a:cubicBezTo>
                      <a:pt x="164" y="16299"/>
                      <a:pt x="0" y="28575"/>
                      <a:pt x="0" y="28575"/>
                    </a:cubicBezTo>
                    <a:cubicBezTo>
                      <a:pt x="794" y="33337"/>
                      <a:pt x="1210" y="38178"/>
                      <a:pt x="2381" y="42862"/>
                    </a:cubicBezTo>
                    <a:cubicBezTo>
                      <a:pt x="3599" y="47732"/>
                      <a:pt x="5556" y="52387"/>
                      <a:pt x="7144" y="57150"/>
                    </a:cubicBezTo>
                    <a:lnTo>
                      <a:pt x="9525" y="64294"/>
                    </a:lnTo>
                    <a:cubicBezTo>
                      <a:pt x="11094" y="69000"/>
                      <a:pt x="12472" y="75224"/>
                      <a:pt x="16669" y="78581"/>
                    </a:cubicBezTo>
                    <a:cubicBezTo>
                      <a:pt x="18629" y="80149"/>
                      <a:pt x="21314" y="80724"/>
                      <a:pt x="23813" y="80962"/>
                    </a:cubicBezTo>
                    <a:cubicBezTo>
                      <a:pt x="38058" y="82319"/>
                      <a:pt x="52388" y="82550"/>
                      <a:pt x="66675" y="83344"/>
                    </a:cubicBezTo>
                    <a:cubicBezTo>
                      <a:pt x="92715" y="92023"/>
                      <a:pt x="53282" y="78184"/>
                      <a:pt x="80963" y="90487"/>
                    </a:cubicBezTo>
                    <a:cubicBezTo>
                      <a:pt x="86771" y="93069"/>
                      <a:pt x="100259" y="97056"/>
                      <a:pt x="107156" y="97631"/>
                    </a:cubicBezTo>
                    <a:cubicBezTo>
                      <a:pt x="122206" y="98885"/>
                      <a:pt x="137319" y="99218"/>
                      <a:pt x="152400" y="100012"/>
                    </a:cubicBezTo>
                    <a:lnTo>
                      <a:pt x="171450" y="102394"/>
                    </a:lnTo>
                    <a:cubicBezTo>
                      <a:pt x="176230" y="103077"/>
                      <a:pt x="180910" y="104775"/>
                      <a:pt x="185738" y="104775"/>
                    </a:cubicBezTo>
                    <a:cubicBezTo>
                      <a:pt x="190566" y="104775"/>
                      <a:pt x="195263" y="103188"/>
                      <a:pt x="200025" y="102394"/>
                    </a:cubicBezTo>
                    <a:cubicBezTo>
                      <a:pt x="213669" y="81929"/>
                      <a:pt x="197315" y="107816"/>
                      <a:pt x="207169" y="88106"/>
                    </a:cubicBezTo>
                    <a:cubicBezTo>
                      <a:pt x="210485" y="81473"/>
                      <a:pt x="213807" y="79087"/>
                      <a:pt x="219075" y="73819"/>
                    </a:cubicBezTo>
                    <a:cubicBezTo>
                      <a:pt x="227806" y="74613"/>
                      <a:pt x="236590" y="74960"/>
                      <a:pt x="245269" y="76200"/>
                    </a:cubicBezTo>
                    <a:cubicBezTo>
                      <a:pt x="247754" y="76555"/>
                      <a:pt x="249903" y="78581"/>
                      <a:pt x="252413" y="78581"/>
                    </a:cubicBezTo>
                    <a:cubicBezTo>
                      <a:pt x="258025" y="78581"/>
                      <a:pt x="263525" y="76994"/>
                      <a:pt x="269081" y="76200"/>
                    </a:cubicBezTo>
                    <a:cubicBezTo>
                      <a:pt x="271462" y="73819"/>
                      <a:pt x="274589" y="72000"/>
                      <a:pt x="276225" y="69056"/>
                    </a:cubicBezTo>
                    <a:cubicBezTo>
                      <a:pt x="278663" y="64668"/>
                      <a:pt x="276811" y="57554"/>
                      <a:pt x="280988" y="54769"/>
                    </a:cubicBezTo>
                    <a:cubicBezTo>
                      <a:pt x="283369" y="53181"/>
                      <a:pt x="285516" y="51168"/>
                      <a:pt x="288131" y="50006"/>
                    </a:cubicBezTo>
                    <a:cubicBezTo>
                      <a:pt x="292719" y="47967"/>
                      <a:pt x="297656" y="46832"/>
                      <a:pt x="302419" y="45244"/>
                    </a:cubicBezTo>
                    <a:cubicBezTo>
                      <a:pt x="320138" y="39338"/>
                      <a:pt x="307031" y="43043"/>
                      <a:pt x="342900" y="40481"/>
                    </a:cubicBezTo>
                    <a:cubicBezTo>
                      <a:pt x="341313" y="38100"/>
                      <a:pt x="340373" y="35125"/>
                      <a:pt x="338138" y="33337"/>
                    </a:cubicBezTo>
                    <a:cubicBezTo>
                      <a:pt x="336178" y="31769"/>
                      <a:pt x="333239" y="32078"/>
                      <a:pt x="330994" y="30956"/>
                    </a:cubicBezTo>
                    <a:cubicBezTo>
                      <a:pt x="312521" y="21721"/>
                      <a:pt x="334670" y="29802"/>
                      <a:pt x="316706" y="23812"/>
                    </a:cubicBezTo>
                    <a:cubicBezTo>
                      <a:pt x="313192" y="18541"/>
                      <a:pt x="310300" y="13192"/>
                      <a:pt x="304800" y="9525"/>
                    </a:cubicBezTo>
                    <a:cubicBezTo>
                      <a:pt x="302711" y="8133"/>
                      <a:pt x="300037" y="7938"/>
                      <a:pt x="297656" y="7144"/>
                    </a:cubicBezTo>
                    <a:cubicBezTo>
                      <a:pt x="294043" y="4735"/>
                      <a:pt x="288300" y="0"/>
                      <a:pt x="283369" y="0"/>
                    </a:cubicBezTo>
                    <a:cubicBezTo>
                      <a:pt x="280859" y="0"/>
                      <a:pt x="278606" y="1587"/>
                      <a:pt x="276225" y="2381"/>
                    </a:cubicBezTo>
                    <a:cubicBezTo>
                      <a:pt x="273844" y="3969"/>
                      <a:pt x="270869" y="4909"/>
                      <a:pt x="269081" y="7144"/>
                    </a:cubicBezTo>
                    <a:cubicBezTo>
                      <a:pt x="267513" y="9104"/>
                      <a:pt x="267822" y="12042"/>
                      <a:pt x="266700" y="14287"/>
                    </a:cubicBezTo>
                    <a:cubicBezTo>
                      <a:pt x="264727" y="18233"/>
                      <a:pt x="258482" y="26468"/>
                      <a:pt x="254794" y="28575"/>
                    </a:cubicBezTo>
                    <a:cubicBezTo>
                      <a:pt x="251952" y="30199"/>
                      <a:pt x="248444" y="30162"/>
                      <a:pt x="245269" y="30956"/>
                    </a:cubicBezTo>
                    <a:cubicBezTo>
                      <a:pt x="240506" y="30162"/>
                      <a:pt x="235438" y="30432"/>
                      <a:pt x="230981" y="28575"/>
                    </a:cubicBezTo>
                    <a:cubicBezTo>
                      <a:pt x="218342" y="23309"/>
                      <a:pt x="217014" y="14682"/>
                      <a:pt x="202406" y="14287"/>
                    </a:cubicBezTo>
                    <a:lnTo>
                      <a:pt x="114300" y="11906"/>
                    </a:lnTo>
                    <a:cubicBezTo>
                      <a:pt x="111919" y="11112"/>
                      <a:pt x="109606" y="10069"/>
                      <a:pt x="107156" y="9525"/>
                    </a:cubicBezTo>
                    <a:cubicBezTo>
                      <a:pt x="92356" y="6237"/>
                      <a:pt x="85518" y="6957"/>
                      <a:pt x="69056" y="4762"/>
                    </a:cubicBezTo>
                    <a:cubicBezTo>
                      <a:pt x="65044" y="4227"/>
                      <a:pt x="61194" y="2537"/>
                      <a:pt x="57150" y="2381"/>
                    </a:cubicBezTo>
                    <a:cubicBezTo>
                      <a:pt x="40494" y="1740"/>
                      <a:pt x="53181" y="7938"/>
                      <a:pt x="50006" y="9525"/>
                    </a:cubicBezTo>
                    <a:close/>
                  </a:path>
                </a:pathLst>
              </a:custGeom>
              <a:grpFill/>
              <a:ln w="25400" cap="flat" cmpd="sng" algn="ctr">
                <a:solidFill>
                  <a:srgbClr val="1F497D">
                    <a:lumMod val="75000"/>
                  </a:srgbClr>
                </a:solidFill>
                <a:prstDash val="solid"/>
              </a:ln>
              <a:effectLst/>
            </p:spPr>
            <p:txBody>
              <a:bodyPr rtlCol="0" anchor="ctr"/>
              <a:lstStyle/>
              <a:p>
                <a:pPr marL="342900" indent="-342900" algn="ctr" defTabSz="914400">
                  <a:buFont typeface="+mj-lt"/>
                  <a:buAutoNum type="arabicPeriod"/>
                  <a:defRPr/>
                </a:pPr>
                <a:endParaRPr lang="id-ID" sz="1800" kern="0">
                  <a:solidFill>
                    <a:sysClr val="window" lastClr="FFFFFF"/>
                  </a:solidFill>
                  <a:latin typeface="Calibri"/>
                </a:endParaRPr>
              </a:p>
            </p:txBody>
          </p:sp>
          <p:sp>
            <p:nvSpPr>
              <p:cNvPr id="263" name="Freeform 262"/>
              <p:cNvSpPr/>
              <p:nvPr/>
            </p:nvSpPr>
            <p:spPr>
              <a:xfrm>
                <a:off x="5164866" y="5159189"/>
                <a:ext cx="305265" cy="157163"/>
              </a:xfrm>
              <a:custGeom>
                <a:avLst/>
                <a:gdLst>
                  <a:gd name="connsiteX0" fmla="*/ 38565 w 305265"/>
                  <a:gd name="connsiteY0" fmla="*/ 16669 h 157163"/>
                  <a:gd name="connsiteX1" fmla="*/ 26659 w 305265"/>
                  <a:gd name="connsiteY1" fmla="*/ 14288 h 157163"/>
                  <a:gd name="connsiteX2" fmla="*/ 19515 w 305265"/>
                  <a:gd name="connsiteY2" fmla="*/ 11906 h 157163"/>
                  <a:gd name="connsiteX3" fmla="*/ 2847 w 305265"/>
                  <a:gd name="connsiteY3" fmla="*/ 14288 h 157163"/>
                  <a:gd name="connsiteX4" fmla="*/ 2847 w 305265"/>
                  <a:gd name="connsiteY4" fmla="*/ 40481 h 157163"/>
                  <a:gd name="connsiteX5" fmla="*/ 5228 w 305265"/>
                  <a:gd name="connsiteY5" fmla="*/ 47625 h 157163"/>
                  <a:gd name="connsiteX6" fmla="*/ 12372 w 305265"/>
                  <a:gd name="connsiteY6" fmla="*/ 52388 h 157163"/>
                  <a:gd name="connsiteX7" fmla="*/ 17134 w 305265"/>
                  <a:gd name="connsiteY7" fmla="*/ 59531 h 157163"/>
                  <a:gd name="connsiteX8" fmla="*/ 31422 w 305265"/>
                  <a:gd name="connsiteY8" fmla="*/ 66675 h 157163"/>
                  <a:gd name="connsiteX9" fmla="*/ 38565 w 305265"/>
                  <a:gd name="connsiteY9" fmla="*/ 71438 h 157163"/>
                  <a:gd name="connsiteX10" fmla="*/ 48090 w 305265"/>
                  <a:gd name="connsiteY10" fmla="*/ 73819 h 157163"/>
                  <a:gd name="connsiteX11" fmla="*/ 74284 w 305265"/>
                  <a:gd name="connsiteY11" fmla="*/ 78581 h 157163"/>
                  <a:gd name="connsiteX12" fmla="*/ 83809 w 305265"/>
                  <a:gd name="connsiteY12" fmla="*/ 80963 h 157163"/>
                  <a:gd name="connsiteX13" fmla="*/ 98097 w 305265"/>
                  <a:gd name="connsiteY13" fmla="*/ 90488 h 157163"/>
                  <a:gd name="connsiteX14" fmla="*/ 112384 w 305265"/>
                  <a:gd name="connsiteY14" fmla="*/ 100013 h 157163"/>
                  <a:gd name="connsiteX15" fmla="*/ 124290 w 305265"/>
                  <a:gd name="connsiteY15" fmla="*/ 111919 h 157163"/>
                  <a:gd name="connsiteX16" fmla="*/ 136197 w 305265"/>
                  <a:gd name="connsiteY16" fmla="*/ 123825 h 157163"/>
                  <a:gd name="connsiteX17" fmla="*/ 148103 w 305265"/>
                  <a:gd name="connsiteY17" fmla="*/ 135731 h 157163"/>
                  <a:gd name="connsiteX18" fmla="*/ 160009 w 305265"/>
                  <a:gd name="connsiteY18" fmla="*/ 150019 h 157163"/>
                  <a:gd name="connsiteX19" fmla="*/ 174297 w 305265"/>
                  <a:gd name="connsiteY19" fmla="*/ 157163 h 157163"/>
                  <a:gd name="connsiteX20" fmla="*/ 210015 w 305265"/>
                  <a:gd name="connsiteY20" fmla="*/ 154781 h 157163"/>
                  <a:gd name="connsiteX21" fmla="*/ 224303 w 305265"/>
                  <a:gd name="connsiteY21" fmla="*/ 133350 h 157163"/>
                  <a:gd name="connsiteX22" fmla="*/ 238590 w 305265"/>
                  <a:gd name="connsiteY22" fmla="*/ 123825 h 157163"/>
                  <a:gd name="connsiteX23" fmla="*/ 255259 w 305265"/>
                  <a:gd name="connsiteY23" fmla="*/ 111919 h 157163"/>
                  <a:gd name="connsiteX24" fmla="*/ 283834 w 305265"/>
                  <a:gd name="connsiteY24" fmla="*/ 107156 h 157163"/>
                  <a:gd name="connsiteX25" fmla="*/ 298122 w 305265"/>
                  <a:gd name="connsiteY25" fmla="*/ 97631 h 157163"/>
                  <a:gd name="connsiteX26" fmla="*/ 305265 w 305265"/>
                  <a:gd name="connsiteY26" fmla="*/ 92869 h 157163"/>
                  <a:gd name="connsiteX27" fmla="*/ 295740 w 305265"/>
                  <a:gd name="connsiteY27" fmla="*/ 73819 h 157163"/>
                  <a:gd name="connsiteX28" fmla="*/ 290978 w 305265"/>
                  <a:gd name="connsiteY28" fmla="*/ 66675 h 157163"/>
                  <a:gd name="connsiteX29" fmla="*/ 276690 w 305265"/>
                  <a:gd name="connsiteY29" fmla="*/ 57150 h 157163"/>
                  <a:gd name="connsiteX30" fmla="*/ 269547 w 305265"/>
                  <a:gd name="connsiteY30" fmla="*/ 52388 h 157163"/>
                  <a:gd name="connsiteX31" fmla="*/ 252878 w 305265"/>
                  <a:gd name="connsiteY31" fmla="*/ 30956 h 157163"/>
                  <a:gd name="connsiteX32" fmla="*/ 238590 w 305265"/>
                  <a:gd name="connsiteY32" fmla="*/ 26194 h 157163"/>
                  <a:gd name="connsiteX33" fmla="*/ 221922 w 305265"/>
                  <a:gd name="connsiteY33" fmla="*/ 19050 h 157163"/>
                  <a:gd name="connsiteX34" fmla="*/ 198109 w 305265"/>
                  <a:gd name="connsiteY34" fmla="*/ 2381 h 157163"/>
                  <a:gd name="connsiteX35" fmla="*/ 186203 w 305265"/>
                  <a:gd name="connsiteY35" fmla="*/ 0 h 157163"/>
                  <a:gd name="connsiteX36" fmla="*/ 152865 w 305265"/>
                  <a:gd name="connsiteY36" fmla="*/ 2381 h 157163"/>
                  <a:gd name="connsiteX37" fmla="*/ 136197 w 305265"/>
                  <a:gd name="connsiteY37" fmla="*/ 21431 h 157163"/>
                  <a:gd name="connsiteX38" fmla="*/ 121909 w 305265"/>
                  <a:gd name="connsiteY38" fmla="*/ 28575 h 157163"/>
                  <a:gd name="connsiteX39" fmla="*/ 83809 w 305265"/>
                  <a:gd name="connsiteY39" fmla="*/ 26194 h 157163"/>
                  <a:gd name="connsiteX40" fmla="*/ 69522 w 305265"/>
                  <a:gd name="connsiteY40" fmla="*/ 19050 h 157163"/>
                  <a:gd name="connsiteX41" fmla="*/ 38565 w 305265"/>
                  <a:gd name="connsiteY41" fmla="*/ 16669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5265" h="157163">
                    <a:moveTo>
                      <a:pt x="38565" y="16669"/>
                    </a:moveTo>
                    <a:cubicBezTo>
                      <a:pt x="31421" y="15875"/>
                      <a:pt x="30585" y="15270"/>
                      <a:pt x="26659" y="14288"/>
                    </a:cubicBezTo>
                    <a:cubicBezTo>
                      <a:pt x="24224" y="13679"/>
                      <a:pt x="22025" y="11906"/>
                      <a:pt x="19515" y="11906"/>
                    </a:cubicBezTo>
                    <a:cubicBezTo>
                      <a:pt x="13903" y="11906"/>
                      <a:pt x="8403" y="13494"/>
                      <a:pt x="2847" y="14288"/>
                    </a:cubicBezTo>
                    <a:cubicBezTo>
                      <a:pt x="-1249" y="26571"/>
                      <a:pt x="-638" y="21315"/>
                      <a:pt x="2847" y="40481"/>
                    </a:cubicBezTo>
                    <a:cubicBezTo>
                      <a:pt x="3296" y="42951"/>
                      <a:pt x="3660" y="45665"/>
                      <a:pt x="5228" y="47625"/>
                    </a:cubicBezTo>
                    <a:cubicBezTo>
                      <a:pt x="7016" y="49860"/>
                      <a:pt x="9991" y="50800"/>
                      <a:pt x="12372" y="52388"/>
                    </a:cubicBezTo>
                    <a:cubicBezTo>
                      <a:pt x="13959" y="54769"/>
                      <a:pt x="15111" y="57508"/>
                      <a:pt x="17134" y="59531"/>
                    </a:cubicBezTo>
                    <a:cubicBezTo>
                      <a:pt x="21751" y="64148"/>
                      <a:pt x="25610" y="64738"/>
                      <a:pt x="31422" y="66675"/>
                    </a:cubicBezTo>
                    <a:cubicBezTo>
                      <a:pt x="33803" y="68263"/>
                      <a:pt x="35935" y="70311"/>
                      <a:pt x="38565" y="71438"/>
                    </a:cubicBezTo>
                    <a:cubicBezTo>
                      <a:pt x="41573" y="72727"/>
                      <a:pt x="44895" y="73109"/>
                      <a:pt x="48090" y="73819"/>
                    </a:cubicBezTo>
                    <a:cubicBezTo>
                      <a:pt x="71117" y="78935"/>
                      <a:pt x="48388" y="73401"/>
                      <a:pt x="74284" y="78581"/>
                    </a:cubicBezTo>
                    <a:cubicBezTo>
                      <a:pt x="77493" y="79223"/>
                      <a:pt x="80634" y="80169"/>
                      <a:pt x="83809" y="80963"/>
                    </a:cubicBezTo>
                    <a:cubicBezTo>
                      <a:pt x="88572" y="84138"/>
                      <a:pt x="94050" y="86441"/>
                      <a:pt x="98097" y="90488"/>
                    </a:cubicBezTo>
                    <a:cubicBezTo>
                      <a:pt x="107015" y="99406"/>
                      <a:pt x="102046" y="96566"/>
                      <a:pt x="112384" y="100013"/>
                    </a:cubicBezTo>
                    <a:cubicBezTo>
                      <a:pt x="125088" y="119065"/>
                      <a:pt x="108413" y="96040"/>
                      <a:pt x="124290" y="111919"/>
                    </a:cubicBezTo>
                    <a:cubicBezTo>
                      <a:pt x="140158" y="127788"/>
                      <a:pt x="117155" y="111132"/>
                      <a:pt x="136197" y="123825"/>
                    </a:cubicBezTo>
                    <a:cubicBezTo>
                      <a:pt x="144927" y="136922"/>
                      <a:pt x="136197" y="125810"/>
                      <a:pt x="148103" y="135731"/>
                    </a:cubicBezTo>
                    <a:cubicBezTo>
                      <a:pt x="171511" y="155237"/>
                      <a:pt x="141277" y="131287"/>
                      <a:pt x="160009" y="150019"/>
                    </a:cubicBezTo>
                    <a:cubicBezTo>
                      <a:pt x="164623" y="154633"/>
                      <a:pt x="168489" y="155226"/>
                      <a:pt x="174297" y="157163"/>
                    </a:cubicBezTo>
                    <a:lnTo>
                      <a:pt x="210015" y="154781"/>
                    </a:lnTo>
                    <a:cubicBezTo>
                      <a:pt x="223317" y="149880"/>
                      <a:pt x="215270" y="139372"/>
                      <a:pt x="224303" y="133350"/>
                    </a:cubicBezTo>
                    <a:lnTo>
                      <a:pt x="238590" y="123825"/>
                    </a:lnTo>
                    <a:cubicBezTo>
                      <a:pt x="242070" y="113389"/>
                      <a:pt x="239571" y="114534"/>
                      <a:pt x="255259" y="111919"/>
                    </a:cubicBezTo>
                    <a:lnTo>
                      <a:pt x="283834" y="107156"/>
                    </a:lnTo>
                    <a:lnTo>
                      <a:pt x="298122" y="97631"/>
                    </a:lnTo>
                    <a:lnTo>
                      <a:pt x="305265" y="92869"/>
                    </a:lnTo>
                    <a:cubicBezTo>
                      <a:pt x="301158" y="68224"/>
                      <a:pt x="307646" y="85725"/>
                      <a:pt x="295740" y="73819"/>
                    </a:cubicBezTo>
                    <a:cubicBezTo>
                      <a:pt x="293716" y="71795"/>
                      <a:pt x="293132" y="68560"/>
                      <a:pt x="290978" y="66675"/>
                    </a:cubicBezTo>
                    <a:cubicBezTo>
                      <a:pt x="286670" y="62906"/>
                      <a:pt x="281453" y="60325"/>
                      <a:pt x="276690" y="57150"/>
                    </a:cubicBezTo>
                    <a:lnTo>
                      <a:pt x="269547" y="52388"/>
                    </a:lnTo>
                    <a:cubicBezTo>
                      <a:pt x="267105" y="48725"/>
                      <a:pt x="258803" y="34247"/>
                      <a:pt x="252878" y="30956"/>
                    </a:cubicBezTo>
                    <a:cubicBezTo>
                      <a:pt x="248489" y="28518"/>
                      <a:pt x="243080" y="28439"/>
                      <a:pt x="238590" y="26194"/>
                    </a:cubicBezTo>
                    <a:cubicBezTo>
                      <a:pt x="226820" y="20308"/>
                      <a:pt x="232433" y="22554"/>
                      <a:pt x="221922" y="19050"/>
                    </a:cubicBezTo>
                    <a:cubicBezTo>
                      <a:pt x="218166" y="16233"/>
                      <a:pt x="200776" y="2914"/>
                      <a:pt x="198109" y="2381"/>
                    </a:cubicBezTo>
                    <a:lnTo>
                      <a:pt x="186203" y="0"/>
                    </a:lnTo>
                    <a:cubicBezTo>
                      <a:pt x="175090" y="794"/>
                      <a:pt x="163836" y="445"/>
                      <a:pt x="152865" y="2381"/>
                    </a:cubicBezTo>
                    <a:cubicBezTo>
                      <a:pt x="143424" y="4047"/>
                      <a:pt x="142382" y="17307"/>
                      <a:pt x="136197" y="21431"/>
                    </a:cubicBezTo>
                    <a:cubicBezTo>
                      <a:pt x="126965" y="27586"/>
                      <a:pt x="131768" y="25289"/>
                      <a:pt x="121909" y="28575"/>
                    </a:cubicBezTo>
                    <a:cubicBezTo>
                      <a:pt x="109209" y="27781"/>
                      <a:pt x="96464" y="27526"/>
                      <a:pt x="83809" y="26194"/>
                    </a:cubicBezTo>
                    <a:cubicBezTo>
                      <a:pt x="75270" y="25295"/>
                      <a:pt x="77248" y="22484"/>
                      <a:pt x="69522" y="19050"/>
                    </a:cubicBezTo>
                    <a:cubicBezTo>
                      <a:pt x="54879" y="12542"/>
                      <a:pt x="45709" y="17463"/>
                      <a:pt x="38565" y="166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4" name="Freeform 263"/>
              <p:cNvSpPr/>
              <p:nvPr/>
            </p:nvSpPr>
            <p:spPr>
              <a:xfrm>
                <a:off x="5493820" y="5190145"/>
                <a:ext cx="231261" cy="180863"/>
              </a:xfrm>
              <a:custGeom>
                <a:avLst/>
                <a:gdLst>
                  <a:gd name="connsiteX0" fmla="*/ 102518 w 231261"/>
                  <a:gd name="connsiteY0" fmla="*/ 4763 h 180863"/>
                  <a:gd name="connsiteX1" fmla="*/ 90611 w 231261"/>
                  <a:gd name="connsiteY1" fmla="*/ 9525 h 180863"/>
                  <a:gd name="connsiteX2" fmla="*/ 76324 w 231261"/>
                  <a:gd name="connsiteY2" fmla="*/ 26194 h 180863"/>
                  <a:gd name="connsiteX3" fmla="*/ 64418 w 231261"/>
                  <a:gd name="connsiteY3" fmla="*/ 40482 h 180863"/>
                  <a:gd name="connsiteX4" fmla="*/ 59655 w 231261"/>
                  <a:gd name="connsiteY4" fmla="*/ 54769 h 180863"/>
                  <a:gd name="connsiteX5" fmla="*/ 54893 w 231261"/>
                  <a:gd name="connsiteY5" fmla="*/ 61913 h 180863"/>
                  <a:gd name="connsiteX6" fmla="*/ 50130 w 231261"/>
                  <a:gd name="connsiteY6" fmla="*/ 76200 h 180863"/>
                  <a:gd name="connsiteX7" fmla="*/ 52511 w 231261"/>
                  <a:gd name="connsiteY7" fmla="*/ 102394 h 180863"/>
                  <a:gd name="connsiteX8" fmla="*/ 57274 w 231261"/>
                  <a:gd name="connsiteY8" fmla="*/ 109538 h 180863"/>
                  <a:gd name="connsiteX9" fmla="*/ 47749 w 231261"/>
                  <a:gd name="connsiteY9" fmla="*/ 140494 h 180863"/>
                  <a:gd name="connsiteX10" fmla="*/ 12030 w 231261"/>
                  <a:gd name="connsiteY10" fmla="*/ 142875 h 180863"/>
                  <a:gd name="connsiteX11" fmla="*/ 124 w 231261"/>
                  <a:gd name="connsiteY11" fmla="*/ 152400 h 180863"/>
                  <a:gd name="connsiteX12" fmla="*/ 7268 w 231261"/>
                  <a:gd name="connsiteY12" fmla="*/ 157163 h 180863"/>
                  <a:gd name="connsiteX13" fmla="*/ 21555 w 231261"/>
                  <a:gd name="connsiteY13" fmla="*/ 161925 h 180863"/>
                  <a:gd name="connsiteX14" fmla="*/ 28699 w 231261"/>
                  <a:gd name="connsiteY14" fmla="*/ 169069 h 180863"/>
                  <a:gd name="connsiteX15" fmla="*/ 35843 w 231261"/>
                  <a:gd name="connsiteY15" fmla="*/ 171450 h 180863"/>
                  <a:gd name="connsiteX16" fmla="*/ 71561 w 231261"/>
                  <a:gd name="connsiteY16" fmla="*/ 176213 h 180863"/>
                  <a:gd name="connsiteX17" fmla="*/ 126330 w 231261"/>
                  <a:gd name="connsiteY17" fmla="*/ 176213 h 180863"/>
                  <a:gd name="connsiteX18" fmla="*/ 133474 w 231261"/>
                  <a:gd name="connsiteY18" fmla="*/ 171450 h 180863"/>
                  <a:gd name="connsiteX19" fmla="*/ 142999 w 231261"/>
                  <a:gd name="connsiteY19" fmla="*/ 166688 h 180863"/>
                  <a:gd name="connsiteX20" fmla="*/ 157286 w 231261"/>
                  <a:gd name="connsiteY20" fmla="*/ 161925 h 180863"/>
                  <a:gd name="connsiteX21" fmla="*/ 171574 w 231261"/>
                  <a:gd name="connsiteY21" fmla="*/ 157163 h 180863"/>
                  <a:gd name="connsiteX22" fmla="*/ 185861 w 231261"/>
                  <a:gd name="connsiteY22" fmla="*/ 152400 h 180863"/>
                  <a:gd name="connsiteX23" fmla="*/ 193005 w 231261"/>
                  <a:gd name="connsiteY23" fmla="*/ 147638 h 180863"/>
                  <a:gd name="connsiteX24" fmla="*/ 204911 w 231261"/>
                  <a:gd name="connsiteY24" fmla="*/ 133350 h 180863"/>
                  <a:gd name="connsiteX25" fmla="*/ 214436 w 231261"/>
                  <a:gd name="connsiteY25" fmla="*/ 119063 h 180863"/>
                  <a:gd name="connsiteX26" fmla="*/ 226343 w 231261"/>
                  <a:gd name="connsiteY26" fmla="*/ 102394 h 180863"/>
                  <a:gd name="connsiteX27" fmla="*/ 228724 w 231261"/>
                  <a:gd name="connsiteY27" fmla="*/ 66675 h 180863"/>
                  <a:gd name="connsiteX28" fmla="*/ 223961 w 231261"/>
                  <a:gd name="connsiteY28" fmla="*/ 30957 h 180863"/>
                  <a:gd name="connsiteX29" fmla="*/ 221580 w 231261"/>
                  <a:gd name="connsiteY29" fmla="*/ 23813 h 180863"/>
                  <a:gd name="connsiteX30" fmla="*/ 207293 w 231261"/>
                  <a:gd name="connsiteY30" fmla="*/ 14288 h 180863"/>
                  <a:gd name="connsiteX31" fmla="*/ 200149 w 231261"/>
                  <a:gd name="connsiteY31" fmla="*/ 7144 h 180863"/>
                  <a:gd name="connsiteX32" fmla="*/ 193005 w 231261"/>
                  <a:gd name="connsiteY32" fmla="*/ 4763 h 180863"/>
                  <a:gd name="connsiteX33" fmla="*/ 152524 w 231261"/>
                  <a:gd name="connsiteY33" fmla="*/ 0 h 180863"/>
                  <a:gd name="connsiteX34" fmla="*/ 92993 w 231261"/>
                  <a:gd name="connsiteY34" fmla="*/ 2382 h 180863"/>
                  <a:gd name="connsiteX35" fmla="*/ 85849 w 231261"/>
                  <a:gd name="connsiteY35" fmla="*/ 4763 h 180863"/>
                  <a:gd name="connsiteX36" fmla="*/ 83468 w 231261"/>
                  <a:gd name="connsiteY36" fmla="*/ 11907 h 180863"/>
                  <a:gd name="connsiteX37" fmla="*/ 102518 w 231261"/>
                  <a:gd name="connsiteY37" fmla="*/ 4763 h 18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31261" h="180863">
                    <a:moveTo>
                      <a:pt x="102518" y="4763"/>
                    </a:moveTo>
                    <a:cubicBezTo>
                      <a:pt x="103708" y="4366"/>
                      <a:pt x="94236" y="7259"/>
                      <a:pt x="90611" y="9525"/>
                    </a:cubicBezTo>
                    <a:cubicBezTo>
                      <a:pt x="85160" y="12932"/>
                      <a:pt x="80187" y="21688"/>
                      <a:pt x="76324" y="26194"/>
                    </a:cubicBezTo>
                    <a:cubicBezTo>
                      <a:pt x="71146" y="32235"/>
                      <a:pt x="67658" y="33193"/>
                      <a:pt x="64418" y="40482"/>
                    </a:cubicBezTo>
                    <a:cubicBezTo>
                      <a:pt x="62379" y="45069"/>
                      <a:pt x="62439" y="50592"/>
                      <a:pt x="59655" y="54769"/>
                    </a:cubicBezTo>
                    <a:cubicBezTo>
                      <a:pt x="58068" y="57150"/>
                      <a:pt x="56055" y="59298"/>
                      <a:pt x="54893" y="61913"/>
                    </a:cubicBezTo>
                    <a:cubicBezTo>
                      <a:pt x="52854" y="66500"/>
                      <a:pt x="50130" y="76200"/>
                      <a:pt x="50130" y="76200"/>
                    </a:cubicBezTo>
                    <a:cubicBezTo>
                      <a:pt x="50924" y="84931"/>
                      <a:pt x="50674" y="93821"/>
                      <a:pt x="52511" y="102394"/>
                    </a:cubicBezTo>
                    <a:cubicBezTo>
                      <a:pt x="53111" y="105193"/>
                      <a:pt x="57070" y="106683"/>
                      <a:pt x="57274" y="109538"/>
                    </a:cubicBezTo>
                    <a:cubicBezTo>
                      <a:pt x="57732" y="115952"/>
                      <a:pt x="61177" y="138256"/>
                      <a:pt x="47749" y="140494"/>
                    </a:cubicBezTo>
                    <a:cubicBezTo>
                      <a:pt x="35979" y="142456"/>
                      <a:pt x="23936" y="142081"/>
                      <a:pt x="12030" y="142875"/>
                    </a:cubicBezTo>
                    <a:cubicBezTo>
                      <a:pt x="8751" y="143968"/>
                      <a:pt x="-1223" y="145669"/>
                      <a:pt x="124" y="152400"/>
                    </a:cubicBezTo>
                    <a:cubicBezTo>
                      <a:pt x="685" y="155206"/>
                      <a:pt x="4653" y="156001"/>
                      <a:pt x="7268" y="157163"/>
                    </a:cubicBezTo>
                    <a:cubicBezTo>
                      <a:pt x="11855" y="159202"/>
                      <a:pt x="21555" y="161925"/>
                      <a:pt x="21555" y="161925"/>
                    </a:cubicBezTo>
                    <a:cubicBezTo>
                      <a:pt x="23936" y="164306"/>
                      <a:pt x="25897" y="167201"/>
                      <a:pt x="28699" y="169069"/>
                    </a:cubicBezTo>
                    <a:cubicBezTo>
                      <a:pt x="30788" y="170461"/>
                      <a:pt x="33382" y="170958"/>
                      <a:pt x="35843" y="171450"/>
                    </a:cubicBezTo>
                    <a:cubicBezTo>
                      <a:pt x="41337" y="172549"/>
                      <a:pt x="66906" y="175631"/>
                      <a:pt x="71561" y="176213"/>
                    </a:cubicBezTo>
                    <a:cubicBezTo>
                      <a:pt x="92411" y="183162"/>
                      <a:pt x="84895" y="181618"/>
                      <a:pt x="126330" y="176213"/>
                    </a:cubicBezTo>
                    <a:cubicBezTo>
                      <a:pt x="129168" y="175843"/>
                      <a:pt x="130989" y="172870"/>
                      <a:pt x="133474" y="171450"/>
                    </a:cubicBezTo>
                    <a:cubicBezTo>
                      <a:pt x="136556" y="169689"/>
                      <a:pt x="139703" y="168006"/>
                      <a:pt x="142999" y="166688"/>
                    </a:cubicBezTo>
                    <a:cubicBezTo>
                      <a:pt x="147660" y="164824"/>
                      <a:pt x="152524" y="163513"/>
                      <a:pt x="157286" y="161925"/>
                    </a:cubicBezTo>
                    <a:lnTo>
                      <a:pt x="171574" y="157163"/>
                    </a:lnTo>
                    <a:cubicBezTo>
                      <a:pt x="171579" y="157161"/>
                      <a:pt x="185856" y="152404"/>
                      <a:pt x="185861" y="152400"/>
                    </a:cubicBezTo>
                    <a:lnTo>
                      <a:pt x="193005" y="147638"/>
                    </a:lnTo>
                    <a:cubicBezTo>
                      <a:pt x="210027" y="122106"/>
                      <a:pt x="183518" y="160856"/>
                      <a:pt x="204911" y="133350"/>
                    </a:cubicBezTo>
                    <a:cubicBezTo>
                      <a:pt x="208425" y="128832"/>
                      <a:pt x="211261" y="123825"/>
                      <a:pt x="214436" y="119063"/>
                    </a:cubicBezTo>
                    <a:cubicBezTo>
                      <a:pt x="221399" y="108619"/>
                      <a:pt x="217484" y="114206"/>
                      <a:pt x="226343" y="102394"/>
                    </a:cubicBezTo>
                    <a:cubicBezTo>
                      <a:pt x="233460" y="81042"/>
                      <a:pt x="231542" y="93448"/>
                      <a:pt x="228724" y="66675"/>
                    </a:cubicBezTo>
                    <a:cubicBezTo>
                      <a:pt x="227100" y="51242"/>
                      <a:pt x="227320" y="44390"/>
                      <a:pt x="223961" y="30957"/>
                    </a:cubicBezTo>
                    <a:cubicBezTo>
                      <a:pt x="223352" y="28522"/>
                      <a:pt x="223355" y="25588"/>
                      <a:pt x="221580" y="23813"/>
                    </a:cubicBezTo>
                    <a:cubicBezTo>
                      <a:pt x="217533" y="19766"/>
                      <a:pt x="211340" y="18335"/>
                      <a:pt x="207293" y="14288"/>
                    </a:cubicBezTo>
                    <a:cubicBezTo>
                      <a:pt x="204912" y="11907"/>
                      <a:pt x="202951" y="9012"/>
                      <a:pt x="200149" y="7144"/>
                    </a:cubicBezTo>
                    <a:cubicBezTo>
                      <a:pt x="198060" y="5752"/>
                      <a:pt x="195466" y="5255"/>
                      <a:pt x="193005" y="4763"/>
                    </a:cubicBezTo>
                    <a:cubicBezTo>
                      <a:pt x="182483" y="2659"/>
                      <a:pt x="161961" y="944"/>
                      <a:pt x="152524" y="0"/>
                    </a:cubicBezTo>
                    <a:cubicBezTo>
                      <a:pt x="132680" y="794"/>
                      <a:pt x="112802" y="967"/>
                      <a:pt x="92993" y="2382"/>
                    </a:cubicBezTo>
                    <a:cubicBezTo>
                      <a:pt x="90489" y="2561"/>
                      <a:pt x="87624" y="2988"/>
                      <a:pt x="85849" y="4763"/>
                    </a:cubicBezTo>
                    <a:cubicBezTo>
                      <a:pt x="84074" y="6538"/>
                      <a:pt x="84077" y="9472"/>
                      <a:pt x="83468" y="11907"/>
                    </a:cubicBezTo>
                    <a:cubicBezTo>
                      <a:pt x="79374" y="28280"/>
                      <a:pt x="101328" y="5160"/>
                      <a:pt x="102518" y="476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5" name="Freeform 264"/>
              <p:cNvSpPr/>
              <p:nvPr/>
            </p:nvSpPr>
            <p:spPr>
              <a:xfrm>
                <a:off x="5720163" y="5237770"/>
                <a:ext cx="381000" cy="190500"/>
              </a:xfrm>
              <a:custGeom>
                <a:avLst/>
                <a:gdLst>
                  <a:gd name="connsiteX0" fmla="*/ 180975 w 381000"/>
                  <a:gd name="connsiteY0" fmla="*/ 2382 h 190500"/>
                  <a:gd name="connsiteX1" fmla="*/ 157162 w 381000"/>
                  <a:gd name="connsiteY1" fmla="*/ 4763 h 190500"/>
                  <a:gd name="connsiteX2" fmla="*/ 123825 w 381000"/>
                  <a:gd name="connsiteY2" fmla="*/ 9525 h 190500"/>
                  <a:gd name="connsiteX3" fmla="*/ 85725 w 381000"/>
                  <a:gd name="connsiteY3" fmla="*/ 11907 h 190500"/>
                  <a:gd name="connsiteX4" fmla="*/ 78581 w 381000"/>
                  <a:gd name="connsiteY4" fmla="*/ 16669 h 190500"/>
                  <a:gd name="connsiteX5" fmla="*/ 71437 w 381000"/>
                  <a:gd name="connsiteY5" fmla="*/ 19050 h 190500"/>
                  <a:gd name="connsiteX6" fmla="*/ 64293 w 381000"/>
                  <a:gd name="connsiteY6" fmla="*/ 26194 h 190500"/>
                  <a:gd name="connsiteX7" fmla="*/ 54768 w 381000"/>
                  <a:gd name="connsiteY7" fmla="*/ 40482 h 190500"/>
                  <a:gd name="connsiteX8" fmla="*/ 47625 w 381000"/>
                  <a:gd name="connsiteY8" fmla="*/ 45244 h 190500"/>
                  <a:gd name="connsiteX9" fmla="*/ 26193 w 381000"/>
                  <a:gd name="connsiteY9" fmla="*/ 50007 h 190500"/>
                  <a:gd name="connsiteX10" fmla="*/ 19050 w 381000"/>
                  <a:gd name="connsiteY10" fmla="*/ 73819 h 190500"/>
                  <a:gd name="connsiteX11" fmla="*/ 14287 w 381000"/>
                  <a:gd name="connsiteY11" fmla="*/ 80963 h 190500"/>
                  <a:gd name="connsiteX12" fmla="*/ 9525 w 381000"/>
                  <a:gd name="connsiteY12" fmla="*/ 100013 h 190500"/>
                  <a:gd name="connsiteX13" fmla="*/ 0 w 381000"/>
                  <a:gd name="connsiteY13" fmla="*/ 114300 h 190500"/>
                  <a:gd name="connsiteX14" fmla="*/ 4762 w 381000"/>
                  <a:gd name="connsiteY14" fmla="*/ 159544 h 190500"/>
                  <a:gd name="connsiteX15" fmla="*/ 14287 w 381000"/>
                  <a:gd name="connsiteY15" fmla="*/ 176213 h 190500"/>
                  <a:gd name="connsiteX16" fmla="*/ 50006 w 381000"/>
                  <a:gd name="connsiteY16" fmla="*/ 178594 h 190500"/>
                  <a:gd name="connsiteX17" fmla="*/ 64293 w 381000"/>
                  <a:gd name="connsiteY17" fmla="*/ 183357 h 190500"/>
                  <a:gd name="connsiteX18" fmla="*/ 71437 w 381000"/>
                  <a:gd name="connsiteY18" fmla="*/ 185738 h 190500"/>
                  <a:gd name="connsiteX19" fmla="*/ 90487 w 381000"/>
                  <a:gd name="connsiteY19" fmla="*/ 190500 h 190500"/>
                  <a:gd name="connsiteX20" fmla="*/ 114300 w 381000"/>
                  <a:gd name="connsiteY20" fmla="*/ 188119 h 190500"/>
                  <a:gd name="connsiteX21" fmla="*/ 116681 w 381000"/>
                  <a:gd name="connsiteY21" fmla="*/ 180975 h 190500"/>
                  <a:gd name="connsiteX22" fmla="*/ 123825 w 381000"/>
                  <a:gd name="connsiteY22" fmla="*/ 176213 h 190500"/>
                  <a:gd name="connsiteX23" fmla="*/ 138112 w 381000"/>
                  <a:gd name="connsiteY23" fmla="*/ 178594 h 190500"/>
                  <a:gd name="connsiteX24" fmla="*/ 145256 w 381000"/>
                  <a:gd name="connsiteY24" fmla="*/ 183357 h 190500"/>
                  <a:gd name="connsiteX25" fmla="*/ 159543 w 381000"/>
                  <a:gd name="connsiteY25" fmla="*/ 185738 h 190500"/>
                  <a:gd name="connsiteX26" fmla="*/ 185737 w 381000"/>
                  <a:gd name="connsiteY26" fmla="*/ 180975 h 190500"/>
                  <a:gd name="connsiteX27" fmla="*/ 192881 w 381000"/>
                  <a:gd name="connsiteY27" fmla="*/ 178594 h 190500"/>
                  <a:gd name="connsiteX28" fmla="*/ 200025 w 381000"/>
                  <a:gd name="connsiteY28" fmla="*/ 173832 h 190500"/>
                  <a:gd name="connsiteX29" fmla="*/ 202406 w 381000"/>
                  <a:gd name="connsiteY29" fmla="*/ 166688 h 190500"/>
                  <a:gd name="connsiteX30" fmla="*/ 226218 w 381000"/>
                  <a:gd name="connsiteY30" fmla="*/ 159544 h 190500"/>
                  <a:gd name="connsiteX31" fmla="*/ 261937 w 381000"/>
                  <a:gd name="connsiteY31" fmla="*/ 157163 h 190500"/>
                  <a:gd name="connsiteX32" fmla="*/ 295275 w 381000"/>
                  <a:gd name="connsiteY32" fmla="*/ 147638 h 190500"/>
                  <a:gd name="connsiteX33" fmla="*/ 333375 w 381000"/>
                  <a:gd name="connsiteY33" fmla="*/ 145257 h 190500"/>
                  <a:gd name="connsiteX34" fmla="*/ 340518 w 381000"/>
                  <a:gd name="connsiteY34" fmla="*/ 142875 h 190500"/>
                  <a:gd name="connsiteX35" fmla="*/ 352425 w 381000"/>
                  <a:gd name="connsiteY35" fmla="*/ 121444 h 190500"/>
                  <a:gd name="connsiteX36" fmla="*/ 354806 w 381000"/>
                  <a:gd name="connsiteY36" fmla="*/ 102394 h 190500"/>
                  <a:gd name="connsiteX37" fmla="*/ 361950 w 381000"/>
                  <a:gd name="connsiteY37" fmla="*/ 100013 h 190500"/>
                  <a:gd name="connsiteX38" fmla="*/ 381000 w 381000"/>
                  <a:gd name="connsiteY38" fmla="*/ 97632 h 190500"/>
                  <a:gd name="connsiteX39" fmla="*/ 378618 w 381000"/>
                  <a:gd name="connsiteY39" fmla="*/ 83344 h 190500"/>
                  <a:gd name="connsiteX40" fmla="*/ 373856 w 381000"/>
                  <a:gd name="connsiteY40" fmla="*/ 76200 h 190500"/>
                  <a:gd name="connsiteX41" fmla="*/ 352425 w 381000"/>
                  <a:gd name="connsiteY41" fmla="*/ 64294 h 190500"/>
                  <a:gd name="connsiteX42" fmla="*/ 319087 w 381000"/>
                  <a:gd name="connsiteY42" fmla="*/ 66675 h 190500"/>
                  <a:gd name="connsiteX43" fmla="*/ 311943 w 381000"/>
                  <a:gd name="connsiteY43" fmla="*/ 73819 h 190500"/>
                  <a:gd name="connsiteX44" fmla="*/ 297656 w 381000"/>
                  <a:gd name="connsiteY44" fmla="*/ 76200 h 190500"/>
                  <a:gd name="connsiteX45" fmla="*/ 266700 w 381000"/>
                  <a:gd name="connsiteY45" fmla="*/ 73819 h 190500"/>
                  <a:gd name="connsiteX46" fmla="*/ 261937 w 381000"/>
                  <a:gd name="connsiteY46" fmla="*/ 66675 h 190500"/>
                  <a:gd name="connsiteX47" fmla="*/ 259556 w 381000"/>
                  <a:gd name="connsiteY47" fmla="*/ 45244 h 190500"/>
                  <a:gd name="connsiteX48" fmla="*/ 238125 w 381000"/>
                  <a:gd name="connsiteY48" fmla="*/ 33338 h 190500"/>
                  <a:gd name="connsiteX49" fmla="*/ 223837 w 381000"/>
                  <a:gd name="connsiteY49" fmla="*/ 26194 h 190500"/>
                  <a:gd name="connsiteX50" fmla="*/ 216693 w 381000"/>
                  <a:gd name="connsiteY50" fmla="*/ 21432 h 190500"/>
                  <a:gd name="connsiteX51" fmla="*/ 202406 w 381000"/>
                  <a:gd name="connsiteY51" fmla="*/ 16669 h 190500"/>
                  <a:gd name="connsiteX52" fmla="*/ 188118 w 381000"/>
                  <a:gd name="connsiteY52" fmla="*/ 7144 h 190500"/>
                  <a:gd name="connsiteX53" fmla="*/ 180975 w 381000"/>
                  <a:gd name="connsiteY53" fmla="*/ 2382 h 190500"/>
                  <a:gd name="connsiteX54" fmla="*/ 173831 w 381000"/>
                  <a:gd name="connsiteY54" fmla="*/ 0 h 190500"/>
                  <a:gd name="connsiteX55" fmla="*/ 180975 w 381000"/>
                  <a:gd name="connsiteY55" fmla="*/ 238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81000" h="190500">
                    <a:moveTo>
                      <a:pt x="180975" y="2382"/>
                    </a:moveTo>
                    <a:cubicBezTo>
                      <a:pt x="178197" y="3176"/>
                      <a:pt x="165078" y="3774"/>
                      <a:pt x="157162" y="4763"/>
                    </a:cubicBezTo>
                    <a:cubicBezTo>
                      <a:pt x="146024" y="6155"/>
                      <a:pt x="135028" y="8825"/>
                      <a:pt x="123825" y="9525"/>
                    </a:cubicBezTo>
                    <a:lnTo>
                      <a:pt x="85725" y="11907"/>
                    </a:lnTo>
                    <a:cubicBezTo>
                      <a:pt x="83344" y="13494"/>
                      <a:pt x="81141" y="15389"/>
                      <a:pt x="78581" y="16669"/>
                    </a:cubicBezTo>
                    <a:cubicBezTo>
                      <a:pt x="76336" y="17791"/>
                      <a:pt x="73526" y="17658"/>
                      <a:pt x="71437" y="19050"/>
                    </a:cubicBezTo>
                    <a:cubicBezTo>
                      <a:pt x="68635" y="20918"/>
                      <a:pt x="66361" y="23536"/>
                      <a:pt x="64293" y="26194"/>
                    </a:cubicBezTo>
                    <a:cubicBezTo>
                      <a:pt x="60779" y="30712"/>
                      <a:pt x="59531" y="37307"/>
                      <a:pt x="54768" y="40482"/>
                    </a:cubicBezTo>
                    <a:cubicBezTo>
                      <a:pt x="52387" y="42069"/>
                      <a:pt x="50185" y="43964"/>
                      <a:pt x="47625" y="45244"/>
                    </a:cubicBezTo>
                    <a:cubicBezTo>
                      <a:pt x="41765" y="48174"/>
                      <a:pt x="31677" y="49093"/>
                      <a:pt x="26193" y="50007"/>
                    </a:cubicBezTo>
                    <a:cubicBezTo>
                      <a:pt x="24862" y="55331"/>
                      <a:pt x="21369" y="70341"/>
                      <a:pt x="19050" y="73819"/>
                    </a:cubicBezTo>
                    <a:lnTo>
                      <a:pt x="14287" y="80963"/>
                    </a:lnTo>
                    <a:cubicBezTo>
                      <a:pt x="12700" y="87313"/>
                      <a:pt x="13156" y="94567"/>
                      <a:pt x="9525" y="100013"/>
                    </a:cubicBezTo>
                    <a:lnTo>
                      <a:pt x="0" y="114300"/>
                    </a:lnTo>
                    <a:cubicBezTo>
                      <a:pt x="683" y="121130"/>
                      <a:pt x="3674" y="151931"/>
                      <a:pt x="4762" y="159544"/>
                    </a:cubicBezTo>
                    <a:cubicBezTo>
                      <a:pt x="5755" y="166499"/>
                      <a:pt x="5154" y="174691"/>
                      <a:pt x="14287" y="176213"/>
                    </a:cubicBezTo>
                    <a:cubicBezTo>
                      <a:pt x="26057" y="178175"/>
                      <a:pt x="38100" y="177800"/>
                      <a:pt x="50006" y="178594"/>
                    </a:cubicBezTo>
                    <a:lnTo>
                      <a:pt x="64293" y="183357"/>
                    </a:lnTo>
                    <a:cubicBezTo>
                      <a:pt x="66674" y="184151"/>
                      <a:pt x="69002" y="185129"/>
                      <a:pt x="71437" y="185738"/>
                    </a:cubicBezTo>
                    <a:lnTo>
                      <a:pt x="90487" y="190500"/>
                    </a:lnTo>
                    <a:cubicBezTo>
                      <a:pt x="98425" y="189706"/>
                      <a:pt x="106803" y="190845"/>
                      <a:pt x="114300" y="188119"/>
                    </a:cubicBezTo>
                    <a:cubicBezTo>
                      <a:pt x="116659" y="187261"/>
                      <a:pt x="115113" y="182935"/>
                      <a:pt x="116681" y="180975"/>
                    </a:cubicBezTo>
                    <a:cubicBezTo>
                      <a:pt x="118469" y="178740"/>
                      <a:pt x="121444" y="177800"/>
                      <a:pt x="123825" y="176213"/>
                    </a:cubicBezTo>
                    <a:cubicBezTo>
                      <a:pt x="128587" y="177007"/>
                      <a:pt x="133532" y="177067"/>
                      <a:pt x="138112" y="178594"/>
                    </a:cubicBezTo>
                    <a:cubicBezTo>
                      <a:pt x="140827" y="179499"/>
                      <a:pt x="142541" y="182452"/>
                      <a:pt x="145256" y="183357"/>
                    </a:cubicBezTo>
                    <a:cubicBezTo>
                      <a:pt x="149836" y="184884"/>
                      <a:pt x="154781" y="184944"/>
                      <a:pt x="159543" y="185738"/>
                    </a:cubicBezTo>
                    <a:cubicBezTo>
                      <a:pt x="168274" y="184150"/>
                      <a:pt x="177059" y="182835"/>
                      <a:pt x="185737" y="180975"/>
                    </a:cubicBezTo>
                    <a:cubicBezTo>
                      <a:pt x="188191" y="180449"/>
                      <a:pt x="190636" y="179716"/>
                      <a:pt x="192881" y="178594"/>
                    </a:cubicBezTo>
                    <a:cubicBezTo>
                      <a:pt x="195441" y="177314"/>
                      <a:pt x="197644" y="175419"/>
                      <a:pt x="200025" y="173832"/>
                    </a:cubicBezTo>
                    <a:cubicBezTo>
                      <a:pt x="200819" y="171451"/>
                      <a:pt x="200838" y="168648"/>
                      <a:pt x="202406" y="166688"/>
                    </a:cubicBezTo>
                    <a:cubicBezTo>
                      <a:pt x="207829" y="159909"/>
                      <a:pt x="219249" y="160177"/>
                      <a:pt x="226218" y="159544"/>
                    </a:cubicBezTo>
                    <a:cubicBezTo>
                      <a:pt x="238102" y="158464"/>
                      <a:pt x="250031" y="157957"/>
                      <a:pt x="261937" y="157163"/>
                    </a:cubicBezTo>
                    <a:cubicBezTo>
                      <a:pt x="269735" y="154563"/>
                      <a:pt x="287911" y="148098"/>
                      <a:pt x="295275" y="147638"/>
                    </a:cubicBezTo>
                    <a:lnTo>
                      <a:pt x="333375" y="145257"/>
                    </a:lnTo>
                    <a:cubicBezTo>
                      <a:pt x="335756" y="144463"/>
                      <a:pt x="338743" y="144650"/>
                      <a:pt x="340518" y="142875"/>
                    </a:cubicBezTo>
                    <a:cubicBezTo>
                      <a:pt x="348705" y="134687"/>
                      <a:pt x="349430" y="130427"/>
                      <a:pt x="352425" y="121444"/>
                    </a:cubicBezTo>
                    <a:cubicBezTo>
                      <a:pt x="353219" y="115094"/>
                      <a:pt x="352207" y="108242"/>
                      <a:pt x="354806" y="102394"/>
                    </a:cubicBezTo>
                    <a:cubicBezTo>
                      <a:pt x="355825" y="100100"/>
                      <a:pt x="359480" y="100462"/>
                      <a:pt x="361950" y="100013"/>
                    </a:cubicBezTo>
                    <a:cubicBezTo>
                      <a:pt x="368246" y="98868"/>
                      <a:pt x="374650" y="98426"/>
                      <a:pt x="381000" y="97632"/>
                    </a:cubicBezTo>
                    <a:cubicBezTo>
                      <a:pt x="380206" y="92869"/>
                      <a:pt x="380145" y="87925"/>
                      <a:pt x="378618" y="83344"/>
                    </a:cubicBezTo>
                    <a:cubicBezTo>
                      <a:pt x="377713" y="80629"/>
                      <a:pt x="376010" y="78085"/>
                      <a:pt x="373856" y="76200"/>
                    </a:cubicBezTo>
                    <a:cubicBezTo>
                      <a:pt x="363779" y="67383"/>
                      <a:pt x="362236" y="67564"/>
                      <a:pt x="352425" y="64294"/>
                    </a:cubicBezTo>
                    <a:cubicBezTo>
                      <a:pt x="341312" y="65088"/>
                      <a:pt x="329932" y="64123"/>
                      <a:pt x="319087" y="66675"/>
                    </a:cubicBezTo>
                    <a:cubicBezTo>
                      <a:pt x="315809" y="67446"/>
                      <a:pt x="315020" y="72451"/>
                      <a:pt x="311943" y="73819"/>
                    </a:cubicBezTo>
                    <a:cubicBezTo>
                      <a:pt x="307531" y="75780"/>
                      <a:pt x="302418" y="75406"/>
                      <a:pt x="297656" y="76200"/>
                    </a:cubicBezTo>
                    <a:cubicBezTo>
                      <a:pt x="287337" y="75406"/>
                      <a:pt x="276700" y="76486"/>
                      <a:pt x="266700" y="73819"/>
                    </a:cubicBezTo>
                    <a:cubicBezTo>
                      <a:pt x="263935" y="73082"/>
                      <a:pt x="262631" y="69452"/>
                      <a:pt x="261937" y="66675"/>
                    </a:cubicBezTo>
                    <a:cubicBezTo>
                      <a:pt x="260194" y="59702"/>
                      <a:pt x="262964" y="51572"/>
                      <a:pt x="259556" y="45244"/>
                    </a:cubicBezTo>
                    <a:cubicBezTo>
                      <a:pt x="255974" y="38592"/>
                      <a:pt x="245088" y="35659"/>
                      <a:pt x="238125" y="33338"/>
                    </a:cubicBezTo>
                    <a:cubicBezTo>
                      <a:pt x="217660" y="19694"/>
                      <a:pt x="243547" y="36048"/>
                      <a:pt x="223837" y="26194"/>
                    </a:cubicBezTo>
                    <a:cubicBezTo>
                      <a:pt x="221277" y="24914"/>
                      <a:pt x="219308" y="22594"/>
                      <a:pt x="216693" y="21432"/>
                    </a:cubicBezTo>
                    <a:cubicBezTo>
                      <a:pt x="212106" y="19393"/>
                      <a:pt x="206583" y="19454"/>
                      <a:pt x="202406" y="16669"/>
                    </a:cubicBezTo>
                    <a:lnTo>
                      <a:pt x="188118" y="7144"/>
                    </a:lnTo>
                    <a:cubicBezTo>
                      <a:pt x="185737" y="5557"/>
                      <a:pt x="183690" y="3287"/>
                      <a:pt x="180975" y="2382"/>
                    </a:cubicBezTo>
                    <a:lnTo>
                      <a:pt x="173831" y="0"/>
                    </a:lnTo>
                    <a:cubicBezTo>
                      <a:pt x="103199" y="2944"/>
                      <a:pt x="183753" y="1588"/>
                      <a:pt x="180975" y="238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6" name="Freeform 265"/>
              <p:cNvSpPr/>
              <p:nvPr/>
            </p:nvSpPr>
            <p:spPr>
              <a:xfrm>
                <a:off x="5953525" y="5150374"/>
                <a:ext cx="383381" cy="213603"/>
              </a:xfrm>
              <a:custGeom>
                <a:avLst/>
                <a:gdLst>
                  <a:gd name="connsiteX0" fmla="*/ 19050 w 383381"/>
                  <a:gd name="connsiteY0" fmla="*/ 11196 h 213603"/>
                  <a:gd name="connsiteX1" fmla="*/ 9525 w 383381"/>
                  <a:gd name="connsiteY1" fmla="*/ 27865 h 213603"/>
                  <a:gd name="connsiteX2" fmla="*/ 0 w 383381"/>
                  <a:gd name="connsiteY2" fmla="*/ 42153 h 213603"/>
                  <a:gd name="connsiteX3" fmla="*/ 2381 w 383381"/>
                  <a:gd name="connsiteY3" fmla="*/ 56440 h 213603"/>
                  <a:gd name="connsiteX4" fmla="*/ 9525 w 383381"/>
                  <a:gd name="connsiteY4" fmla="*/ 58821 h 213603"/>
                  <a:gd name="connsiteX5" fmla="*/ 33338 w 383381"/>
                  <a:gd name="connsiteY5" fmla="*/ 61203 h 213603"/>
                  <a:gd name="connsiteX6" fmla="*/ 40481 w 383381"/>
                  <a:gd name="connsiteY6" fmla="*/ 75490 h 213603"/>
                  <a:gd name="connsiteX7" fmla="*/ 42863 w 383381"/>
                  <a:gd name="connsiteY7" fmla="*/ 82634 h 213603"/>
                  <a:gd name="connsiteX8" fmla="*/ 59531 w 383381"/>
                  <a:gd name="connsiteY8" fmla="*/ 101684 h 213603"/>
                  <a:gd name="connsiteX9" fmla="*/ 66675 w 383381"/>
                  <a:gd name="connsiteY9" fmla="*/ 104065 h 213603"/>
                  <a:gd name="connsiteX10" fmla="*/ 73819 w 383381"/>
                  <a:gd name="connsiteY10" fmla="*/ 108828 h 213603"/>
                  <a:gd name="connsiteX11" fmla="*/ 88106 w 383381"/>
                  <a:gd name="connsiteY11" fmla="*/ 113590 h 213603"/>
                  <a:gd name="connsiteX12" fmla="*/ 95250 w 383381"/>
                  <a:gd name="connsiteY12" fmla="*/ 115971 h 213603"/>
                  <a:gd name="connsiteX13" fmla="*/ 138113 w 383381"/>
                  <a:gd name="connsiteY13" fmla="*/ 120734 h 213603"/>
                  <a:gd name="connsiteX14" fmla="*/ 150019 w 383381"/>
                  <a:gd name="connsiteY14" fmla="*/ 123115 h 213603"/>
                  <a:gd name="connsiteX15" fmla="*/ 164306 w 383381"/>
                  <a:gd name="connsiteY15" fmla="*/ 127878 h 213603"/>
                  <a:gd name="connsiteX16" fmla="*/ 166688 w 383381"/>
                  <a:gd name="connsiteY16" fmla="*/ 151690 h 213603"/>
                  <a:gd name="connsiteX17" fmla="*/ 171450 w 383381"/>
                  <a:gd name="connsiteY17" fmla="*/ 165978 h 213603"/>
                  <a:gd name="connsiteX18" fmla="*/ 183356 w 383381"/>
                  <a:gd name="connsiteY18" fmla="*/ 163596 h 213603"/>
                  <a:gd name="connsiteX19" fmla="*/ 188119 w 383381"/>
                  <a:gd name="connsiteY19" fmla="*/ 170740 h 213603"/>
                  <a:gd name="connsiteX20" fmla="*/ 192881 w 383381"/>
                  <a:gd name="connsiteY20" fmla="*/ 187409 h 213603"/>
                  <a:gd name="connsiteX21" fmla="*/ 195263 w 383381"/>
                  <a:gd name="connsiteY21" fmla="*/ 204078 h 213603"/>
                  <a:gd name="connsiteX22" fmla="*/ 202406 w 383381"/>
                  <a:gd name="connsiteY22" fmla="*/ 208840 h 213603"/>
                  <a:gd name="connsiteX23" fmla="*/ 230981 w 383381"/>
                  <a:gd name="connsiteY23" fmla="*/ 213603 h 213603"/>
                  <a:gd name="connsiteX24" fmla="*/ 259556 w 383381"/>
                  <a:gd name="connsiteY24" fmla="*/ 211221 h 213603"/>
                  <a:gd name="connsiteX25" fmla="*/ 273844 w 383381"/>
                  <a:gd name="connsiteY25" fmla="*/ 206459 h 213603"/>
                  <a:gd name="connsiteX26" fmla="*/ 280988 w 383381"/>
                  <a:gd name="connsiteY26" fmla="*/ 204078 h 213603"/>
                  <a:gd name="connsiteX27" fmla="*/ 288131 w 383381"/>
                  <a:gd name="connsiteY27" fmla="*/ 196934 h 213603"/>
                  <a:gd name="connsiteX28" fmla="*/ 292894 w 383381"/>
                  <a:gd name="connsiteY28" fmla="*/ 189790 h 213603"/>
                  <a:gd name="connsiteX29" fmla="*/ 307181 w 383381"/>
                  <a:gd name="connsiteY29" fmla="*/ 177884 h 213603"/>
                  <a:gd name="connsiteX30" fmla="*/ 321469 w 383381"/>
                  <a:gd name="connsiteY30" fmla="*/ 173121 h 213603"/>
                  <a:gd name="connsiteX31" fmla="*/ 342900 w 383381"/>
                  <a:gd name="connsiteY31" fmla="*/ 177884 h 213603"/>
                  <a:gd name="connsiteX32" fmla="*/ 350044 w 383381"/>
                  <a:gd name="connsiteY32" fmla="*/ 182646 h 213603"/>
                  <a:gd name="connsiteX33" fmla="*/ 357188 w 383381"/>
                  <a:gd name="connsiteY33" fmla="*/ 185028 h 213603"/>
                  <a:gd name="connsiteX34" fmla="*/ 378619 w 383381"/>
                  <a:gd name="connsiteY34" fmla="*/ 177884 h 213603"/>
                  <a:gd name="connsiteX35" fmla="*/ 383381 w 383381"/>
                  <a:gd name="connsiteY35" fmla="*/ 168359 h 213603"/>
                  <a:gd name="connsiteX36" fmla="*/ 381000 w 383381"/>
                  <a:gd name="connsiteY36" fmla="*/ 154071 h 213603"/>
                  <a:gd name="connsiteX37" fmla="*/ 378619 w 383381"/>
                  <a:gd name="connsiteY37" fmla="*/ 146928 h 213603"/>
                  <a:gd name="connsiteX38" fmla="*/ 371475 w 383381"/>
                  <a:gd name="connsiteY38" fmla="*/ 144546 h 213603"/>
                  <a:gd name="connsiteX39" fmla="*/ 359569 w 383381"/>
                  <a:gd name="connsiteY39" fmla="*/ 130259 h 213603"/>
                  <a:gd name="connsiteX40" fmla="*/ 357188 w 383381"/>
                  <a:gd name="connsiteY40" fmla="*/ 123115 h 213603"/>
                  <a:gd name="connsiteX41" fmla="*/ 352425 w 383381"/>
                  <a:gd name="connsiteY41" fmla="*/ 99303 h 213603"/>
                  <a:gd name="connsiteX42" fmla="*/ 347663 w 383381"/>
                  <a:gd name="connsiteY42" fmla="*/ 85015 h 213603"/>
                  <a:gd name="connsiteX43" fmla="*/ 345281 w 383381"/>
                  <a:gd name="connsiteY43" fmla="*/ 77871 h 213603"/>
                  <a:gd name="connsiteX44" fmla="*/ 335756 w 383381"/>
                  <a:gd name="connsiteY44" fmla="*/ 63584 h 213603"/>
                  <a:gd name="connsiteX45" fmla="*/ 330994 w 383381"/>
                  <a:gd name="connsiteY45" fmla="*/ 56440 h 213603"/>
                  <a:gd name="connsiteX46" fmla="*/ 316706 w 383381"/>
                  <a:gd name="connsiteY46" fmla="*/ 49296 h 213603"/>
                  <a:gd name="connsiteX47" fmla="*/ 283369 w 383381"/>
                  <a:gd name="connsiteY47" fmla="*/ 51678 h 213603"/>
                  <a:gd name="connsiteX48" fmla="*/ 269081 w 383381"/>
                  <a:gd name="connsiteY48" fmla="*/ 56440 h 213603"/>
                  <a:gd name="connsiteX49" fmla="*/ 254794 w 383381"/>
                  <a:gd name="connsiteY49" fmla="*/ 68346 h 213603"/>
                  <a:gd name="connsiteX50" fmla="*/ 247650 w 383381"/>
                  <a:gd name="connsiteY50" fmla="*/ 70728 h 213603"/>
                  <a:gd name="connsiteX51" fmla="*/ 242888 w 383381"/>
                  <a:gd name="connsiteY51" fmla="*/ 63584 h 213603"/>
                  <a:gd name="connsiteX52" fmla="*/ 204788 w 383381"/>
                  <a:gd name="connsiteY52" fmla="*/ 61203 h 213603"/>
                  <a:gd name="connsiteX53" fmla="*/ 185738 w 383381"/>
                  <a:gd name="connsiteY53" fmla="*/ 65965 h 213603"/>
                  <a:gd name="connsiteX54" fmla="*/ 159544 w 383381"/>
                  <a:gd name="connsiteY54" fmla="*/ 70728 h 213603"/>
                  <a:gd name="connsiteX55" fmla="*/ 138113 w 383381"/>
                  <a:gd name="connsiteY55" fmla="*/ 68346 h 213603"/>
                  <a:gd name="connsiteX56" fmla="*/ 126206 w 383381"/>
                  <a:gd name="connsiteY56" fmla="*/ 54059 h 213603"/>
                  <a:gd name="connsiteX57" fmla="*/ 121444 w 383381"/>
                  <a:gd name="connsiteY57" fmla="*/ 37390 h 213603"/>
                  <a:gd name="connsiteX58" fmla="*/ 111919 w 383381"/>
                  <a:gd name="connsiteY58" fmla="*/ 23103 h 213603"/>
                  <a:gd name="connsiteX59" fmla="*/ 104775 w 383381"/>
                  <a:gd name="connsiteY59" fmla="*/ 18340 h 213603"/>
                  <a:gd name="connsiteX60" fmla="*/ 85725 w 383381"/>
                  <a:gd name="connsiteY60" fmla="*/ 6434 h 213603"/>
                  <a:gd name="connsiteX61" fmla="*/ 78581 w 383381"/>
                  <a:gd name="connsiteY61" fmla="*/ 4053 h 213603"/>
                  <a:gd name="connsiteX62" fmla="*/ 9525 w 383381"/>
                  <a:gd name="connsiteY62" fmla="*/ 13578 h 213603"/>
                  <a:gd name="connsiteX63" fmla="*/ 19050 w 383381"/>
                  <a:gd name="connsiteY63" fmla="*/ 11196 h 21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3381" h="213603">
                    <a:moveTo>
                      <a:pt x="19050" y="11196"/>
                    </a:moveTo>
                    <a:cubicBezTo>
                      <a:pt x="19050" y="13577"/>
                      <a:pt x="21335" y="14368"/>
                      <a:pt x="9525" y="27865"/>
                    </a:cubicBezTo>
                    <a:cubicBezTo>
                      <a:pt x="5756" y="32173"/>
                      <a:pt x="0" y="42153"/>
                      <a:pt x="0" y="42153"/>
                    </a:cubicBezTo>
                    <a:cubicBezTo>
                      <a:pt x="794" y="46915"/>
                      <a:pt x="-14" y="52248"/>
                      <a:pt x="2381" y="56440"/>
                    </a:cubicBezTo>
                    <a:cubicBezTo>
                      <a:pt x="3626" y="58619"/>
                      <a:pt x="7044" y="58439"/>
                      <a:pt x="9525" y="58821"/>
                    </a:cubicBezTo>
                    <a:cubicBezTo>
                      <a:pt x="17410" y="60034"/>
                      <a:pt x="25400" y="60409"/>
                      <a:pt x="33338" y="61203"/>
                    </a:cubicBezTo>
                    <a:cubicBezTo>
                      <a:pt x="39321" y="79153"/>
                      <a:pt x="31251" y="57030"/>
                      <a:pt x="40481" y="75490"/>
                    </a:cubicBezTo>
                    <a:cubicBezTo>
                      <a:pt x="41604" y="77735"/>
                      <a:pt x="41644" y="80440"/>
                      <a:pt x="42863" y="82634"/>
                    </a:cubicBezTo>
                    <a:cubicBezTo>
                      <a:pt x="48356" y="92522"/>
                      <a:pt x="50435" y="97136"/>
                      <a:pt x="59531" y="101684"/>
                    </a:cubicBezTo>
                    <a:cubicBezTo>
                      <a:pt x="61776" y="102807"/>
                      <a:pt x="64294" y="103271"/>
                      <a:pt x="66675" y="104065"/>
                    </a:cubicBezTo>
                    <a:cubicBezTo>
                      <a:pt x="69056" y="105653"/>
                      <a:pt x="71204" y="107666"/>
                      <a:pt x="73819" y="108828"/>
                    </a:cubicBezTo>
                    <a:cubicBezTo>
                      <a:pt x="78406" y="110867"/>
                      <a:pt x="83344" y="112003"/>
                      <a:pt x="88106" y="113590"/>
                    </a:cubicBezTo>
                    <a:cubicBezTo>
                      <a:pt x="90487" y="114384"/>
                      <a:pt x="92759" y="115660"/>
                      <a:pt x="95250" y="115971"/>
                    </a:cubicBezTo>
                    <a:cubicBezTo>
                      <a:pt x="122216" y="119343"/>
                      <a:pt x="107932" y="117716"/>
                      <a:pt x="138113" y="120734"/>
                    </a:cubicBezTo>
                    <a:cubicBezTo>
                      <a:pt x="142082" y="121528"/>
                      <a:pt x="146114" y="122050"/>
                      <a:pt x="150019" y="123115"/>
                    </a:cubicBezTo>
                    <a:cubicBezTo>
                      <a:pt x="154862" y="124436"/>
                      <a:pt x="164306" y="127878"/>
                      <a:pt x="164306" y="127878"/>
                    </a:cubicBezTo>
                    <a:cubicBezTo>
                      <a:pt x="165100" y="135815"/>
                      <a:pt x="165218" y="143850"/>
                      <a:pt x="166688" y="151690"/>
                    </a:cubicBezTo>
                    <a:cubicBezTo>
                      <a:pt x="167613" y="156624"/>
                      <a:pt x="171450" y="165978"/>
                      <a:pt x="171450" y="165978"/>
                    </a:cubicBezTo>
                    <a:cubicBezTo>
                      <a:pt x="175419" y="165184"/>
                      <a:pt x="179464" y="162484"/>
                      <a:pt x="183356" y="163596"/>
                    </a:cubicBezTo>
                    <a:cubicBezTo>
                      <a:pt x="186108" y="164382"/>
                      <a:pt x="186839" y="168180"/>
                      <a:pt x="188119" y="170740"/>
                    </a:cubicBezTo>
                    <a:cubicBezTo>
                      <a:pt x="189576" y="173654"/>
                      <a:pt x="192445" y="185012"/>
                      <a:pt x="192881" y="187409"/>
                    </a:cubicBezTo>
                    <a:cubicBezTo>
                      <a:pt x="193885" y="192931"/>
                      <a:pt x="192983" y="198949"/>
                      <a:pt x="195263" y="204078"/>
                    </a:cubicBezTo>
                    <a:cubicBezTo>
                      <a:pt x="196425" y="206693"/>
                      <a:pt x="199846" y="207560"/>
                      <a:pt x="202406" y="208840"/>
                    </a:cubicBezTo>
                    <a:cubicBezTo>
                      <a:pt x="210383" y="212828"/>
                      <a:pt x="224195" y="212849"/>
                      <a:pt x="230981" y="213603"/>
                    </a:cubicBezTo>
                    <a:cubicBezTo>
                      <a:pt x="240506" y="212809"/>
                      <a:pt x="250128" y="212792"/>
                      <a:pt x="259556" y="211221"/>
                    </a:cubicBezTo>
                    <a:cubicBezTo>
                      <a:pt x="264508" y="210396"/>
                      <a:pt x="269081" y="208046"/>
                      <a:pt x="273844" y="206459"/>
                    </a:cubicBezTo>
                    <a:lnTo>
                      <a:pt x="280988" y="204078"/>
                    </a:lnTo>
                    <a:cubicBezTo>
                      <a:pt x="283369" y="201697"/>
                      <a:pt x="285975" y="199521"/>
                      <a:pt x="288131" y="196934"/>
                    </a:cubicBezTo>
                    <a:cubicBezTo>
                      <a:pt x="289963" y="194735"/>
                      <a:pt x="291062" y="191989"/>
                      <a:pt x="292894" y="189790"/>
                    </a:cubicBezTo>
                    <a:cubicBezTo>
                      <a:pt x="296193" y="185832"/>
                      <a:pt x="302223" y="180088"/>
                      <a:pt x="307181" y="177884"/>
                    </a:cubicBezTo>
                    <a:cubicBezTo>
                      <a:pt x="311769" y="175845"/>
                      <a:pt x="321469" y="173121"/>
                      <a:pt x="321469" y="173121"/>
                    </a:cubicBezTo>
                    <a:cubicBezTo>
                      <a:pt x="323583" y="173544"/>
                      <a:pt x="339961" y="176625"/>
                      <a:pt x="342900" y="177884"/>
                    </a:cubicBezTo>
                    <a:cubicBezTo>
                      <a:pt x="345531" y="179011"/>
                      <a:pt x="347484" y="181366"/>
                      <a:pt x="350044" y="182646"/>
                    </a:cubicBezTo>
                    <a:cubicBezTo>
                      <a:pt x="352289" y="183769"/>
                      <a:pt x="354807" y="184234"/>
                      <a:pt x="357188" y="185028"/>
                    </a:cubicBezTo>
                    <a:cubicBezTo>
                      <a:pt x="364577" y="183796"/>
                      <a:pt x="373220" y="184363"/>
                      <a:pt x="378619" y="177884"/>
                    </a:cubicBezTo>
                    <a:cubicBezTo>
                      <a:pt x="380891" y="175157"/>
                      <a:pt x="381794" y="171534"/>
                      <a:pt x="383381" y="168359"/>
                    </a:cubicBezTo>
                    <a:cubicBezTo>
                      <a:pt x="382587" y="163596"/>
                      <a:pt x="382047" y="158784"/>
                      <a:pt x="381000" y="154071"/>
                    </a:cubicBezTo>
                    <a:cubicBezTo>
                      <a:pt x="380456" y="151621"/>
                      <a:pt x="380394" y="148703"/>
                      <a:pt x="378619" y="146928"/>
                    </a:cubicBezTo>
                    <a:cubicBezTo>
                      <a:pt x="376844" y="145153"/>
                      <a:pt x="373856" y="145340"/>
                      <a:pt x="371475" y="144546"/>
                    </a:cubicBezTo>
                    <a:cubicBezTo>
                      <a:pt x="366207" y="139278"/>
                      <a:pt x="362885" y="136892"/>
                      <a:pt x="359569" y="130259"/>
                    </a:cubicBezTo>
                    <a:cubicBezTo>
                      <a:pt x="358447" y="128014"/>
                      <a:pt x="357752" y="125561"/>
                      <a:pt x="357188" y="123115"/>
                    </a:cubicBezTo>
                    <a:cubicBezTo>
                      <a:pt x="355368" y="115228"/>
                      <a:pt x="354984" y="106982"/>
                      <a:pt x="352425" y="99303"/>
                    </a:cubicBezTo>
                    <a:lnTo>
                      <a:pt x="347663" y="85015"/>
                    </a:lnTo>
                    <a:cubicBezTo>
                      <a:pt x="346869" y="82634"/>
                      <a:pt x="346673" y="79960"/>
                      <a:pt x="345281" y="77871"/>
                    </a:cubicBezTo>
                    <a:lnTo>
                      <a:pt x="335756" y="63584"/>
                    </a:lnTo>
                    <a:cubicBezTo>
                      <a:pt x="334169" y="61203"/>
                      <a:pt x="333375" y="58027"/>
                      <a:pt x="330994" y="56440"/>
                    </a:cubicBezTo>
                    <a:cubicBezTo>
                      <a:pt x="321761" y="50286"/>
                      <a:pt x="326565" y="52583"/>
                      <a:pt x="316706" y="49296"/>
                    </a:cubicBezTo>
                    <a:cubicBezTo>
                      <a:pt x="305594" y="50090"/>
                      <a:pt x="294386" y="50025"/>
                      <a:pt x="283369" y="51678"/>
                    </a:cubicBezTo>
                    <a:cubicBezTo>
                      <a:pt x="278404" y="52423"/>
                      <a:pt x="269081" y="56440"/>
                      <a:pt x="269081" y="56440"/>
                    </a:cubicBezTo>
                    <a:cubicBezTo>
                      <a:pt x="263812" y="61709"/>
                      <a:pt x="261427" y="65029"/>
                      <a:pt x="254794" y="68346"/>
                    </a:cubicBezTo>
                    <a:cubicBezTo>
                      <a:pt x="252549" y="69469"/>
                      <a:pt x="250031" y="69934"/>
                      <a:pt x="247650" y="70728"/>
                    </a:cubicBezTo>
                    <a:cubicBezTo>
                      <a:pt x="246063" y="68347"/>
                      <a:pt x="244912" y="65608"/>
                      <a:pt x="242888" y="63584"/>
                    </a:cubicBezTo>
                    <a:cubicBezTo>
                      <a:pt x="232010" y="52705"/>
                      <a:pt x="220964" y="59958"/>
                      <a:pt x="204788" y="61203"/>
                    </a:cubicBezTo>
                    <a:cubicBezTo>
                      <a:pt x="198438" y="62790"/>
                      <a:pt x="192156" y="64682"/>
                      <a:pt x="185738" y="65965"/>
                    </a:cubicBezTo>
                    <a:cubicBezTo>
                      <a:pt x="169097" y="69293"/>
                      <a:pt x="177823" y="67680"/>
                      <a:pt x="159544" y="70728"/>
                    </a:cubicBezTo>
                    <a:cubicBezTo>
                      <a:pt x="152400" y="69934"/>
                      <a:pt x="144932" y="70619"/>
                      <a:pt x="138113" y="68346"/>
                    </a:cubicBezTo>
                    <a:cubicBezTo>
                      <a:pt x="134183" y="67036"/>
                      <a:pt x="128385" y="57327"/>
                      <a:pt x="126206" y="54059"/>
                    </a:cubicBezTo>
                    <a:cubicBezTo>
                      <a:pt x="125646" y="51818"/>
                      <a:pt x="122996" y="40184"/>
                      <a:pt x="121444" y="37390"/>
                    </a:cubicBezTo>
                    <a:cubicBezTo>
                      <a:pt x="118664" y="32387"/>
                      <a:pt x="116681" y="26278"/>
                      <a:pt x="111919" y="23103"/>
                    </a:cubicBezTo>
                    <a:lnTo>
                      <a:pt x="104775" y="18340"/>
                    </a:lnTo>
                    <a:cubicBezTo>
                      <a:pt x="97229" y="7019"/>
                      <a:pt x="102728" y="12101"/>
                      <a:pt x="85725" y="6434"/>
                    </a:cubicBezTo>
                    <a:lnTo>
                      <a:pt x="78581" y="4053"/>
                    </a:lnTo>
                    <a:cubicBezTo>
                      <a:pt x="24196" y="6067"/>
                      <a:pt x="24480" y="-11346"/>
                      <a:pt x="9525" y="13578"/>
                    </a:cubicBezTo>
                    <a:cubicBezTo>
                      <a:pt x="8612" y="15100"/>
                      <a:pt x="19050" y="8815"/>
                      <a:pt x="19050" y="1119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7" name="Freeform 266"/>
              <p:cNvSpPr/>
              <p:nvPr/>
            </p:nvSpPr>
            <p:spPr>
              <a:xfrm>
                <a:off x="6271109" y="5471133"/>
                <a:ext cx="465932" cy="259831"/>
              </a:xfrm>
              <a:custGeom>
                <a:avLst/>
                <a:gdLst>
                  <a:gd name="connsiteX0" fmla="*/ 215816 w 465932"/>
                  <a:gd name="connsiteY0" fmla="*/ 23812 h 259831"/>
                  <a:gd name="connsiteX1" fmla="*/ 187241 w 465932"/>
                  <a:gd name="connsiteY1" fmla="*/ 21431 h 259831"/>
                  <a:gd name="connsiteX2" fmla="*/ 170572 w 465932"/>
                  <a:gd name="connsiteY2" fmla="*/ 16669 h 259831"/>
                  <a:gd name="connsiteX3" fmla="*/ 120566 w 465932"/>
                  <a:gd name="connsiteY3" fmla="*/ 9525 h 259831"/>
                  <a:gd name="connsiteX4" fmla="*/ 106279 w 465932"/>
                  <a:gd name="connsiteY4" fmla="*/ 4762 h 259831"/>
                  <a:gd name="connsiteX5" fmla="*/ 99135 w 465932"/>
                  <a:gd name="connsiteY5" fmla="*/ 2381 h 259831"/>
                  <a:gd name="connsiteX6" fmla="*/ 91991 w 465932"/>
                  <a:gd name="connsiteY6" fmla="*/ 0 h 259831"/>
                  <a:gd name="connsiteX7" fmla="*/ 51510 w 465932"/>
                  <a:gd name="connsiteY7" fmla="*/ 4762 h 259831"/>
                  <a:gd name="connsiteX8" fmla="*/ 44366 w 465932"/>
                  <a:gd name="connsiteY8" fmla="*/ 9525 h 259831"/>
                  <a:gd name="connsiteX9" fmla="*/ 41985 w 465932"/>
                  <a:gd name="connsiteY9" fmla="*/ 16669 h 259831"/>
                  <a:gd name="connsiteX10" fmla="*/ 27697 w 465932"/>
                  <a:gd name="connsiteY10" fmla="*/ 30956 h 259831"/>
                  <a:gd name="connsiteX11" fmla="*/ 3885 w 465932"/>
                  <a:gd name="connsiteY11" fmla="*/ 38100 h 259831"/>
                  <a:gd name="connsiteX12" fmla="*/ 3885 w 465932"/>
                  <a:gd name="connsiteY12" fmla="*/ 73819 h 259831"/>
                  <a:gd name="connsiteX13" fmla="*/ 18172 w 465932"/>
                  <a:gd name="connsiteY13" fmla="*/ 85725 h 259831"/>
                  <a:gd name="connsiteX14" fmla="*/ 32460 w 465932"/>
                  <a:gd name="connsiteY14" fmla="*/ 100012 h 259831"/>
                  <a:gd name="connsiteX15" fmla="*/ 37222 w 465932"/>
                  <a:gd name="connsiteY15" fmla="*/ 107156 h 259831"/>
                  <a:gd name="connsiteX16" fmla="*/ 51510 w 465932"/>
                  <a:gd name="connsiteY16" fmla="*/ 121444 h 259831"/>
                  <a:gd name="connsiteX17" fmla="*/ 65797 w 465932"/>
                  <a:gd name="connsiteY17" fmla="*/ 126206 h 259831"/>
                  <a:gd name="connsiteX18" fmla="*/ 72941 w 465932"/>
                  <a:gd name="connsiteY18" fmla="*/ 128587 h 259831"/>
                  <a:gd name="connsiteX19" fmla="*/ 132472 w 465932"/>
                  <a:gd name="connsiteY19" fmla="*/ 126206 h 259831"/>
                  <a:gd name="connsiteX20" fmla="*/ 139616 w 465932"/>
                  <a:gd name="connsiteY20" fmla="*/ 123825 h 259831"/>
                  <a:gd name="connsiteX21" fmla="*/ 149141 w 465932"/>
                  <a:gd name="connsiteY21" fmla="*/ 121444 h 259831"/>
                  <a:gd name="connsiteX22" fmla="*/ 182479 w 465932"/>
                  <a:gd name="connsiteY22" fmla="*/ 123825 h 259831"/>
                  <a:gd name="connsiteX23" fmla="*/ 196766 w 465932"/>
                  <a:gd name="connsiteY23" fmla="*/ 128587 h 259831"/>
                  <a:gd name="connsiteX24" fmla="*/ 203910 w 465932"/>
                  <a:gd name="connsiteY24" fmla="*/ 133350 h 259831"/>
                  <a:gd name="connsiteX25" fmla="*/ 211054 w 465932"/>
                  <a:gd name="connsiteY25" fmla="*/ 135731 h 259831"/>
                  <a:gd name="connsiteX26" fmla="*/ 215816 w 465932"/>
                  <a:gd name="connsiteY26" fmla="*/ 142875 h 259831"/>
                  <a:gd name="connsiteX27" fmla="*/ 230104 w 465932"/>
                  <a:gd name="connsiteY27" fmla="*/ 152400 h 259831"/>
                  <a:gd name="connsiteX28" fmla="*/ 242010 w 465932"/>
                  <a:gd name="connsiteY28" fmla="*/ 166687 h 259831"/>
                  <a:gd name="connsiteX29" fmla="*/ 251535 w 465932"/>
                  <a:gd name="connsiteY29" fmla="*/ 180975 h 259831"/>
                  <a:gd name="connsiteX30" fmla="*/ 263441 w 465932"/>
                  <a:gd name="connsiteY30" fmla="*/ 204787 h 259831"/>
                  <a:gd name="connsiteX31" fmla="*/ 268204 w 465932"/>
                  <a:gd name="connsiteY31" fmla="*/ 211931 h 259831"/>
                  <a:gd name="connsiteX32" fmla="*/ 275347 w 465932"/>
                  <a:gd name="connsiteY32" fmla="*/ 216694 h 259831"/>
                  <a:gd name="connsiteX33" fmla="*/ 289635 w 465932"/>
                  <a:gd name="connsiteY33" fmla="*/ 230981 h 259831"/>
                  <a:gd name="connsiteX34" fmla="*/ 311066 w 465932"/>
                  <a:gd name="connsiteY34" fmla="*/ 245269 h 259831"/>
                  <a:gd name="connsiteX35" fmla="*/ 318210 w 465932"/>
                  <a:gd name="connsiteY35" fmla="*/ 250031 h 259831"/>
                  <a:gd name="connsiteX36" fmla="*/ 325354 w 465932"/>
                  <a:gd name="connsiteY36" fmla="*/ 252412 h 259831"/>
                  <a:gd name="connsiteX37" fmla="*/ 332497 w 465932"/>
                  <a:gd name="connsiteY37" fmla="*/ 257175 h 259831"/>
                  <a:gd name="connsiteX38" fmla="*/ 384885 w 465932"/>
                  <a:gd name="connsiteY38" fmla="*/ 257175 h 259831"/>
                  <a:gd name="connsiteX39" fmla="*/ 389647 w 465932"/>
                  <a:gd name="connsiteY39" fmla="*/ 240506 h 259831"/>
                  <a:gd name="connsiteX40" fmla="*/ 396791 w 465932"/>
                  <a:gd name="connsiteY40" fmla="*/ 235744 h 259831"/>
                  <a:gd name="connsiteX41" fmla="*/ 403935 w 465932"/>
                  <a:gd name="connsiteY41" fmla="*/ 233362 h 259831"/>
                  <a:gd name="connsiteX42" fmla="*/ 449179 w 465932"/>
                  <a:gd name="connsiteY42" fmla="*/ 230981 h 259831"/>
                  <a:gd name="connsiteX43" fmla="*/ 463466 w 465932"/>
                  <a:gd name="connsiteY43" fmla="*/ 223837 h 259831"/>
                  <a:gd name="connsiteX44" fmla="*/ 465847 w 465932"/>
                  <a:gd name="connsiteY44" fmla="*/ 216694 h 259831"/>
                  <a:gd name="connsiteX45" fmla="*/ 461085 w 465932"/>
                  <a:gd name="connsiteY45" fmla="*/ 169069 h 259831"/>
                  <a:gd name="connsiteX46" fmla="*/ 442035 w 465932"/>
                  <a:gd name="connsiteY46" fmla="*/ 147637 h 259831"/>
                  <a:gd name="connsiteX47" fmla="*/ 434891 w 465932"/>
                  <a:gd name="connsiteY47" fmla="*/ 140494 h 259831"/>
                  <a:gd name="connsiteX48" fmla="*/ 425366 w 465932"/>
                  <a:gd name="connsiteY48" fmla="*/ 130969 h 259831"/>
                  <a:gd name="connsiteX49" fmla="*/ 420604 w 465932"/>
                  <a:gd name="connsiteY49" fmla="*/ 123825 h 259831"/>
                  <a:gd name="connsiteX50" fmla="*/ 406316 w 465932"/>
                  <a:gd name="connsiteY50" fmla="*/ 114300 h 259831"/>
                  <a:gd name="connsiteX51" fmla="*/ 399172 w 465932"/>
                  <a:gd name="connsiteY51" fmla="*/ 107156 h 259831"/>
                  <a:gd name="connsiteX52" fmla="*/ 389647 w 465932"/>
                  <a:gd name="connsiteY52" fmla="*/ 104775 h 259831"/>
                  <a:gd name="connsiteX53" fmla="*/ 380122 w 465932"/>
                  <a:gd name="connsiteY53" fmla="*/ 97631 h 259831"/>
                  <a:gd name="connsiteX54" fmla="*/ 358691 w 465932"/>
                  <a:gd name="connsiteY54" fmla="*/ 85725 h 259831"/>
                  <a:gd name="connsiteX55" fmla="*/ 344404 w 465932"/>
                  <a:gd name="connsiteY55" fmla="*/ 71437 h 259831"/>
                  <a:gd name="connsiteX56" fmla="*/ 339641 w 465932"/>
                  <a:gd name="connsiteY56" fmla="*/ 64294 h 259831"/>
                  <a:gd name="connsiteX57" fmla="*/ 332497 w 465932"/>
                  <a:gd name="connsiteY57" fmla="*/ 57150 h 259831"/>
                  <a:gd name="connsiteX58" fmla="*/ 327735 w 465932"/>
                  <a:gd name="connsiteY58" fmla="*/ 50006 h 259831"/>
                  <a:gd name="connsiteX59" fmla="*/ 313447 w 465932"/>
                  <a:gd name="connsiteY59" fmla="*/ 45244 h 259831"/>
                  <a:gd name="connsiteX60" fmla="*/ 299160 w 465932"/>
                  <a:gd name="connsiteY60" fmla="*/ 40481 h 259831"/>
                  <a:gd name="connsiteX61" fmla="*/ 280110 w 465932"/>
                  <a:gd name="connsiteY61" fmla="*/ 38100 h 259831"/>
                  <a:gd name="connsiteX62" fmla="*/ 272966 w 465932"/>
                  <a:gd name="connsiteY62" fmla="*/ 35719 h 259831"/>
                  <a:gd name="connsiteX63" fmla="*/ 268204 w 465932"/>
                  <a:gd name="connsiteY63" fmla="*/ 21431 h 259831"/>
                  <a:gd name="connsiteX64" fmla="*/ 253916 w 465932"/>
                  <a:gd name="connsiteY64" fmla="*/ 14287 h 259831"/>
                  <a:gd name="connsiteX65" fmla="*/ 230104 w 465932"/>
                  <a:gd name="connsiteY65" fmla="*/ 16669 h 259831"/>
                  <a:gd name="connsiteX66" fmla="*/ 222960 w 465932"/>
                  <a:gd name="connsiteY66" fmla="*/ 19050 h 259831"/>
                  <a:gd name="connsiteX67" fmla="*/ 215816 w 465932"/>
                  <a:gd name="connsiteY67" fmla="*/ 23812 h 25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65932" h="259831">
                    <a:moveTo>
                      <a:pt x="215816" y="23812"/>
                    </a:moveTo>
                    <a:cubicBezTo>
                      <a:pt x="209863" y="24209"/>
                      <a:pt x="196725" y="22616"/>
                      <a:pt x="187241" y="21431"/>
                    </a:cubicBezTo>
                    <a:cubicBezTo>
                      <a:pt x="182457" y="20833"/>
                      <a:pt x="175317" y="18250"/>
                      <a:pt x="170572" y="16669"/>
                    </a:cubicBezTo>
                    <a:cubicBezTo>
                      <a:pt x="150351" y="3186"/>
                      <a:pt x="172147" y="15973"/>
                      <a:pt x="120566" y="9525"/>
                    </a:cubicBezTo>
                    <a:cubicBezTo>
                      <a:pt x="115585" y="8902"/>
                      <a:pt x="111041" y="6350"/>
                      <a:pt x="106279" y="4762"/>
                    </a:cubicBezTo>
                    <a:lnTo>
                      <a:pt x="99135" y="2381"/>
                    </a:lnTo>
                    <a:lnTo>
                      <a:pt x="91991" y="0"/>
                    </a:lnTo>
                    <a:cubicBezTo>
                      <a:pt x="86731" y="376"/>
                      <a:pt x="62333" y="-649"/>
                      <a:pt x="51510" y="4762"/>
                    </a:cubicBezTo>
                    <a:cubicBezTo>
                      <a:pt x="48950" y="6042"/>
                      <a:pt x="46747" y="7937"/>
                      <a:pt x="44366" y="9525"/>
                    </a:cubicBezTo>
                    <a:cubicBezTo>
                      <a:pt x="43572" y="11906"/>
                      <a:pt x="43526" y="14688"/>
                      <a:pt x="41985" y="16669"/>
                    </a:cubicBezTo>
                    <a:cubicBezTo>
                      <a:pt x="37850" y="21985"/>
                      <a:pt x="34086" y="28826"/>
                      <a:pt x="27697" y="30956"/>
                    </a:cubicBezTo>
                    <a:cubicBezTo>
                      <a:pt x="10305" y="36754"/>
                      <a:pt x="18280" y="34502"/>
                      <a:pt x="3885" y="38100"/>
                    </a:cubicBezTo>
                    <a:cubicBezTo>
                      <a:pt x="-687" y="51818"/>
                      <a:pt x="-1870" y="52240"/>
                      <a:pt x="3885" y="73819"/>
                    </a:cubicBezTo>
                    <a:cubicBezTo>
                      <a:pt x="5149" y="78559"/>
                      <a:pt x="14944" y="82856"/>
                      <a:pt x="18172" y="85725"/>
                    </a:cubicBezTo>
                    <a:cubicBezTo>
                      <a:pt x="23206" y="90200"/>
                      <a:pt x="28724" y="94408"/>
                      <a:pt x="32460" y="100012"/>
                    </a:cubicBezTo>
                    <a:cubicBezTo>
                      <a:pt x="34047" y="102393"/>
                      <a:pt x="35321" y="105017"/>
                      <a:pt x="37222" y="107156"/>
                    </a:cubicBezTo>
                    <a:cubicBezTo>
                      <a:pt x="41697" y="112190"/>
                      <a:pt x="45120" y="119314"/>
                      <a:pt x="51510" y="121444"/>
                    </a:cubicBezTo>
                    <a:lnTo>
                      <a:pt x="65797" y="126206"/>
                    </a:lnTo>
                    <a:lnTo>
                      <a:pt x="72941" y="128587"/>
                    </a:lnTo>
                    <a:cubicBezTo>
                      <a:pt x="92785" y="127793"/>
                      <a:pt x="112663" y="127621"/>
                      <a:pt x="132472" y="126206"/>
                    </a:cubicBezTo>
                    <a:cubicBezTo>
                      <a:pt x="134976" y="126027"/>
                      <a:pt x="137202" y="124515"/>
                      <a:pt x="139616" y="123825"/>
                    </a:cubicBezTo>
                    <a:cubicBezTo>
                      <a:pt x="142763" y="122926"/>
                      <a:pt x="145966" y="122238"/>
                      <a:pt x="149141" y="121444"/>
                    </a:cubicBezTo>
                    <a:cubicBezTo>
                      <a:pt x="160254" y="122238"/>
                      <a:pt x="171461" y="122173"/>
                      <a:pt x="182479" y="123825"/>
                    </a:cubicBezTo>
                    <a:cubicBezTo>
                      <a:pt x="187443" y="124570"/>
                      <a:pt x="196766" y="128587"/>
                      <a:pt x="196766" y="128587"/>
                    </a:cubicBezTo>
                    <a:cubicBezTo>
                      <a:pt x="199147" y="130175"/>
                      <a:pt x="201350" y="132070"/>
                      <a:pt x="203910" y="133350"/>
                    </a:cubicBezTo>
                    <a:cubicBezTo>
                      <a:pt x="206155" y="134473"/>
                      <a:pt x="209094" y="134163"/>
                      <a:pt x="211054" y="135731"/>
                    </a:cubicBezTo>
                    <a:cubicBezTo>
                      <a:pt x="213289" y="137519"/>
                      <a:pt x="213662" y="140990"/>
                      <a:pt x="215816" y="142875"/>
                    </a:cubicBezTo>
                    <a:cubicBezTo>
                      <a:pt x="220124" y="146644"/>
                      <a:pt x="230104" y="152400"/>
                      <a:pt x="230104" y="152400"/>
                    </a:cubicBezTo>
                    <a:cubicBezTo>
                      <a:pt x="247114" y="177919"/>
                      <a:pt x="220628" y="139196"/>
                      <a:pt x="242010" y="166687"/>
                    </a:cubicBezTo>
                    <a:cubicBezTo>
                      <a:pt x="245524" y="171205"/>
                      <a:pt x="251535" y="180975"/>
                      <a:pt x="251535" y="180975"/>
                    </a:cubicBezTo>
                    <a:cubicBezTo>
                      <a:pt x="255304" y="196053"/>
                      <a:pt x="252101" y="187777"/>
                      <a:pt x="263441" y="204787"/>
                    </a:cubicBezTo>
                    <a:cubicBezTo>
                      <a:pt x="265029" y="207168"/>
                      <a:pt x="265823" y="210343"/>
                      <a:pt x="268204" y="211931"/>
                    </a:cubicBezTo>
                    <a:cubicBezTo>
                      <a:pt x="270585" y="213519"/>
                      <a:pt x="273208" y="214793"/>
                      <a:pt x="275347" y="216694"/>
                    </a:cubicBezTo>
                    <a:cubicBezTo>
                      <a:pt x="280381" y="221169"/>
                      <a:pt x="284031" y="227245"/>
                      <a:pt x="289635" y="230981"/>
                    </a:cubicBezTo>
                    <a:lnTo>
                      <a:pt x="311066" y="245269"/>
                    </a:lnTo>
                    <a:cubicBezTo>
                      <a:pt x="313447" y="246856"/>
                      <a:pt x="315495" y="249126"/>
                      <a:pt x="318210" y="250031"/>
                    </a:cubicBezTo>
                    <a:lnTo>
                      <a:pt x="325354" y="252412"/>
                    </a:lnTo>
                    <a:cubicBezTo>
                      <a:pt x="327735" y="254000"/>
                      <a:pt x="329684" y="256648"/>
                      <a:pt x="332497" y="257175"/>
                    </a:cubicBezTo>
                    <a:cubicBezTo>
                      <a:pt x="356501" y="261676"/>
                      <a:pt x="362974" y="259609"/>
                      <a:pt x="384885" y="257175"/>
                    </a:cubicBezTo>
                    <a:cubicBezTo>
                      <a:pt x="385040" y="256553"/>
                      <a:pt x="388405" y="242058"/>
                      <a:pt x="389647" y="240506"/>
                    </a:cubicBezTo>
                    <a:cubicBezTo>
                      <a:pt x="391435" y="238271"/>
                      <a:pt x="394231" y="237024"/>
                      <a:pt x="396791" y="235744"/>
                    </a:cubicBezTo>
                    <a:cubicBezTo>
                      <a:pt x="399036" y="234621"/>
                      <a:pt x="401435" y="233589"/>
                      <a:pt x="403935" y="233362"/>
                    </a:cubicBezTo>
                    <a:cubicBezTo>
                      <a:pt x="418975" y="231995"/>
                      <a:pt x="434098" y="231775"/>
                      <a:pt x="449179" y="230981"/>
                    </a:cubicBezTo>
                    <a:cubicBezTo>
                      <a:pt x="453886" y="229412"/>
                      <a:pt x="460108" y="228034"/>
                      <a:pt x="463466" y="223837"/>
                    </a:cubicBezTo>
                    <a:cubicBezTo>
                      <a:pt x="465034" y="221877"/>
                      <a:pt x="465053" y="219075"/>
                      <a:pt x="465847" y="216694"/>
                    </a:cubicBezTo>
                    <a:cubicBezTo>
                      <a:pt x="465708" y="214336"/>
                      <a:pt x="467297" y="181492"/>
                      <a:pt x="461085" y="169069"/>
                    </a:cubicBezTo>
                    <a:cubicBezTo>
                      <a:pt x="456836" y="160572"/>
                      <a:pt x="448343" y="153945"/>
                      <a:pt x="442035" y="147637"/>
                    </a:cubicBezTo>
                    <a:lnTo>
                      <a:pt x="434891" y="140494"/>
                    </a:lnTo>
                    <a:cubicBezTo>
                      <a:pt x="429696" y="124907"/>
                      <a:pt x="436912" y="140206"/>
                      <a:pt x="425366" y="130969"/>
                    </a:cubicBezTo>
                    <a:cubicBezTo>
                      <a:pt x="423131" y="129181"/>
                      <a:pt x="422758" y="125710"/>
                      <a:pt x="420604" y="123825"/>
                    </a:cubicBezTo>
                    <a:cubicBezTo>
                      <a:pt x="416296" y="120056"/>
                      <a:pt x="410363" y="118347"/>
                      <a:pt x="406316" y="114300"/>
                    </a:cubicBezTo>
                    <a:cubicBezTo>
                      <a:pt x="403935" y="111919"/>
                      <a:pt x="402096" y="108827"/>
                      <a:pt x="399172" y="107156"/>
                    </a:cubicBezTo>
                    <a:cubicBezTo>
                      <a:pt x="396330" y="105532"/>
                      <a:pt x="392822" y="105569"/>
                      <a:pt x="389647" y="104775"/>
                    </a:cubicBezTo>
                    <a:cubicBezTo>
                      <a:pt x="386472" y="102394"/>
                      <a:pt x="383568" y="99600"/>
                      <a:pt x="380122" y="97631"/>
                    </a:cubicBezTo>
                    <a:cubicBezTo>
                      <a:pt x="366149" y="89646"/>
                      <a:pt x="378259" y="105294"/>
                      <a:pt x="358691" y="85725"/>
                    </a:cubicBezTo>
                    <a:cubicBezTo>
                      <a:pt x="353929" y="80962"/>
                      <a:pt x="348141" y="77041"/>
                      <a:pt x="344404" y="71437"/>
                    </a:cubicBezTo>
                    <a:cubicBezTo>
                      <a:pt x="342816" y="69056"/>
                      <a:pt x="341473" y="66492"/>
                      <a:pt x="339641" y="64294"/>
                    </a:cubicBezTo>
                    <a:cubicBezTo>
                      <a:pt x="337485" y="61707"/>
                      <a:pt x="334653" y="59737"/>
                      <a:pt x="332497" y="57150"/>
                    </a:cubicBezTo>
                    <a:cubicBezTo>
                      <a:pt x="330665" y="54951"/>
                      <a:pt x="330162" y="51523"/>
                      <a:pt x="327735" y="50006"/>
                    </a:cubicBezTo>
                    <a:cubicBezTo>
                      <a:pt x="323478" y="47345"/>
                      <a:pt x="318210" y="46832"/>
                      <a:pt x="313447" y="45244"/>
                    </a:cubicBezTo>
                    <a:cubicBezTo>
                      <a:pt x="313439" y="45241"/>
                      <a:pt x="299169" y="40482"/>
                      <a:pt x="299160" y="40481"/>
                    </a:cubicBezTo>
                    <a:lnTo>
                      <a:pt x="280110" y="38100"/>
                    </a:lnTo>
                    <a:cubicBezTo>
                      <a:pt x="277729" y="37306"/>
                      <a:pt x="274425" y="37762"/>
                      <a:pt x="272966" y="35719"/>
                    </a:cubicBezTo>
                    <a:cubicBezTo>
                      <a:pt x="270048" y="31634"/>
                      <a:pt x="272381" y="24215"/>
                      <a:pt x="268204" y="21431"/>
                    </a:cubicBezTo>
                    <a:cubicBezTo>
                      <a:pt x="258971" y="15277"/>
                      <a:pt x="263775" y="17574"/>
                      <a:pt x="253916" y="14287"/>
                    </a:cubicBezTo>
                    <a:cubicBezTo>
                      <a:pt x="245979" y="15081"/>
                      <a:pt x="237988" y="15456"/>
                      <a:pt x="230104" y="16669"/>
                    </a:cubicBezTo>
                    <a:cubicBezTo>
                      <a:pt x="227623" y="17051"/>
                      <a:pt x="225374" y="18360"/>
                      <a:pt x="222960" y="19050"/>
                    </a:cubicBezTo>
                    <a:cubicBezTo>
                      <a:pt x="219813" y="19949"/>
                      <a:pt x="221769" y="23415"/>
                      <a:pt x="215816" y="2381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8" name="Freeform 267"/>
              <p:cNvSpPr/>
              <p:nvPr/>
            </p:nvSpPr>
            <p:spPr>
              <a:xfrm>
                <a:off x="6469294" y="5196252"/>
                <a:ext cx="822494" cy="208206"/>
              </a:xfrm>
              <a:custGeom>
                <a:avLst/>
                <a:gdLst>
                  <a:gd name="connsiteX0" fmla="*/ 412919 w 822494"/>
                  <a:gd name="connsiteY0" fmla="*/ 79618 h 208206"/>
                  <a:gd name="connsiteX1" fmla="*/ 401012 w 822494"/>
                  <a:gd name="connsiteY1" fmla="*/ 72475 h 208206"/>
                  <a:gd name="connsiteX2" fmla="*/ 386725 w 822494"/>
                  <a:gd name="connsiteY2" fmla="*/ 62950 h 208206"/>
                  <a:gd name="connsiteX3" fmla="*/ 379581 w 822494"/>
                  <a:gd name="connsiteY3" fmla="*/ 60568 h 208206"/>
                  <a:gd name="connsiteX4" fmla="*/ 358150 w 822494"/>
                  <a:gd name="connsiteY4" fmla="*/ 43900 h 208206"/>
                  <a:gd name="connsiteX5" fmla="*/ 343862 w 822494"/>
                  <a:gd name="connsiteY5" fmla="*/ 41518 h 208206"/>
                  <a:gd name="connsiteX6" fmla="*/ 334337 w 822494"/>
                  <a:gd name="connsiteY6" fmla="*/ 39137 h 208206"/>
                  <a:gd name="connsiteX7" fmla="*/ 320050 w 822494"/>
                  <a:gd name="connsiteY7" fmla="*/ 36756 h 208206"/>
                  <a:gd name="connsiteX8" fmla="*/ 312906 w 822494"/>
                  <a:gd name="connsiteY8" fmla="*/ 34375 h 208206"/>
                  <a:gd name="connsiteX9" fmla="*/ 296237 w 822494"/>
                  <a:gd name="connsiteY9" fmla="*/ 29612 h 208206"/>
                  <a:gd name="connsiteX10" fmla="*/ 289094 w 822494"/>
                  <a:gd name="connsiteY10" fmla="*/ 24850 h 208206"/>
                  <a:gd name="connsiteX11" fmla="*/ 265281 w 822494"/>
                  <a:gd name="connsiteY11" fmla="*/ 20087 h 208206"/>
                  <a:gd name="connsiteX12" fmla="*/ 253375 w 822494"/>
                  <a:gd name="connsiteY12" fmla="*/ 17706 h 208206"/>
                  <a:gd name="connsiteX13" fmla="*/ 239087 w 822494"/>
                  <a:gd name="connsiteY13" fmla="*/ 12943 h 208206"/>
                  <a:gd name="connsiteX14" fmla="*/ 186700 w 822494"/>
                  <a:gd name="connsiteY14" fmla="*/ 8181 h 208206"/>
                  <a:gd name="connsiteX15" fmla="*/ 174794 w 822494"/>
                  <a:gd name="connsiteY15" fmla="*/ 5800 h 208206"/>
                  <a:gd name="connsiteX16" fmla="*/ 165269 w 822494"/>
                  <a:gd name="connsiteY16" fmla="*/ 3418 h 208206"/>
                  <a:gd name="connsiteX17" fmla="*/ 131931 w 822494"/>
                  <a:gd name="connsiteY17" fmla="*/ 5800 h 208206"/>
                  <a:gd name="connsiteX18" fmla="*/ 122406 w 822494"/>
                  <a:gd name="connsiteY18" fmla="*/ 8181 h 208206"/>
                  <a:gd name="connsiteX19" fmla="*/ 105737 w 822494"/>
                  <a:gd name="connsiteY19" fmla="*/ 20087 h 208206"/>
                  <a:gd name="connsiteX20" fmla="*/ 98594 w 822494"/>
                  <a:gd name="connsiteY20" fmla="*/ 22468 h 208206"/>
                  <a:gd name="connsiteX21" fmla="*/ 86687 w 822494"/>
                  <a:gd name="connsiteY21" fmla="*/ 31993 h 208206"/>
                  <a:gd name="connsiteX22" fmla="*/ 79544 w 822494"/>
                  <a:gd name="connsiteY22" fmla="*/ 36756 h 208206"/>
                  <a:gd name="connsiteX23" fmla="*/ 70019 w 822494"/>
                  <a:gd name="connsiteY23" fmla="*/ 41518 h 208206"/>
                  <a:gd name="connsiteX24" fmla="*/ 62875 w 822494"/>
                  <a:gd name="connsiteY24" fmla="*/ 46281 h 208206"/>
                  <a:gd name="connsiteX25" fmla="*/ 43825 w 822494"/>
                  <a:gd name="connsiteY25" fmla="*/ 48662 h 208206"/>
                  <a:gd name="connsiteX26" fmla="*/ 29537 w 822494"/>
                  <a:gd name="connsiteY26" fmla="*/ 51043 h 208206"/>
                  <a:gd name="connsiteX27" fmla="*/ 22394 w 822494"/>
                  <a:gd name="connsiteY27" fmla="*/ 53425 h 208206"/>
                  <a:gd name="connsiteX28" fmla="*/ 8106 w 822494"/>
                  <a:gd name="connsiteY28" fmla="*/ 62950 h 208206"/>
                  <a:gd name="connsiteX29" fmla="*/ 3344 w 822494"/>
                  <a:gd name="connsiteY29" fmla="*/ 70093 h 208206"/>
                  <a:gd name="connsiteX30" fmla="*/ 10487 w 822494"/>
                  <a:gd name="connsiteY30" fmla="*/ 148675 h 208206"/>
                  <a:gd name="connsiteX31" fmla="*/ 17631 w 822494"/>
                  <a:gd name="connsiteY31" fmla="*/ 155818 h 208206"/>
                  <a:gd name="connsiteX32" fmla="*/ 24775 w 822494"/>
                  <a:gd name="connsiteY32" fmla="*/ 158200 h 208206"/>
                  <a:gd name="connsiteX33" fmla="*/ 31919 w 822494"/>
                  <a:gd name="connsiteY33" fmla="*/ 162962 h 208206"/>
                  <a:gd name="connsiteX34" fmla="*/ 84306 w 822494"/>
                  <a:gd name="connsiteY34" fmla="*/ 160581 h 208206"/>
                  <a:gd name="connsiteX35" fmla="*/ 91450 w 822494"/>
                  <a:gd name="connsiteY35" fmla="*/ 158200 h 208206"/>
                  <a:gd name="connsiteX36" fmla="*/ 100975 w 822494"/>
                  <a:gd name="connsiteY36" fmla="*/ 155818 h 208206"/>
                  <a:gd name="connsiteX37" fmla="*/ 108119 w 822494"/>
                  <a:gd name="connsiteY37" fmla="*/ 151056 h 208206"/>
                  <a:gd name="connsiteX38" fmla="*/ 122406 w 822494"/>
                  <a:gd name="connsiteY38" fmla="*/ 146293 h 208206"/>
                  <a:gd name="connsiteX39" fmla="*/ 143837 w 822494"/>
                  <a:gd name="connsiteY39" fmla="*/ 151056 h 208206"/>
                  <a:gd name="connsiteX40" fmla="*/ 162887 w 822494"/>
                  <a:gd name="connsiteY40" fmla="*/ 167725 h 208206"/>
                  <a:gd name="connsiteX41" fmla="*/ 181937 w 822494"/>
                  <a:gd name="connsiteY41" fmla="*/ 170106 h 208206"/>
                  <a:gd name="connsiteX42" fmla="*/ 236706 w 822494"/>
                  <a:gd name="connsiteY42" fmla="*/ 170106 h 208206"/>
                  <a:gd name="connsiteX43" fmla="*/ 243850 w 822494"/>
                  <a:gd name="connsiteY43" fmla="*/ 172487 h 208206"/>
                  <a:gd name="connsiteX44" fmla="*/ 255756 w 822494"/>
                  <a:gd name="connsiteY44" fmla="*/ 182012 h 208206"/>
                  <a:gd name="connsiteX45" fmla="*/ 262900 w 822494"/>
                  <a:gd name="connsiteY45" fmla="*/ 179631 h 208206"/>
                  <a:gd name="connsiteX46" fmla="*/ 274806 w 822494"/>
                  <a:gd name="connsiteY46" fmla="*/ 167725 h 208206"/>
                  <a:gd name="connsiteX47" fmla="*/ 284331 w 822494"/>
                  <a:gd name="connsiteY47" fmla="*/ 170106 h 208206"/>
                  <a:gd name="connsiteX48" fmla="*/ 291475 w 822494"/>
                  <a:gd name="connsiteY48" fmla="*/ 174868 h 208206"/>
                  <a:gd name="connsiteX49" fmla="*/ 303381 w 822494"/>
                  <a:gd name="connsiteY49" fmla="*/ 186775 h 208206"/>
                  <a:gd name="connsiteX50" fmla="*/ 308144 w 822494"/>
                  <a:gd name="connsiteY50" fmla="*/ 201062 h 208206"/>
                  <a:gd name="connsiteX51" fmla="*/ 341481 w 822494"/>
                  <a:gd name="connsiteY51" fmla="*/ 208206 h 208206"/>
                  <a:gd name="connsiteX52" fmla="*/ 353387 w 822494"/>
                  <a:gd name="connsiteY52" fmla="*/ 198681 h 208206"/>
                  <a:gd name="connsiteX53" fmla="*/ 367675 w 822494"/>
                  <a:gd name="connsiteY53" fmla="*/ 193918 h 208206"/>
                  <a:gd name="connsiteX54" fmla="*/ 405775 w 822494"/>
                  <a:gd name="connsiteY54" fmla="*/ 189156 h 208206"/>
                  <a:gd name="connsiteX55" fmla="*/ 417681 w 822494"/>
                  <a:gd name="connsiteY55" fmla="*/ 186775 h 208206"/>
                  <a:gd name="connsiteX56" fmla="*/ 424825 w 822494"/>
                  <a:gd name="connsiteY56" fmla="*/ 179631 h 208206"/>
                  <a:gd name="connsiteX57" fmla="*/ 431969 w 822494"/>
                  <a:gd name="connsiteY57" fmla="*/ 174868 h 208206"/>
                  <a:gd name="connsiteX58" fmla="*/ 441494 w 822494"/>
                  <a:gd name="connsiteY58" fmla="*/ 172487 h 208206"/>
                  <a:gd name="connsiteX59" fmla="*/ 448637 w 822494"/>
                  <a:gd name="connsiteY59" fmla="*/ 170106 h 208206"/>
                  <a:gd name="connsiteX60" fmla="*/ 489119 w 822494"/>
                  <a:gd name="connsiteY60" fmla="*/ 172487 h 208206"/>
                  <a:gd name="connsiteX61" fmla="*/ 496262 w 822494"/>
                  <a:gd name="connsiteY61" fmla="*/ 174868 h 208206"/>
                  <a:gd name="connsiteX62" fmla="*/ 510550 w 822494"/>
                  <a:gd name="connsiteY62" fmla="*/ 177250 h 208206"/>
                  <a:gd name="connsiteX63" fmla="*/ 543887 w 822494"/>
                  <a:gd name="connsiteY63" fmla="*/ 174868 h 208206"/>
                  <a:gd name="connsiteX64" fmla="*/ 551031 w 822494"/>
                  <a:gd name="connsiteY64" fmla="*/ 170106 h 208206"/>
                  <a:gd name="connsiteX65" fmla="*/ 558175 w 822494"/>
                  <a:gd name="connsiteY65" fmla="*/ 167725 h 208206"/>
                  <a:gd name="connsiteX66" fmla="*/ 574844 w 822494"/>
                  <a:gd name="connsiteY66" fmla="*/ 148675 h 208206"/>
                  <a:gd name="connsiteX67" fmla="*/ 581987 w 822494"/>
                  <a:gd name="connsiteY67" fmla="*/ 146293 h 208206"/>
                  <a:gd name="connsiteX68" fmla="*/ 689144 w 822494"/>
                  <a:gd name="connsiteY68" fmla="*/ 146293 h 208206"/>
                  <a:gd name="connsiteX69" fmla="*/ 696287 w 822494"/>
                  <a:gd name="connsiteY69" fmla="*/ 143912 h 208206"/>
                  <a:gd name="connsiteX70" fmla="*/ 710575 w 822494"/>
                  <a:gd name="connsiteY70" fmla="*/ 132006 h 208206"/>
                  <a:gd name="connsiteX71" fmla="*/ 717719 w 822494"/>
                  <a:gd name="connsiteY71" fmla="*/ 127243 h 208206"/>
                  <a:gd name="connsiteX72" fmla="*/ 724862 w 822494"/>
                  <a:gd name="connsiteY72" fmla="*/ 120100 h 208206"/>
                  <a:gd name="connsiteX73" fmla="*/ 732006 w 822494"/>
                  <a:gd name="connsiteY73" fmla="*/ 117718 h 208206"/>
                  <a:gd name="connsiteX74" fmla="*/ 739150 w 822494"/>
                  <a:gd name="connsiteY74" fmla="*/ 110575 h 208206"/>
                  <a:gd name="connsiteX75" fmla="*/ 746294 w 822494"/>
                  <a:gd name="connsiteY75" fmla="*/ 108193 h 208206"/>
                  <a:gd name="connsiteX76" fmla="*/ 777250 w 822494"/>
                  <a:gd name="connsiteY76" fmla="*/ 103431 h 208206"/>
                  <a:gd name="connsiteX77" fmla="*/ 784394 w 822494"/>
                  <a:gd name="connsiteY77" fmla="*/ 101050 h 208206"/>
                  <a:gd name="connsiteX78" fmla="*/ 789156 w 822494"/>
                  <a:gd name="connsiteY78" fmla="*/ 93906 h 208206"/>
                  <a:gd name="connsiteX79" fmla="*/ 796300 w 822494"/>
                  <a:gd name="connsiteY79" fmla="*/ 86762 h 208206"/>
                  <a:gd name="connsiteX80" fmla="*/ 798681 w 822494"/>
                  <a:gd name="connsiteY80" fmla="*/ 77237 h 208206"/>
                  <a:gd name="connsiteX81" fmla="*/ 805825 w 822494"/>
                  <a:gd name="connsiteY81" fmla="*/ 41518 h 208206"/>
                  <a:gd name="connsiteX82" fmla="*/ 817731 w 822494"/>
                  <a:gd name="connsiteY82" fmla="*/ 27231 h 208206"/>
                  <a:gd name="connsiteX83" fmla="*/ 822494 w 822494"/>
                  <a:gd name="connsiteY83" fmla="*/ 12943 h 208206"/>
                  <a:gd name="connsiteX84" fmla="*/ 820112 w 822494"/>
                  <a:gd name="connsiteY84" fmla="*/ 5800 h 208206"/>
                  <a:gd name="connsiteX85" fmla="*/ 782012 w 822494"/>
                  <a:gd name="connsiteY85" fmla="*/ 3418 h 208206"/>
                  <a:gd name="connsiteX86" fmla="*/ 767725 w 822494"/>
                  <a:gd name="connsiteY86" fmla="*/ 12943 h 208206"/>
                  <a:gd name="connsiteX87" fmla="*/ 746294 w 822494"/>
                  <a:gd name="connsiteY87" fmla="*/ 29612 h 208206"/>
                  <a:gd name="connsiteX88" fmla="*/ 739150 w 822494"/>
                  <a:gd name="connsiteY88" fmla="*/ 34375 h 208206"/>
                  <a:gd name="connsiteX89" fmla="*/ 729625 w 822494"/>
                  <a:gd name="connsiteY89" fmla="*/ 36756 h 208206"/>
                  <a:gd name="connsiteX90" fmla="*/ 717719 w 822494"/>
                  <a:gd name="connsiteY90" fmla="*/ 39137 h 208206"/>
                  <a:gd name="connsiteX91" fmla="*/ 698669 w 822494"/>
                  <a:gd name="connsiteY91" fmla="*/ 43900 h 208206"/>
                  <a:gd name="connsiteX92" fmla="*/ 686762 w 822494"/>
                  <a:gd name="connsiteY92" fmla="*/ 53425 h 208206"/>
                  <a:gd name="connsiteX93" fmla="*/ 677237 w 822494"/>
                  <a:gd name="connsiteY93" fmla="*/ 58187 h 208206"/>
                  <a:gd name="connsiteX94" fmla="*/ 662950 w 822494"/>
                  <a:gd name="connsiteY94" fmla="*/ 77237 h 208206"/>
                  <a:gd name="connsiteX95" fmla="*/ 655806 w 822494"/>
                  <a:gd name="connsiteY95" fmla="*/ 84381 h 208206"/>
                  <a:gd name="connsiteX96" fmla="*/ 617706 w 822494"/>
                  <a:gd name="connsiteY96" fmla="*/ 82000 h 208206"/>
                  <a:gd name="connsiteX97" fmla="*/ 610562 w 822494"/>
                  <a:gd name="connsiteY97" fmla="*/ 74856 h 208206"/>
                  <a:gd name="connsiteX98" fmla="*/ 603419 w 822494"/>
                  <a:gd name="connsiteY98" fmla="*/ 70093 h 208206"/>
                  <a:gd name="connsiteX99" fmla="*/ 596275 w 822494"/>
                  <a:gd name="connsiteY99" fmla="*/ 62950 h 208206"/>
                  <a:gd name="connsiteX100" fmla="*/ 581987 w 822494"/>
                  <a:gd name="connsiteY100" fmla="*/ 60568 h 208206"/>
                  <a:gd name="connsiteX101" fmla="*/ 479594 w 822494"/>
                  <a:gd name="connsiteY101" fmla="*/ 62950 h 208206"/>
                  <a:gd name="connsiteX102" fmla="*/ 472450 w 822494"/>
                  <a:gd name="connsiteY102" fmla="*/ 65331 h 208206"/>
                  <a:gd name="connsiteX103" fmla="*/ 465306 w 822494"/>
                  <a:gd name="connsiteY103" fmla="*/ 70093 h 208206"/>
                  <a:gd name="connsiteX104" fmla="*/ 460544 w 822494"/>
                  <a:gd name="connsiteY104" fmla="*/ 77237 h 208206"/>
                  <a:gd name="connsiteX105" fmla="*/ 420062 w 822494"/>
                  <a:gd name="connsiteY105" fmla="*/ 79618 h 208206"/>
                  <a:gd name="connsiteX106" fmla="*/ 412919 w 822494"/>
                  <a:gd name="connsiteY106" fmla="*/ 79618 h 20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22494" h="208206">
                    <a:moveTo>
                      <a:pt x="412919" y="79618"/>
                    </a:moveTo>
                    <a:cubicBezTo>
                      <a:pt x="409744" y="78428"/>
                      <a:pt x="404917" y="74960"/>
                      <a:pt x="401012" y="72475"/>
                    </a:cubicBezTo>
                    <a:cubicBezTo>
                      <a:pt x="396183" y="69402"/>
                      <a:pt x="392155" y="64760"/>
                      <a:pt x="386725" y="62950"/>
                    </a:cubicBezTo>
                    <a:lnTo>
                      <a:pt x="379581" y="60568"/>
                    </a:lnTo>
                    <a:cubicBezTo>
                      <a:pt x="374423" y="55411"/>
                      <a:pt x="364984" y="45039"/>
                      <a:pt x="358150" y="43900"/>
                    </a:cubicBezTo>
                    <a:cubicBezTo>
                      <a:pt x="353387" y="43106"/>
                      <a:pt x="348597" y="42465"/>
                      <a:pt x="343862" y="41518"/>
                    </a:cubicBezTo>
                    <a:cubicBezTo>
                      <a:pt x="340653" y="40876"/>
                      <a:pt x="337546" y="39779"/>
                      <a:pt x="334337" y="39137"/>
                    </a:cubicBezTo>
                    <a:cubicBezTo>
                      <a:pt x="329603" y="38190"/>
                      <a:pt x="324763" y="37803"/>
                      <a:pt x="320050" y="36756"/>
                    </a:cubicBezTo>
                    <a:cubicBezTo>
                      <a:pt x="317600" y="36212"/>
                      <a:pt x="315320" y="35065"/>
                      <a:pt x="312906" y="34375"/>
                    </a:cubicBezTo>
                    <a:cubicBezTo>
                      <a:pt x="291975" y="28394"/>
                      <a:pt x="313366" y="35321"/>
                      <a:pt x="296237" y="29612"/>
                    </a:cubicBezTo>
                    <a:cubicBezTo>
                      <a:pt x="293856" y="28025"/>
                      <a:pt x="291653" y="26130"/>
                      <a:pt x="289094" y="24850"/>
                    </a:cubicBezTo>
                    <a:cubicBezTo>
                      <a:pt x="282245" y="21425"/>
                      <a:pt x="271870" y="21185"/>
                      <a:pt x="265281" y="20087"/>
                    </a:cubicBezTo>
                    <a:cubicBezTo>
                      <a:pt x="261289" y="19422"/>
                      <a:pt x="257280" y="18771"/>
                      <a:pt x="253375" y="17706"/>
                    </a:cubicBezTo>
                    <a:cubicBezTo>
                      <a:pt x="248532" y="16385"/>
                      <a:pt x="243850" y="14531"/>
                      <a:pt x="239087" y="12943"/>
                    </a:cubicBezTo>
                    <a:cubicBezTo>
                      <a:pt x="217618" y="5786"/>
                      <a:pt x="234443" y="10694"/>
                      <a:pt x="186700" y="8181"/>
                    </a:cubicBezTo>
                    <a:cubicBezTo>
                      <a:pt x="182731" y="7387"/>
                      <a:pt x="178745" y="6678"/>
                      <a:pt x="174794" y="5800"/>
                    </a:cubicBezTo>
                    <a:cubicBezTo>
                      <a:pt x="171599" y="5090"/>
                      <a:pt x="168542" y="3418"/>
                      <a:pt x="165269" y="3418"/>
                    </a:cubicBezTo>
                    <a:cubicBezTo>
                      <a:pt x="154128" y="3418"/>
                      <a:pt x="143044" y="5006"/>
                      <a:pt x="131931" y="5800"/>
                    </a:cubicBezTo>
                    <a:cubicBezTo>
                      <a:pt x="128756" y="6594"/>
                      <a:pt x="125414" y="6892"/>
                      <a:pt x="122406" y="8181"/>
                    </a:cubicBezTo>
                    <a:cubicBezTo>
                      <a:pt x="118714" y="9763"/>
                      <a:pt x="108184" y="18689"/>
                      <a:pt x="105737" y="20087"/>
                    </a:cubicBezTo>
                    <a:cubicBezTo>
                      <a:pt x="103558" y="21332"/>
                      <a:pt x="100975" y="21674"/>
                      <a:pt x="98594" y="22468"/>
                    </a:cubicBezTo>
                    <a:cubicBezTo>
                      <a:pt x="90564" y="34512"/>
                      <a:pt x="98190" y="26241"/>
                      <a:pt x="86687" y="31993"/>
                    </a:cubicBezTo>
                    <a:cubicBezTo>
                      <a:pt x="84127" y="33273"/>
                      <a:pt x="82029" y="35336"/>
                      <a:pt x="79544" y="36756"/>
                    </a:cubicBezTo>
                    <a:cubicBezTo>
                      <a:pt x="76462" y="38517"/>
                      <a:pt x="73101" y="39757"/>
                      <a:pt x="70019" y="41518"/>
                    </a:cubicBezTo>
                    <a:cubicBezTo>
                      <a:pt x="67534" y="42938"/>
                      <a:pt x="65636" y="45528"/>
                      <a:pt x="62875" y="46281"/>
                    </a:cubicBezTo>
                    <a:cubicBezTo>
                      <a:pt x="56701" y="47965"/>
                      <a:pt x="50160" y="47757"/>
                      <a:pt x="43825" y="48662"/>
                    </a:cubicBezTo>
                    <a:cubicBezTo>
                      <a:pt x="39045" y="49345"/>
                      <a:pt x="34300" y="50249"/>
                      <a:pt x="29537" y="51043"/>
                    </a:cubicBezTo>
                    <a:cubicBezTo>
                      <a:pt x="27156" y="51837"/>
                      <a:pt x="24588" y="52206"/>
                      <a:pt x="22394" y="53425"/>
                    </a:cubicBezTo>
                    <a:cubicBezTo>
                      <a:pt x="17390" y="56205"/>
                      <a:pt x="8106" y="62950"/>
                      <a:pt x="8106" y="62950"/>
                    </a:cubicBezTo>
                    <a:cubicBezTo>
                      <a:pt x="6519" y="65331"/>
                      <a:pt x="3431" y="67233"/>
                      <a:pt x="3344" y="70093"/>
                    </a:cubicBezTo>
                    <a:cubicBezTo>
                      <a:pt x="2572" y="95561"/>
                      <a:pt x="-7100" y="127571"/>
                      <a:pt x="10487" y="148675"/>
                    </a:cubicBezTo>
                    <a:cubicBezTo>
                      <a:pt x="12643" y="151262"/>
                      <a:pt x="14829" y="153950"/>
                      <a:pt x="17631" y="155818"/>
                    </a:cubicBezTo>
                    <a:cubicBezTo>
                      <a:pt x="19720" y="157210"/>
                      <a:pt x="22530" y="157077"/>
                      <a:pt x="24775" y="158200"/>
                    </a:cubicBezTo>
                    <a:cubicBezTo>
                      <a:pt x="27335" y="159480"/>
                      <a:pt x="29538" y="161375"/>
                      <a:pt x="31919" y="162962"/>
                    </a:cubicBezTo>
                    <a:cubicBezTo>
                      <a:pt x="49381" y="162168"/>
                      <a:pt x="66881" y="161975"/>
                      <a:pt x="84306" y="160581"/>
                    </a:cubicBezTo>
                    <a:cubicBezTo>
                      <a:pt x="86808" y="160381"/>
                      <a:pt x="89036" y="158890"/>
                      <a:pt x="91450" y="158200"/>
                    </a:cubicBezTo>
                    <a:cubicBezTo>
                      <a:pt x="94597" y="157301"/>
                      <a:pt x="97800" y="156612"/>
                      <a:pt x="100975" y="155818"/>
                    </a:cubicBezTo>
                    <a:cubicBezTo>
                      <a:pt x="103356" y="154231"/>
                      <a:pt x="105504" y="152218"/>
                      <a:pt x="108119" y="151056"/>
                    </a:cubicBezTo>
                    <a:cubicBezTo>
                      <a:pt x="112706" y="149017"/>
                      <a:pt x="122406" y="146293"/>
                      <a:pt x="122406" y="146293"/>
                    </a:cubicBezTo>
                    <a:cubicBezTo>
                      <a:pt x="122549" y="146317"/>
                      <a:pt x="140753" y="148588"/>
                      <a:pt x="143837" y="151056"/>
                    </a:cubicBezTo>
                    <a:cubicBezTo>
                      <a:pt x="153317" y="158640"/>
                      <a:pt x="143136" y="165256"/>
                      <a:pt x="162887" y="167725"/>
                    </a:cubicBezTo>
                    <a:lnTo>
                      <a:pt x="181937" y="170106"/>
                    </a:lnTo>
                    <a:cubicBezTo>
                      <a:pt x="210018" y="167553"/>
                      <a:pt x="207713" y="166241"/>
                      <a:pt x="236706" y="170106"/>
                    </a:cubicBezTo>
                    <a:cubicBezTo>
                      <a:pt x="239194" y="170438"/>
                      <a:pt x="241469" y="171693"/>
                      <a:pt x="243850" y="172487"/>
                    </a:cubicBezTo>
                    <a:cubicBezTo>
                      <a:pt x="247507" y="177973"/>
                      <a:pt x="248087" y="182012"/>
                      <a:pt x="255756" y="182012"/>
                    </a:cubicBezTo>
                    <a:cubicBezTo>
                      <a:pt x="258266" y="182012"/>
                      <a:pt x="260519" y="180425"/>
                      <a:pt x="262900" y="179631"/>
                    </a:cubicBezTo>
                    <a:cubicBezTo>
                      <a:pt x="265574" y="175619"/>
                      <a:pt x="268956" y="168561"/>
                      <a:pt x="274806" y="167725"/>
                    </a:cubicBezTo>
                    <a:cubicBezTo>
                      <a:pt x="278046" y="167262"/>
                      <a:pt x="281156" y="169312"/>
                      <a:pt x="284331" y="170106"/>
                    </a:cubicBezTo>
                    <a:cubicBezTo>
                      <a:pt x="286712" y="171693"/>
                      <a:pt x="289451" y="172844"/>
                      <a:pt x="291475" y="174868"/>
                    </a:cubicBezTo>
                    <a:cubicBezTo>
                      <a:pt x="307354" y="190747"/>
                      <a:pt x="284326" y="174071"/>
                      <a:pt x="303381" y="186775"/>
                    </a:cubicBezTo>
                    <a:cubicBezTo>
                      <a:pt x="304969" y="191537"/>
                      <a:pt x="303382" y="199474"/>
                      <a:pt x="308144" y="201062"/>
                    </a:cubicBezTo>
                    <a:cubicBezTo>
                      <a:pt x="328502" y="207849"/>
                      <a:pt x="317450" y="205202"/>
                      <a:pt x="341481" y="208206"/>
                    </a:cubicBezTo>
                    <a:cubicBezTo>
                      <a:pt x="367532" y="199524"/>
                      <a:pt x="328772" y="214066"/>
                      <a:pt x="353387" y="198681"/>
                    </a:cubicBezTo>
                    <a:cubicBezTo>
                      <a:pt x="357644" y="196020"/>
                      <a:pt x="362912" y="195506"/>
                      <a:pt x="367675" y="193918"/>
                    </a:cubicBezTo>
                    <a:cubicBezTo>
                      <a:pt x="384634" y="188265"/>
                      <a:pt x="372329" y="191729"/>
                      <a:pt x="405775" y="189156"/>
                    </a:cubicBezTo>
                    <a:cubicBezTo>
                      <a:pt x="409744" y="188362"/>
                      <a:pt x="414061" y="188585"/>
                      <a:pt x="417681" y="186775"/>
                    </a:cubicBezTo>
                    <a:cubicBezTo>
                      <a:pt x="420693" y="185269"/>
                      <a:pt x="422238" y="181787"/>
                      <a:pt x="424825" y="179631"/>
                    </a:cubicBezTo>
                    <a:cubicBezTo>
                      <a:pt x="427024" y="177799"/>
                      <a:pt x="429338" y="175995"/>
                      <a:pt x="431969" y="174868"/>
                    </a:cubicBezTo>
                    <a:cubicBezTo>
                      <a:pt x="434977" y="173579"/>
                      <a:pt x="438347" y="173386"/>
                      <a:pt x="441494" y="172487"/>
                    </a:cubicBezTo>
                    <a:cubicBezTo>
                      <a:pt x="443907" y="171798"/>
                      <a:pt x="446256" y="170900"/>
                      <a:pt x="448637" y="170106"/>
                    </a:cubicBezTo>
                    <a:cubicBezTo>
                      <a:pt x="462131" y="170900"/>
                      <a:pt x="475669" y="171142"/>
                      <a:pt x="489119" y="172487"/>
                    </a:cubicBezTo>
                    <a:cubicBezTo>
                      <a:pt x="491616" y="172737"/>
                      <a:pt x="493812" y="174323"/>
                      <a:pt x="496262" y="174868"/>
                    </a:cubicBezTo>
                    <a:cubicBezTo>
                      <a:pt x="500975" y="175916"/>
                      <a:pt x="505787" y="176456"/>
                      <a:pt x="510550" y="177250"/>
                    </a:cubicBezTo>
                    <a:cubicBezTo>
                      <a:pt x="521662" y="176456"/>
                      <a:pt x="532916" y="176804"/>
                      <a:pt x="543887" y="174868"/>
                    </a:cubicBezTo>
                    <a:cubicBezTo>
                      <a:pt x="546705" y="174371"/>
                      <a:pt x="548471" y="171386"/>
                      <a:pt x="551031" y="170106"/>
                    </a:cubicBezTo>
                    <a:cubicBezTo>
                      <a:pt x="553276" y="168984"/>
                      <a:pt x="555794" y="168519"/>
                      <a:pt x="558175" y="167725"/>
                    </a:cubicBezTo>
                    <a:cubicBezTo>
                      <a:pt x="565322" y="157005"/>
                      <a:pt x="564920" y="153637"/>
                      <a:pt x="574844" y="148675"/>
                    </a:cubicBezTo>
                    <a:cubicBezTo>
                      <a:pt x="577089" y="147552"/>
                      <a:pt x="579606" y="147087"/>
                      <a:pt x="581987" y="146293"/>
                    </a:cubicBezTo>
                    <a:cubicBezTo>
                      <a:pt x="633277" y="148431"/>
                      <a:pt x="639815" y="150404"/>
                      <a:pt x="689144" y="146293"/>
                    </a:cubicBezTo>
                    <a:cubicBezTo>
                      <a:pt x="691645" y="146085"/>
                      <a:pt x="694042" y="145034"/>
                      <a:pt x="696287" y="143912"/>
                    </a:cubicBezTo>
                    <a:cubicBezTo>
                      <a:pt x="705157" y="139477"/>
                      <a:pt x="702674" y="138590"/>
                      <a:pt x="710575" y="132006"/>
                    </a:cubicBezTo>
                    <a:cubicBezTo>
                      <a:pt x="712774" y="130174"/>
                      <a:pt x="715520" y="129075"/>
                      <a:pt x="717719" y="127243"/>
                    </a:cubicBezTo>
                    <a:cubicBezTo>
                      <a:pt x="720306" y="125087"/>
                      <a:pt x="722060" y="121968"/>
                      <a:pt x="724862" y="120100"/>
                    </a:cubicBezTo>
                    <a:cubicBezTo>
                      <a:pt x="726951" y="118708"/>
                      <a:pt x="729625" y="118512"/>
                      <a:pt x="732006" y="117718"/>
                    </a:cubicBezTo>
                    <a:cubicBezTo>
                      <a:pt x="734387" y="115337"/>
                      <a:pt x="736348" y="112443"/>
                      <a:pt x="739150" y="110575"/>
                    </a:cubicBezTo>
                    <a:cubicBezTo>
                      <a:pt x="741239" y="109183"/>
                      <a:pt x="743844" y="108738"/>
                      <a:pt x="746294" y="108193"/>
                    </a:cubicBezTo>
                    <a:cubicBezTo>
                      <a:pt x="752239" y="106872"/>
                      <a:pt x="771935" y="104190"/>
                      <a:pt x="777250" y="103431"/>
                    </a:cubicBezTo>
                    <a:cubicBezTo>
                      <a:pt x="779631" y="102637"/>
                      <a:pt x="782434" y="102618"/>
                      <a:pt x="784394" y="101050"/>
                    </a:cubicBezTo>
                    <a:cubicBezTo>
                      <a:pt x="786629" y="99262"/>
                      <a:pt x="787324" y="96105"/>
                      <a:pt x="789156" y="93906"/>
                    </a:cubicBezTo>
                    <a:cubicBezTo>
                      <a:pt x="791312" y="91319"/>
                      <a:pt x="793919" y="89143"/>
                      <a:pt x="796300" y="86762"/>
                    </a:cubicBezTo>
                    <a:cubicBezTo>
                      <a:pt x="797094" y="83587"/>
                      <a:pt x="798275" y="80484"/>
                      <a:pt x="798681" y="77237"/>
                    </a:cubicBezTo>
                    <a:cubicBezTo>
                      <a:pt x="801357" y="55825"/>
                      <a:pt x="795743" y="53616"/>
                      <a:pt x="805825" y="41518"/>
                    </a:cubicBezTo>
                    <a:cubicBezTo>
                      <a:pt x="811169" y="35106"/>
                      <a:pt x="814351" y="34836"/>
                      <a:pt x="817731" y="27231"/>
                    </a:cubicBezTo>
                    <a:cubicBezTo>
                      <a:pt x="819770" y="22643"/>
                      <a:pt x="822494" y="12943"/>
                      <a:pt x="822494" y="12943"/>
                    </a:cubicBezTo>
                    <a:cubicBezTo>
                      <a:pt x="821700" y="10562"/>
                      <a:pt x="821680" y="7760"/>
                      <a:pt x="820112" y="5800"/>
                    </a:cubicBezTo>
                    <a:cubicBezTo>
                      <a:pt x="811282" y="-5237"/>
                      <a:pt x="790783" y="2743"/>
                      <a:pt x="782012" y="3418"/>
                    </a:cubicBezTo>
                    <a:cubicBezTo>
                      <a:pt x="777250" y="6593"/>
                      <a:pt x="771772" y="8896"/>
                      <a:pt x="767725" y="12943"/>
                    </a:cubicBezTo>
                    <a:cubicBezTo>
                      <a:pt x="756534" y="24134"/>
                      <a:pt x="763383" y="18218"/>
                      <a:pt x="746294" y="29612"/>
                    </a:cubicBezTo>
                    <a:cubicBezTo>
                      <a:pt x="743913" y="31200"/>
                      <a:pt x="741927" y="33681"/>
                      <a:pt x="739150" y="34375"/>
                    </a:cubicBezTo>
                    <a:cubicBezTo>
                      <a:pt x="735975" y="35169"/>
                      <a:pt x="732820" y="36046"/>
                      <a:pt x="729625" y="36756"/>
                    </a:cubicBezTo>
                    <a:cubicBezTo>
                      <a:pt x="725674" y="37634"/>
                      <a:pt x="721663" y="38227"/>
                      <a:pt x="717719" y="39137"/>
                    </a:cubicBezTo>
                    <a:cubicBezTo>
                      <a:pt x="711341" y="40609"/>
                      <a:pt x="698669" y="43900"/>
                      <a:pt x="698669" y="43900"/>
                    </a:cubicBezTo>
                    <a:cubicBezTo>
                      <a:pt x="694700" y="47075"/>
                      <a:pt x="690991" y="50606"/>
                      <a:pt x="686762" y="53425"/>
                    </a:cubicBezTo>
                    <a:cubicBezTo>
                      <a:pt x="683808" y="55394"/>
                      <a:pt x="679747" y="55677"/>
                      <a:pt x="677237" y="58187"/>
                    </a:cubicBezTo>
                    <a:cubicBezTo>
                      <a:pt x="671624" y="63800"/>
                      <a:pt x="668563" y="71624"/>
                      <a:pt x="662950" y="77237"/>
                    </a:cubicBezTo>
                    <a:lnTo>
                      <a:pt x="655806" y="84381"/>
                    </a:lnTo>
                    <a:cubicBezTo>
                      <a:pt x="643106" y="83587"/>
                      <a:pt x="630158" y="84621"/>
                      <a:pt x="617706" y="82000"/>
                    </a:cubicBezTo>
                    <a:cubicBezTo>
                      <a:pt x="614411" y="81306"/>
                      <a:pt x="613149" y="77012"/>
                      <a:pt x="610562" y="74856"/>
                    </a:cubicBezTo>
                    <a:cubicBezTo>
                      <a:pt x="608364" y="73024"/>
                      <a:pt x="605617" y="71925"/>
                      <a:pt x="603419" y="70093"/>
                    </a:cubicBezTo>
                    <a:cubicBezTo>
                      <a:pt x="600832" y="67937"/>
                      <a:pt x="599352" y="64318"/>
                      <a:pt x="596275" y="62950"/>
                    </a:cubicBezTo>
                    <a:cubicBezTo>
                      <a:pt x="591863" y="60989"/>
                      <a:pt x="586750" y="61362"/>
                      <a:pt x="581987" y="60568"/>
                    </a:cubicBezTo>
                    <a:cubicBezTo>
                      <a:pt x="547856" y="61362"/>
                      <a:pt x="513702" y="61467"/>
                      <a:pt x="479594" y="62950"/>
                    </a:cubicBezTo>
                    <a:cubicBezTo>
                      <a:pt x="477086" y="63059"/>
                      <a:pt x="474695" y="64209"/>
                      <a:pt x="472450" y="65331"/>
                    </a:cubicBezTo>
                    <a:cubicBezTo>
                      <a:pt x="469890" y="66611"/>
                      <a:pt x="467687" y="68506"/>
                      <a:pt x="465306" y="70093"/>
                    </a:cubicBezTo>
                    <a:cubicBezTo>
                      <a:pt x="463719" y="72474"/>
                      <a:pt x="462568" y="75213"/>
                      <a:pt x="460544" y="77237"/>
                    </a:cubicBezTo>
                    <a:cubicBezTo>
                      <a:pt x="449237" y="88545"/>
                      <a:pt x="436377" y="80784"/>
                      <a:pt x="420062" y="79618"/>
                    </a:cubicBezTo>
                    <a:cubicBezTo>
                      <a:pt x="404298" y="69108"/>
                      <a:pt x="416094" y="80808"/>
                      <a:pt x="412919" y="7961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69" name="Freeform 268"/>
              <p:cNvSpPr/>
              <p:nvPr/>
            </p:nvSpPr>
            <p:spPr>
              <a:xfrm>
                <a:off x="7300629" y="5194820"/>
                <a:ext cx="72121" cy="54857"/>
              </a:xfrm>
              <a:custGeom>
                <a:avLst/>
                <a:gdLst>
                  <a:gd name="connsiteX0" fmla="*/ 50690 w 72121"/>
                  <a:gd name="connsiteY0" fmla="*/ 2469 h 54857"/>
                  <a:gd name="connsiteX1" fmla="*/ 38784 w 72121"/>
                  <a:gd name="connsiteY1" fmla="*/ 88 h 54857"/>
                  <a:gd name="connsiteX2" fmla="*/ 24496 w 72121"/>
                  <a:gd name="connsiteY2" fmla="*/ 4850 h 54857"/>
                  <a:gd name="connsiteX3" fmla="*/ 10209 w 72121"/>
                  <a:gd name="connsiteY3" fmla="*/ 11994 h 54857"/>
                  <a:gd name="connsiteX4" fmla="*/ 3065 w 72121"/>
                  <a:gd name="connsiteY4" fmla="*/ 16757 h 54857"/>
                  <a:gd name="connsiteX5" fmla="*/ 3065 w 72121"/>
                  <a:gd name="connsiteY5" fmla="*/ 42950 h 54857"/>
                  <a:gd name="connsiteX6" fmla="*/ 7827 w 72121"/>
                  <a:gd name="connsiteY6" fmla="*/ 50094 h 54857"/>
                  <a:gd name="connsiteX7" fmla="*/ 17352 w 72121"/>
                  <a:gd name="connsiteY7" fmla="*/ 52475 h 54857"/>
                  <a:gd name="connsiteX8" fmla="*/ 24496 w 72121"/>
                  <a:gd name="connsiteY8" fmla="*/ 54857 h 54857"/>
                  <a:gd name="connsiteX9" fmla="*/ 50690 w 72121"/>
                  <a:gd name="connsiteY9" fmla="*/ 52475 h 54857"/>
                  <a:gd name="connsiteX10" fmla="*/ 62596 w 72121"/>
                  <a:gd name="connsiteY10" fmla="*/ 40569 h 54857"/>
                  <a:gd name="connsiteX11" fmla="*/ 69740 w 72121"/>
                  <a:gd name="connsiteY11" fmla="*/ 33425 h 54857"/>
                  <a:gd name="connsiteX12" fmla="*/ 72121 w 72121"/>
                  <a:gd name="connsiteY12" fmla="*/ 26282 h 54857"/>
                  <a:gd name="connsiteX13" fmla="*/ 69740 w 72121"/>
                  <a:gd name="connsiteY13" fmla="*/ 11994 h 54857"/>
                  <a:gd name="connsiteX14" fmla="*/ 50690 w 72121"/>
                  <a:gd name="connsiteY14" fmla="*/ 2469 h 5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121" h="54857">
                    <a:moveTo>
                      <a:pt x="50690" y="2469"/>
                    </a:moveTo>
                    <a:cubicBezTo>
                      <a:pt x="45531" y="485"/>
                      <a:pt x="42815" y="-278"/>
                      <a:pt x="38784" y="88"/>
                    </a:cubicBezTo>
                    <a:cubicBezTo>
                      <a:pt x="33784" y="542"/>
                      <a:pt x="24496" y="4850"/>
                      <a:pt x="24496" y="4850"/>
                    </a:cubicBezTo>
                    <a:cubicBezTo>
                      <a:pt x="4020" y="18501"/>
                      <a:pt x="29927" y="2134"/>
                      <a:pt x="10209" y="11994"/>
                    </a:cubicBezTo>
                    <a:cubicBezTo>
                      <a:pt x="7649" y="13274"/>
                      <a:pt x="5446" y="15169"/>
                      <a:pt x="3065" y="16757"/>
                    </a:cubicBezTo>
                    <a:cubicBezTo>
                      <a:pt x="-653" y="27912"/>
                      <a:pt x="-1377" y="26660"/>
                      <a:pt x="3065" y="42950"/>
                    </a:cubicBezTo>
                    <a:cubicBezTo>
                      <a:pt x="3818" y="45711"/>
                      <a:pt x="5446" y="48506"/>
                      <a:pt x="7827" y="50094"/>
                    </a:cubicBezTo>
                    <a:cubicBezTo>
                      <a:pt x="10550" y="51909"/>
                      <a:pt x="14205" y="51576"/>
                      <a:pt x="17352" y="52475"/>
                    </a:cubicBezTo>
                    <a:cubicBezTo>
                      <a:pt x="19766" y="53165"/>
                      <a:pt x="22115" y="54063"/>
                      <a:pt x="24496" y="54857"/>
                    </a:cubicBezTo>
                    <a:cubicBezTo>
                      <a:pt x="33227" y="54063"/>
                      <a:pt x="42117" y="54312"/>
                      <a:pt x="50690" y="52475"/>
                    </a:cubicBezTo>
                    <a:cubicBezTo>
                      <a:pt x="57778" y="50956"/>
                      <a:pt x="58684" y="45264"/>
                      <a:pt x="62596" y="40569"/>
                    </a:cubicBezTo>
                    <a:cubicBezTo>
                      <a:pt x="64752" y="37982"/>
                      <a:pt x="67359" y="35806"/>
                      <a:pt x="69740" y="33425"/>
                    </a:cubicBezTo>
                    <a:cubicBezTo>
                      <a:pt x="70534" y="31044"/>
                      <a:pt x="72121" y="28792"/>
                      <a:pt x="72121" y="26282"/>
                    </a:cubicBezTo>
                    <a:cubicBezTo>
                      <a:pt x="72121" y="21454"/>
                      <a:pt x="71899" y="16313"/>
                      <a:pt x="69740" y="11994"/>
                    </a:cubicBezTo>
                    <a:cubicBezTo>
                      <a:pt x="66038" y="4591"/>
                      <a:pt x="55849" y="4453"/>
                      <a:pt x="50690" y="24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0" name="Freeform 269"/>
              <p:cNvSpPr/>
              <p:nvPr/>
            </p:nvSpPr>
            <p:spPr>
              <a:xfrm>
                <a:off x="7364856" y="5239982"/>
                <a:ext cx="71501" cy="43032"/>
              </a:xfrm>
              <a:custGeom>
                <a:avLst/>
                <a:gdLst>
                  <a:gd name="connsiteX0" fmla="*/ 34088 w 71501"/>
                  <a:gd name="connsiteY0" fmla="*/ 170 h 43032"/>
                  <a:gd name="connsiteX1" fmla="*/ 22182 w 71501"/>
                  <a:gd name="connsiteY1" fmla="*/ 7313 h 43032"/>
                  <a:gd name="connsiteX2" fmla="*/ 17419 w 71501"/>
                  <a:gd name="connsiteY2" fmla="*/ 14457 h 43032"/>
                  <a:gd name="connsiteX3" fmla="*/ 5513 w 71501"/>
                  <a:gd name="connsiteY3" fmla="*/ 12076 h 43032"/>
                  <a:gd name="connsiteX4" fmla="*/ 3132 w 71501"/>
                  <a:gd name="connsiteY4" fmla="*/ 31126 h 43032"/>
                  <a:gd name="connsiteX5" fmla="*/ 24563 w 71501"/>
                  <a:gd name="connsiteY5" fmla="*/ 40651 h 43032"/>
                  <a:gd name="connsiteX6" fmla="*/ 31707 w 71501"/>
                  <a:gd name="connsiteY6" fmla="*/ 43032 h 43032"/>
                  <a:gd name="connsiteX7" fmla="*/ 69807 w 71501"/>
                  <a:gd name="connsiteY7" fmla="*/ 38270 h 43032"/>
                  <a:gd name="connsiteX8" fmla="*/ 65044 w 71501"/>
                  <a:gd name="connsiteY8" fmla="*/ 23982 h 43032"/>
                  <a:gd name="connsiteX9" fmla="*/ 57900 w 71501"/>
                  <a:gd name="connsiteY9" fmla="*/ 19220 h 43032"/>
                  <a:gd name="connsiteX10" fmla="*/ 43613 w 71501"/>
                  <a:gd name="connsiteY10" fmla="*/ 14457 h 43032"/>
                  <a:gd name="connsiteX11" fmla="*/ 34088 w 71501"/>
                  <a:gd name="connsiteY11" fmla="*/ 170 h 4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501" h="43032">
                    <a:moveTo>
                      <a:pt x="34088" y="170"/>
                    </a:moveTo>
                    <a:cubicBezTo>
                      <a:pt x="30516" y="-1021"/>
                      <a:pt x="25696" y="4301"/>
                      <a:pt x="22182" y="7313"/>
                    </a:cubicBezTo>
                    <a:cubicBezTo>
                      <a:pt x="20009" y="9176"/>
                      <a:pt x="20171" y="13671"/>
                      <a:pt x="17419" y="14457"/>
                    </a:cubicBezTo>
                    <a:cubicBezTo>
                      <a:pt x="13527" y="15569"/>
                      <a:pt x="9482" y="12870"/>
                      <a:pt x="5513" y="12076"/>
                    </a:cubicBezTo>
                    <a:cubicBezTo>
                      <a:pt x="585" y="19467"/>
                      <a:pt x="-2754" y="20827"/>
                      <a:pt x="3132" y="31126"/>
                    </a:cubicBezTo>
                    <a:cubicBezTo>
                      <a:pt x="5796" y="35787"/>
                      <a:pt x="22747" y="40046"/>
                      <a:pt x="24563" y="40651"/>
                    </a:cubicBezTo>
                    <a:lnTo>
                      <a:pt x="31707" y="43032"/>
                    </a:lnTo>
                    <a:cubicBezTo>
                      <a:pt x="44407" y="41445"/>
                      <a:pt x="58695" y="44620"/>
                      <a:pt x="69807" y="38270"/>
                    </a:cubicBezTo>
                    <a:cubicBezTo>
                      <a:pt x="74166" y="35779"/>
                      <a:pt x="69221" y="26767"/>
                      <a:pt x="65044" y="23982"/>
                    </a:cubicBezTo>
                    <a:cubicBezTo>
                      <a:pt x="62663" y="22395"/>
                      <a:pt x="60515" y="20382"/>
                      <a:pt x="57900" y="19220"/>
                    </a:cubicBezTo>
                    <a:cubicBezTo>
                      <a:pt x="53313" y="17181"/>
                      <a:pt x="43613" y="14457"/>
                      <a:pt x="43613" y="14457"/>
                    </a:cubicBezTo>
                    <a:cubicBezTo>
                      <a:pt x="35214" y="6058"/>
                      <a:pt x="37660" y="1361"/>
                      <a:pt x="34088" y="17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1" name="Freeform 270"/>
              <p:cNvSpPr/>
              <p:nvPr/>
            </p:nvSpPr>
            <p:spPr>
              <a:xfrm>
                <a:off x="7432226" y="5185299"/>
                <a:ext cx="81080" cy="47709"/>
              </a:xfrm>
              <a:custGeom>
                <a:avLst/>
                <a:gdLst>
                  <a:gd name="connsiteX0" fmla="*/ 50062 w 81080"/>
                  <a:gd name="connsiteY0" fmla="*/ 84 h 47709"/>
                  <a:gd name="connsiteX1" fmla="*/ 28630 w 81080"/>
                  <a:gd name="connsiteY1" fmla="*/ 2465 h 47709"/>
                  <a:gd name="connsiteX2" fmla="*/ 14343 w 81080"/>
                  <a:gd name="connsiteY2" fmla="*/ 14371 h 47709"/>
                  <a:gd name="connsiteX3" fmla="*/ 9580 w 81080"/>
                  <a:gd name="connsiteY3" fmla="*/ 21515 h 47709"/>
                  <a:gd name="connsiteX4" fmla="*/ 2437 w 81080"/>
                  <a:gd name="connsiteY4" fmla="*/ 26278 h 47709"/>
                  <a:gd name="connsiteX5" fmla="*/ 55 w 81080"/>
                  <a:gd name="connsiteY5" fmla="*/ 33421 h 47709"/>
                  <a:gd name="connsiteX6" fmla="*/ 4818 w 81080"/>
                  <a:gd name="connsiteY6" fmla="*/ 40565 h 47709"/>
                  <a:gd name="connsiteX7" fmla="*/ 28630 w 81080"/>
                  <a:gd name="connsiteY7" fmla="*/ 47709 h 47709"/>
                  <a:gd name="connsiteX8" fmla="*/ 61968 w 81080"/>
                  <a:gd name="connsiteY8" fmla="*/ 35803 h 47709"/>
                  <a:gd name="connsiteX9" fmla="*/ 69112 w 81080"/>
                  <a:gd name="connsiteY9" fmla="*/ 31040 h 47709"/>
                  <a:gd name="connsiteX10" fmla="*/ 76255 w 81080"/>
                  <a:gd name="connsiteY10" fmla="*/ 26278 h 47709"/>
                  <a:gd name="connsiteX11" fmla="*/ 81018 w 81080"/>
                  <a:gd name="connsiteY11" fmla="*/ 19134 h 47709"/>
                  <a:gd name="connsiteX12" fmla="*/ 71493 w 81080"/>
                  <a:gd name="connsiteY12" fmla="*/ 4846 h 47709"/>
                  <a:gd name="connsiteX13" fmla="*/ 50062 w 81080"/>
                  <a:gd name="connsiteY13" fmla="*/ 84 h 4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80" h="47709">
                    <a:moveTo>
                      <a:pt x="50062" y="84"/>
                    </a:moveTo>
                    <a:cubicBezTo>
                      <a:pt x="42918" y="-313"/>
                      <a:pt x="35603" y="722"/>
                      <a:pt x="28630" y="2465"/>
                    </a:cubicBezTo>
                    <a:cubicBezTo>
                      <a:pt x="24690" y="3450"/>
                      <a:pt x="16445" y="11848"/>
                      <a:pt x="14343" y="14371"/>
                    </a:cubicBezTo>
                    <a:cubicBezTo>
                      <a:pt x="12511" y="16570"/>
                      <a:pt x="11604" y="19491"/>
                      <a:pt x="9580" y="21515"/>
                    </a:cubicBezTo>
                    <a:cubicBezTo>
                      <a:pt x="7556" y="23539"/>
                      <a:pt x="4818" y="24690"/>
                      <a:pt x="2437" y="26278"/>
                    </a:cubicBezTo>
                    <a:cubicBezTo>
                      <a:pt x="1643" y="28659"/>
                      <a:pt x="-358" y="30945"/>
                      <a:pt x="55" y="33421"/>
                    </a:cubicBezTo>
                    <a:cubicBezTo>
                      <a:pt x="525" y="36244"/>
                      <a:pt x="2391" y="39048"/>
                      <a:pt x="4818" y="40565"/>
                    </a:cubicBezTo>
                    <a:cubicBezTo>
                      <a:pt x="8686" y="42982"/>
                      <a:pt x="23052" y="46315"/>
                      <a:pt x="28630" y="47709"/>
                    </a:cubicBezTo>
                    <a:cubicBezTo>
                      <a:pt x="53359" y="44618"/>
                      <a:pt x="42356" y="48878"/>
                      <a:pt x="61968" y="35803"/>
                    </a:cubicBezTo>
                    <a:lnTo>
                      <a:pt x="69112" y="31040"/>
                    </a:lnTo>
                    <a:lnTo>
                      <a:pt x="76255" y="26278"/>
                    </a:lnTo>
                    <a:cubicBezTo>
                      <a:pt x="77843" y="23897"/>
                      <a:pt x="80547" y="21957"/>
                      <a:pt x="81018" y="19134"/>
                    </a:cubicBezTo>
                    <a:cubicBezTo>
                      <a:pt x="81816" y="14350"/>
                      <a:pt x="74719" y="6312"/>
                      <a:pt x="71493" y="4846"/>
                    </a:cubicBezTo>
                    <a:cubicBezTo>
                      <a:pt x="57628" y="-1456"/>
                      <a:pt x="57206" y="481"/>
                      <a:pt x="50062" y="8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2" name="Freeform 271"/>
              <p:cNvSpPr/>
              <p:nvPr/>
            </p:nvSpPr>
            <p:spPr>
              <a:xfrm>
                <a:off x="7518006" y="5205705"/>
                <a:ext cx="98142" cy="82072"/>
              </a:xfrm>
              <a:custGeom>
                <a:avLst/>
                <a:gdLst>
                  <a:gd name="connsiteX0" fmla="*/ 50007 w 98142"/>
                  <a:gd name="connsiteY0" fmla="*/ 8253 h 82072"/>
                  <a:gd name="connsiteX1" fmla="*/ 33338 w 98142"/>
                  <a:gd name="connsiteY1" fmla="*/ 10634 h 82072"/>
                  <a:gd name="connsiteX2" fmla="*/ 21432 w 98142"/>
                  <a:gd name="connsiteY2" fmla="*/ 22540 h 82072"/>
                  <a:gd name="connsiteX3" fmla="*/ 0 w 98142"/>
                  <a:gd name="connsiteY3" fmla="*/ 34447 h 82072"/>
                  <a:gd name="connsiteX4" fmla="*/ 2382 w 98142"/>
                  <a:gd name="connsiteY4" fmla="*/ 46353 h 82072"/>
                  <a:gd name="connsiteX5" fmla="*/ 9525 w 98142"/>
                  <a:gd name="connsiteY5" fmla="*/ 51115 h 82072"/>
                  <a:gd name="connsiteX6" fmla="*/ 28575 w 98142"/>
                  <a:gd name="connsiteY6" fmla="*/ 55878 h 82072"/>
                  <a:gd name="connsiteX7" fmla="*/ 33338 w 98142"/>
                  <a:gd name="connsiteY7" fmla="*/ 70165 h 82072"/>
                  <a:gd name="connsiteX8" fmla="*/ 35719 w 98142"/>
                  <a:gd name="connsiteY8" fmla="*/ 77309 h 82072"/>
                  <a:gd name="connsiteX9" fmla="*/ 42863 w 98142"/>
                  <a:gd name="connsiteY9" fmla="*/ 82072 h 82072"/>
                  <a:gd name="connsiteX10" fmla="*/ 52388 w 98142"/>
                  <a:gd name="connsiteY10" fmla="*/ 79690 h 82072"/>
                  <a:gd name="connsiteX11" fmla="*/ 57150 w 98142"/>
                  <a:gd name="connsiteY11" fmla="*/ 72547 h 82072"/>
                  <a:gd name="connsiteX12" fmla="*/ 61913 w 98142"/>
                  <a:gd name="connsiteY12" fmla="*/ 43972 h 82072"/>
                  <a:gd name="connsiteX13" fmla="*/ 73819 w 98142"/>
                  <a:gd name="connsiteY13" fmla="*/ 27303 h 82072"/>
                  <a:gd name="connsiteX14" fmla="*/ 80963 w 98142"/>
                  <a:gd name="connsiteY14" fmla="*/ 22540 h 82072"/>
                  <a:gd name="connsiteX15" fmla="*/ 95250 w 98142"/>
                  <a:gd name="connsiteY15" fmla="*/ 13015 h 82072"/>
                  <a:gd name="connsiteX16" fmla="*/ 97632 w 98142"/>
                  <a:gd name="connsiteY16" fmla="*/ 5872 h 82072"/>
                  <a:gd name="connsiteX17" fmla="*/ 83344 w 98142"/>
                  <a:gd name="connsiteY17" fmla="*/ 1109 h 82072"/>
                  <a:gd name="connsiteX18" fmla="*/ 50007 w 98142"/>
                  <a:gd name="connsiteY18" fmla="*/ 8253 h 8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142" h="82072">
                    <a:moveTo>
                      <a:pt x="50007" y="8253"/>
                    </a:moveTo>
                    <a:cubicBezTo>
                      <a:pt x="41673" y="9840"/>
                      <a:pt x="38714" y="9021"/>
                      <a:pt x="33338" y="10634"/>
                    </a:cubicBezTo>
                    <a:cubicBezTo>
                      <a:pt x="22984" y="13740"/>
                      <a:pt x="28610" y="16259"/>
                      <a:pt x="21432" y="22540"/>
                    </a:cubicBezTo>
                    <a:cubicBezTo>
                      <a:pt x="11355" y="31357"/>
                      <a:pt x="9811" y="31176"/>
                      <a:pt x="0" y="34447"/>
                    </a:cubicBezTo>
                    <a:cubicBezTo>
                      <a:pt x="794" y="38416"/>
                      <a:pt x="374" y="42839"/>
                      <a:pt x="2382" y="46353"/>
                    </a:cubicBezTo>
                    <a:cubicBezTo>
                      <a:pt x="3802" y="48838"/>
                      <a:pt x="6966" y="49835"/>
                      <a:pt x="9525" y="51115"/>
                    </a:cubicBezTo>
                    <a:cubicBezTo>
                      <a:pt x="14410" y="53558"/>
                      <a:pt x="24041" y="54971"/>
                      <a:pt x="28575" y="55878"/>
                    </a:cubicBezTo>
                    <a:lnTo>
                      <a:pt x="33338" y="70165"/>
                    </a:lnTo>
                    <a:cubicBezTo>
                      <a:pt x="34132" y="72546"/>
                      <a:pt x="33631" y="75917"/>
                      <a:pt x="35719" y="77309"/>
                    </a:cubicBezTo>
                    <a:lnTo>
                      <a:pt x="42863" y="82072"/>
                    </a:lnTo>
                    <a:cubicBezTo>
                      <a:pt x="46038" y="81278"/>
                      <a:pt x="49665" y="81505"/>
                      <a:pt x="52388" y="79690"/>
                    </a:cubicBezTo>
                    <a:cubicBezTo>
                      <a:pt x="54769" y="78103"/>
                      <a:pt x="56456" y="75323"/>
                      <a:pt x="57150" y="72547"/>
                    </a:cubicBezTo>
                    <a:cubicBezTo>
                      <a:pt x="62453" y="51335"/>
                      <a:pt x="56336" y="56986"/>
                      <a:pt x="61913" y="43972"/>
                    </a:cubicBezTo>
                    <a:cubicBezTo>
                      <a:pt x="65658" y="35233"/>
                      <a:pt x="66559" y="33354"/>
                      <a:pt x="73819" y="27303"/>
                    </a:cubicBezTo>
                    <a:cubicBezTo>
                      <a:pt x="76018" y="25471"/>
                      <a:pt x="78764" y="24372"/>
                      <a:pt x="80963" y="22540"/>
                    </a:cubicBezTo>
                    <a:cubicBezTo>
                      <a:pt x="92854" y="12631"/>
                      <a:pt x="82697" y="17201"/>
                      <a:pt x="95250" y="13015"/>
                    </a:cubicBezTo>
                    <a:cubicBezTo>
                      <a:pt x="96044" y="10634"/>
                      <a:pt x="99407" y="7647"/>
                      <a:pt x="97632" y="5872"/>
                    </a:cubicBezTo>
                    <a:cubicBezTo>
                      <a:pt x="94082" y="2322"/>
                      <a:pt x="88107" y="2697"/>
                      <a:pt x="83344" y="1109"/>
                    </a:cubicBezTo>
                    <a:cubicBezTo>
                      <a:pt x="70178" y="-3280"/>
                      <a:pt x="58341" y="6666"/>
                      <a:pt x="50007" y="825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3" name="Freeform 272"/>
              <p:cNvSpPr/>
              <p:nvPr/>
            </p:nvSpPr>
            <p:spPr>
              <a:xfrm>
                <a:off x="6946234" y="5742843"/>
                <a:ext cx="109810" cy="59326"/>
              </a:xfrm>
              <a:custGeom>
                <a:avLst/>
                <a:gdLst>
                  <a:gd name="connsiteX0" fmla="*/ 85997 w 109810"/>
                  <a:gd name="connsiteY0" fmla="*/ 4515 h 59326"/>
                  <a:gd name="connsiteX1" fmla="*/ 35991 w 109810"/>
                  <a:gd name="connsiteY1" fmla="*/ 2134 h 59326"/>
                  <a:gd name="connsiteX2" fmla="*/ 21704 w 109810"/>
                  <a:gd name="connsiteY2" fmla="*/ 6896 h 59326"/>
                  <a:gd name="connsiteX3" fmla="*/ 14560 w 109810"/>
                  <a:gd name="connsiteY3" fmla="*/ 9277 h 59326"/>
                  <a:gd name="connsiteX4" fmla="*/ 7416 w 109810"/>
                  <a:gd name="connsiteY4" fmla="*/ 14040 h 59326"/>
                  <a:gd name="connsiteX5" fmla="*/ 272 w 109810"/>
                  <a:gd name="connsiteY5" fmla="*/ 21184 h 59326"/>
                  <a:gd name="connsiteX6" fmla="*/ 2654 w 109810"/>
                  <a:gd name="connsiteY6" fmla="*/ 30709 h 59326"/>
                  <a:gd name="connsiteX7" fmla="*/ 9797 w 109810"/>
                  <a:gd name="connsiteY7" fmla="*/ 35471 h 59326"/>
                  <a:gd name="connsiteX8" fmla="*/ 28847 w 109810"/>
                  <a:gd name="connsiteY8" fmla="*/ 40234 h 59326"/>
                  <a:gd name="connsiteX9" fmla="*/ 35991 w 109810"/>
                  <a:gd name="connsiteY9" fmla="*/ 42615 h 59326"/>
                  <a:gd name="connsiteX10" fmla="*/ 40754 w 109810"/>
                  <a:gd name="connsiteY10" fmla="*/ 49759 h 59326"/>
                  <a:gd name="connsiteX11" fmla="*/ 88379 w 109810"/>
                  <a:gd name="connsiteY11" fmla="*/ 54521 h 59326"/>
                  <a:gd name="connsiteX12" fmla="*/ 95522 w 109810"/>
                  <a:gd name="connsiteY12" fmla="*/ 49759 h 59326"/>
                  <a:gd name="connsiteX13" fmla="*/ 102666 w 109810"/>
                  <a:gd name="connsiteY13" fmla="*/ 47377 h 59326"/>
                  <a:gd name="connsiteX14" fmla="*/ 109810 w 109810"/>
                  <a:gd name="connsiteY14" fmla="*/ 40234 h 59326"/>
                  <a:gd name="connsiteX15" fmla="*/ 107429 w 109810"/>
                  <a:gd name="connsiteY15" fmla="*/ 23565 h 59326"/>
                  <a:gd name="connsiteX16" fmla="*/ 100285 w 109810"/>
                  <a:gd name="connsiteY16" fmla="*/ 18802 h 59326"/>
                  <a:gd name="connsiteX17" fmla="*/ 93141 w 109810"/>
                  <a:gd name="connsiteY17" fmla="*/ 16421 h 59326"/>
                  <a:gd name="connsiteX18" fmla="*/ 85997 w 109810"/>
                  <a:gd name="connsiteY18" fmla="*/ 4515 h 5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810" h="59326">
                    <a:moveTo>
                      <a:pt x="85997" y="4515"/>
                    </a:moveTo>
                    <a:cubicBezTo>
                      <a:pt x="76472" y="2134"/>
                      <a:pt x="72525" y="-2848"/>
                      <a:pt x="35991" y="2134"/>
                    </a:cubicBezTo>
                    <a:cubicBezTo>
                      <a:pt x="31017" y="2812"/>
                      <a:pt x="26466" y="5309"/>
                      <a:pt x="21704" y="6896"/>
                    </a:cubicBezTo>
                    <a:lnTo>
                      <a:pt x="14560" y="9277"/>
                    </a:lnTo>
                    <a:cubicBezTo>
                      <a:pt x="12179" y="10865"/>
                      <a:pt x="9615" y="12208"/>
                      <a:pt x="7416" y="14040"/>
                    </a:cubicBezTo>
                    <a:cubicBezTo>
                      <a:pt x="4829" y="16196"/>
                      <a:pt x="1197" y="17946"/>
                      <a:pt x="272" y="21184"/>
                    </a:cubicBezTo>
                    <a:cubicBezTo>
                      <a:pt x="-627" y="24331"/>
                      <a:pt x="839" y="27986"/>
                      <a:pt x="2654" y="30709"/>
                    </a:cubicBezTo>
                    <a:cubicBezTo>
                      <a:pt x="4241" y="33090"/>
                      <a:pt x="7237" y="34191"/>
                      <a:pt x="9797" y="35471"/>
                    </a:cubicBezTo>
                    <a:cubicBezTo>
                      <a:pt x="15237" y="38191"/>
                      <a:pt x="23418" y="38877"/>
                      <a:pt x="28847" y="40234"/>
                    </a:cubicBezTo>
                    <a:cubicBezTo>
                      <a:pt x="31282" y="40843"/>
                      <a:pt x="33610" y="41821"/>
                      <a:pt x="35991" y="42615"/>
                    </a:cubicBezTo>
                    <a:cubicBezTo>
                      <a:pt x="37579" y="44996"/>
                      <a:pt x="38922" y="47560"/>
                      <a:pt x="40754" y="49759"/>
                    </a:cubicBezTo>
                    <a:cubicBezTo>
                      <a:pt x="54802" y="66616"/>
                      <a:pt x="55187" y="56473"/>
                      <a:pt x="88379" y="54521"/>
                    </a:cubicBezTo>
                    <a:cubicBezTo>
                      <a:pt x="90760" y="52934"/>
                      <a:pt x="92963" y="51039"/>
                      <a:pt x="95522" y="49759"/>
                    </a:cubicBezTo>
                    <a:cubicBezTo>
                      <a:pt x="97767" y="48636"/>
                      <a:pt x="100577" y="48769"/>
                      <a:pt x="102666" y="47377"/>
                    </a:cubicBezTo>
                    <a:cubicBezTo>
                      <a:pt x="105468" y="45509"/>
                      <a:pt x="107429" y="42615"/>
                      <a:pt x="109810" y="40234"/>
                    </a:cubicBezTo>
                    <a:cubicBezTo>
                      <a:pt x="109016" y="34678"/>
                      <a:pt x="109708" y="28694"/>
                      <a:pt x="107429" y="23565"/>
                    </a:cubicBezTo>
                    <a:cubicBezTo>
                      <a:pt x="106267" y="20950"/>
                      <a:pt x="102845" y="20082"/>
                      <a:pt x="100285" y="18802"/>
                    </a:cubicBezTo>
                    <a:cubicBezTo>
                      <a:pt x="98040" y="17679"/>
                      <a:pt x="95386" y="17543"/>
                      <a:pt x="93141" y="16421"/>
                    </a:cubicBezTo>
                    <a:cubicBezTo>
                      <a:pt x="81855" y="10779"/>
                      <a:pt x="95522" y="6896"/>
                      <a:pt x="85997" y="451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4" name="Freeform 273"/>
              <p:cNvSpPr/>
              <p:nvPr/>
            </p:nvSpPr>
            <p:spPr>
              <a:xfrm>
                <a:off x="7238958" y="5744977"/>
                <a:ext cx="151574" cy="128587"/>
              </a:xfrm>
              <a:custGeom>
                <a:avLst/>
                <a:gdLst>
                  <a:gd name="connsiteX0" fmla="*/ 121886 w 151574"/>
                  <a:gd name="connsiteY0" fmla="*/ 0 h 128587"/>
                  <a:gd name="connsiteX1" fmla="*/ 109980 w 151574"/>
                  <a:gd name="connsiteY1" fmla="*/ 9525 h 128587"/>
                  <a:gd name="connsiteX2" fmla="*/ 107598 w 151574"/>
                  <a:gd name="connsiteY2" fmla="*/ 16668 h 128587"/>
                  <a:gd name="connsiteX3" fmla="*/ 90930 w 151574"/>
                  <a:gd name="connsiteY3" fmla="*/ 33337 h 128587"/>
                  <a:gd name="connsiteX4" fmla="*/ 76642 w 151574"/>
                  <a:gd name="connsiteY4" fmla="*/ 45243 h 128587"/>
                  <a:gd name="connsiteX5" fmla="*/ 69498 w 151574"/>
                  <a:gd name="connsiteY5" fmla="*/ 59531 h 128587"/>
                  <a:gd name="connsiteX6" fmla="*/ 62355 w 151574"/>
                  <a:gd name="connsiteY6" fmla="*/ 61912 h 128587"/>
                  <a:gd name="connsiteX7" fmla="*/ 55211 w 151574"/>
                  <a:gd name="connsiteY7" fmla="*/ 66675 h 128587"/>
                  <a:gd name="connsiteX8" fmla="*/ 48067 w 151574"/>
                  <a:gd name="connsiteY8" fmla="*/ 69056 h 128587"/>
                  <a:gd name="connsiteX9" fmla="*/ 38542 w 151574"/>
                  <a:gd name="connsiteY9" fmla="*/ 76200 h 128587"/>
                  <a:gd name="connsiteX10" fmla="*/ 24255 w 151574"/>
                  <a:gd name="connsiteY10" fmla="*/ 80962 h 128587"/>
                  <a:gd name="connsiteX11" fmla="*/ 17111 w 151574"/>
                  <a:gd name="connsiteY11" fmla="*/ 85725 h 128587"/>
                  <a:gd name="connsiteX12" fmla="*/ 2823 w 151574"/>
                  <a:gd name="connsiteY12" fmla="*/ 92868 h 128587"/>
                  <a:gd name="connsiteX13" fmla="*/ 2823 w 151574"/>
                  <a:gd name="connsiteY13" fmla="*/ 123825 h 128587"/>
                  <a:gd name="connsiteX14" fmla="*/ 9967 w 151574"/>
                  <a:gd name="connsiteY14" fmla="*/ 128587 h 128587"/>
                  <a:gd name="connsiteX15" fmla="*/ 48067 w 151574"/>
                  <a:gd name="connsiteY15" fmla="*/ 126206 h 128587"/>
                  <a:gd name="connsiteX16" fmla="*/ 83786 w 151574"/>
                  <a:gd name="connsiteY16" fmla="*/ 121443 h 128587"/>
                  <a:gd name="connsiteX17" fmla="*/ 105217 w 151574"/>
                  <a:gd name="connsiteY17" fmla="*/ 114300 h 128587"/>
                  <a:gd name="connsiteX18" fmla="*/ 112361 w 151574"/>
                  <a:gd name="connsiteY18" fmla="*/ 111918 h 128587"/>
                  <a:gd name="connsiteX19" fmla="*/ 119505 w 151574"/>
                  <a:gd name="connsiteY19" fmla="*/ 109537 h 128587"/>
                  <a:gd name="connsiteX20" fmla="*/ 143317 w 151574"/>
                  <a:gd name="connsiteY20" fmla="*/ 80962 h 128587"/>
                  <a:gd name="connsiteX21" fmla="*/ 148080 w 151574"/>
                  <a:gd name="connsiteY21" fmla="*/ 73818 h 128587"/>
                  <a:gd name="connsiteX22" fmla="*/ 148080 w 151574"/>
                  <a:gd name="connsiteY22" fmla="*/ 19050 h 128587"/>
                  <a:gd name="connsiteX23" fmla="*/ 133792 w 151574"/>
                  <a:gd name="connsiteY23" fmla="*/ 9525 h 128587"/>
                  <a:gd name="connsiteX24" fmla="*/ 121886 w 151574"/>
                  <a:gd name="connsiteY24" fmla="*/ 0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1574" h="128587">
                    <a:moveTo>
                      <a:pt x="121886" y="0"/>
                    </a:moveTo>
                    <a:cubicBezTo>
                      <a:pt x="117917" y="3175"/>
                      <a:pt x="113288" y="5666"/>
                      <a:pt x="109980" y="9525"/>
                    </a:cubicBezTo>
                    <a:cubicBezTo>
                      <a:pt x="108347" y="11431"/>
                      <a:pt x="108817" y="14474"/>
                      <a:pt x="107598" y="16668"/>
                    </a:cubicBezTo>
                    <a:cubicBezTo>
                      <a:pt x="98913" y="32300"/>
                      <a:pt x="102525" y="29472"/>
                      <a:pt x="90930" y="33337"/>
                    </a:cubicBezTo>
                    <a:cubicBezTo>
                      <a:pt x="85661" y="36850"/>
                      <a:pt x="80308" y="39745"/>
                      <a:pt x="76642" y="45243"/>
                    </a:cubicBezTo>
                    <a:cubicBezTo>
                      <a:pt x="71710" y="52641"/>
                      <a:pt x="77530" y="53105"/>
                      <a:pt x="69498" y="59531"/>
                    </a:cubicBezTo>
                    <a:cubicBezTo>
                      <a:pt x="67538" y="61099"/>
                      <a:pt x="64736" y="61118"/>
                      <a:pt x="62355" y="61912"/>
                    </a:cubicBezTo>
                    <a:cubicBezTo>
                      <a:pt x="59974" y="63500"/>
                      <a:pt x="57771" y="65395"/>
                      <a:pt x="55211" y="66675"/>
                    </a:cubicBezTo>
                    <a:cubicBezTo>
                      <a:pt x="52966" y="67798"/>
                      <a:pt x="50246" y="67811"/>
                      <a:pt x="48067" y="69056"/>
                    </a:cubicBezTo>
                    <a:cubicBezTo>
                      <a:pt x="44621" y="71025"/>
                      <a:pt x="42092" y="74425"/>
                      <a:pt x="38542" y="76200"/>
                    </a:cubicBezTo>
                    <a:cubicBezTo>
                      <a:pt x="34052" y="78445"/>
                      <a:pt x="24255" y="80962"/>
                      <a:pt x="24255" y="80962"/>
                    </a:cubicBezTo>
                    <a:cubicBezTo>
                      <a:pt x="21874" y="82550"/>
                      <a:pt x="19671" y="84445"/>
                      <a:pt x="17111" y="85725"/>
                    </a:cubicBezTo>
                    <a:cubicBezTo>
                      <a:pt x="-2615" y="95588"/>
                      <a:pt x="23306" y="79215"/>
                      <a:pt x="2823" y="92868"/>
                    </a:cubicBezTo>
                    <a:cubicBezTo>
                      <a:pt x="524" y="104363"/>
                      <a:pt x="-2174" y="111332"/>
                      <a:pt x="2823" y="123825"/>
                    </a:cubicBezTo>
                    <a:cubicBezTo>
                      <a:pt x="3886" y="126482"/>
                      <a:pt x="7586" y="127000"/>
                      <a:pt x="9967" y="128587"/>
                    </a:cubicBezTo>
                    <a:lnTo>
                      <a:pt x="48067" y="126206"/>
                    </a:lnTo>
                    <a:cubicBezTo>
                      <a:pt x="58196" y="125427"/>
                      <a:pt x="73044" y="124373"/>
                      <a:pt x="83786" y="121443"/>
                    </a:cubicBezTo>
                    <a:cubicBezTo>
                      <a:pt x="91051" y="119462"/>
                      <a:pt x="98073" y="116681"/>
                      <a:pt x="105217" y="114300"/>
                    </a:cubicBezTo>
                    <a:lnTo>
                      <a:pt x="112361" y="111918"/>
                    </a:lnTo>
                    <a:lnTo>
                      <a:pt x="119505" y="109537"/>
                    </a:lnTo>
                    <a:cubicBezTo>
                      <a:pt x="137841" y="91201"/>
                      <a:pt x="130055" y="100855"/>
                      <a:pt x="143317" y="80962"/>
                    </a:cubicBezTo>
                    <a:lnTo>
                      <a:pt x="148080" y="73818"/>
                    </a:lnTo>
                    <a:cubicBezTo>
                      <a:pt x="150654" y="55797"/>
                      <a:pt x="154453" y="37258"/>
                      <a:pt x="148080" y="19050"/>
                    </a:cubicBezTo>
                    <a:cubicBezTo>
                      <a:pt x="146189" y="13647"/>
                      <a:pt x="138555" y="12700"/>
                      <a:pt x="133792" y="9525"/>
                    </a:cubicBezTo>
                    <a:lnTo>
                      <a:pt x="121886"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5" name="Freeform 274"/>
              <p:cNvSpPr/>
              <p:nvPr/>
            </p:nvSpPr>
            <p:spPr>
              <a:xfrm>
                <a:off x="7619263" y="5171095"/>
                <a:ext cx="196400" cy="80963"/>
              </a:xfrm>
              <a:custGeom>
                <a:avLst/>
                <a:gdLst>
                  <a:gd name="connsiteX0" fmla="*/ 151156 w 196400"/>
                  <a:gd name="connsiteY0" fmla="*/ 7144 h 80963"/>
                  <a:gd name="connsiteX1" fmla="*/ 108293 w 196400"/>
                  <a:gd name="connsiteY1" fmla="*/ 11907 h 80963"/>
                  <a:gd name="connsiteX2" fmla="*/ 84481 w 196400"/>
                  <a:gd name="connsiteY2" fmla="*/ 9525 h 80963"/>
                  <a:gd name="connsiteX3" fmla="*/ 74956 w 196400"/>
                  <a:gd name="connsiteY3" fmla="*/ 7144 h 80963"/>
                  <a:gd name="connsiteX4" fmla="*/ 51143 w 196400"/>
                  <a:gd name="connsiteY4" fmla="*/ 0 h 80963"/>
                  <a:gd name="connsiteX5" fmla="*/ 36856 w 196400"/>
                  <a:gd name="connsiteY5" fmla="*/ 2382 h 80963"/>
                  <a:gd name="connsiteX6" fmla="*/ 29712 w 196400"/>
                  <a:gd name="connsiteY6" fmla="*/ 7144 h 80963"/>
                  <a:gd name="connsiteX7" fmla="*/ 22568 w 196400"/>
                  <a:gd name="connsiteY7" fmla="*/ 9525 h 80963"/>
                  <a:gd name="connsiteX8" fmla="*/ 13043 w 196400"/>
                  <a:gd name="connsiteY8" fmla="*/ 50007 h 80963"/>
                  <a:gd name="connsiteX9" fmla="*/ 5900 w 196400"/>
                  <a:gd name="connsiteY9" fmla="*/ 54769 h 80963"/>
                  <a:gd name="connsiteX10" fmla="*/ 3518 w 196400"/>
                  <a:gd name="connsiteY10" fmla="*/ 76200 h 80963"/>
                  <a:gd name="connsiteX11" fmla="*/ 10662 w 196400"/>
                  <a:gd name="connsiteY11" fmla="*/ 78582 h 80963"/>
                  <a:gd name="connsiteX12" fmla="*/ 94006 w 196400"/>
                  <a:gd name="connsiteY12" fmla="*/ 80963 h 80963"/>
                  <a:gd name="connsiteX13" fmla="*/ 155918 w 196400"/>
                  <a:gd name="connsiteY13" fmla="*/ 78582 h 80963"/>
                  <a:gd name="connsiteX14" fmla="*/ 170206 w 196400"/>
                  <a:gd name="connsiteY14" fmla="*/ 73819 h 80963"/>
                  <a:gd name="connsiteX15" fmla="*/ 177350 w 196400"/>
                  <a:gd name="connsiteY15" fmla="*/ 59532 h 80963"/>
                  <a:gd name="connsiteX16" fmla="*/ 184493 w 196400"/>
                  <a:gd name="connsiteY16" fmla="*/ 61913 h 80963"/>
                  <a:gd name="connsiteX17" fmla="*/ 194018 w 196400"/>
                  <a:gd name="connsiteY17" fmla="*/ 59532 h 80963"/>
                  <a:gd name="connsiteX18" fmla="*/ 196400 w 196400"/>
                  <a:gd name="connsiteY18" fmla="*/ 52388 h 80963"/>
                  <a:gd name="connsiteX19" fmla="*/ 194018 w 196400"/>
                  <a:gd name="connsiteY19" fmla="*/ 33338 h 80963"/>
                  <a:gd name="connsiteX20" fmla="*/ 189256 w 196400"/>
                  <a:gd name="connsiteY20" fmla="*/ 19050 h 80963"/>
                  <a:gd name="connsiteX21" fmla="*/ 151156 w 196400"/>
                  <a:gd name="connsiteY21" fmla="*/ 7144 h 8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400" h="80963">
                    <a:moveTo>
                      <a:pt x="151156" y="7144"/>
                    </a:moveTo>
                    <a:cubicBezTo>
                      <a:pt x="134366" y="10502"/>
                      <a:pt x="129822" y="11907"/>
                      <a:pt x="108293" y="11907"/>
                    </a:cubicBezTo>
                    <a:cubicBezTo>
                      <a:pt x="100316" y="11907"/>
                      <a:pt x="92418" y="10319"/>
                      <a:pt x="84481" y="9525"/>
                    </a:cubicBezTo>
                    <a:cubicBezTo>
                      <a:pt x="81306" y="8731"/>
                      <a:pt x="78091" y="8084"/>
                      <a:pt x="74956" y="7144"/>
                    </a:cubicBezTo>
                    <a:cubicBezTo>
                      <a:pt x="45944" y="-1559"/>
                      <a:pt x="73113" y="5494"/>
                      <a:pt x="51143" y="0"/>
                    </a:cubicBezTo>
                    <a:cubicBezTo>
                      <a:pt x="46381" y="794"/>
                      <a:pt x="41436" y="855"/>
                      <a:pt x="36856" y="2382"/>
                    </a:cubicBezTo>
                    <a:cubicBezTo>
                      <a:pt x="34141" y="3287"/>
                      <a:pt x="32272" y="5864"/>
                      <a:pt x="29712" y="7144"/>
                    </a:cubicBezTo>
                    <a:cubicBezTo>
                      <a:pt x="27467" y="8266"/>
                      <a:pt x="24949" y="8731"/>
                      <a:pt x="22568" y="9525"/>
                    </a:cubicBezTo>
                    <a:cubicBezTo>
                      <a:pt x="20576" y="37416"/>
                      <a:pt x="27875" y="37647"/>
                      <a:pt x="13043" y="50007"/>
                    </a:cubicBezTo>
                    <a:cubicBezTo>
                      <a:pt x="10845" y="51839"/>
                      <a:pt x="8281" y="53182"/>
                      <a:pt x="5900" y="54769"/>
                    </a:cubicBezTo>
                    <a:cubicBezTo>
                      <a:pt x="670" y="62614"/>
                      <a:pt x="-3063" y="64683"/>
                      <a:pt x="3518" y="76200"/>
                    </a:cubicBezTo>
                    <a:cubicBezTo>
                      <a:pt x="4763" y="78379"/>
                      <a:pt x="8155" y="78450"/>
                      <a:pt x="10662" y="78582"/>
                    </a:cubicBezTo>
                    <a:cubicBezTo>
                      <a:pt x="38416" y="80043"/>
                      <a:pt x="66225" y="80169"/>
                      <a:pt x="94006" y="80963"/>
                    </a:cubicBezTo>
                    <a:cubicBezTo>
                      <a:pt x="114643" y="80169"/>
                      <a:pt x="135356" y="80510"/>
                      <a:pt x="155918" y="78582"/>
                    </a:cubicBezTo>
                    <a:cubicBezTo>
                      <a:pt x="160916" y="78113"/>
                      <a:pt x="170206" y="73819"/>
                      <a:pt x="170206" y="73819"/>
                    </a:cubicBezTo>
                    <a:cubicBezTo>
                      <a:pt x="171209" y="70811"/>
                      <a:pt x="173798" y="60953"/>
                      <a:pt x="177350" y="59532"/>
                    </a:cubicBezTo>
                    <a:cubicBezTo>
                      <a:pt x="179680" y="58600"/>
                      <a:pt x="182112" y="61119"/>
                      <a:pt x="184493" y="61913"/>
                    </a:cubicBezTo>
                    <a:cubicBezTo>
                      <a:pt x="187668" y="61119"/>
                      <a:pt x="191462" y="61576"/>
                      <a:pt x="194018" y="59532"/>
                    </a:cubicBezTo>
                    <a:cubicBezTo>
                      <a:pt x="195978" y="57964"/>
                      <a:pt x="196400" y="54898"/>
                      <a:pt x="196400" y="52388"/>
                    </a:cubicBezTo>
                    <a:cubicBezTo>
                      <a:pt x="196400" y="45989"/>
                      <a:pt x="195359" y="39595"/>
                      <a:pt x="194018" y="33338"/>
                    </a:cubicBezTo>
                    <a:cubicBezTo>
                      <a:pt x="192966" y="28429"/>
                      <a:pt x="194019" y="20637"/>
                      <a:pt x="189256" y="19050"/>
                    </a:cubicBezTo>
                    <a:lnTo>
                      <a:pt x="151156" y="7144"/>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6" name="Freeform 275"/>
              <p:cNvSpPr/>
              <p:nvPr/>
            </p:nvSpPr>
            <p:spPr>
              <a:xfrm>
                <a:off x="7396472" y="5387789"/>
                <a:ext cx="433626" cy="352425"/>
              </a:xfrm>
              <a:custGeom>
                <a:avLst/>
                <a:gdLst>
                  <a:gd name="connsiteX0" fmla="*/ 126297 w 433626"/>
                  <a:gd name="connsiteY0" fmla="*/ 97631 h 352425"/>
                  <a:gd name="connsiteX1" fmla="*/ 78672 w 433626"/>
                  <a:gd name="connsiteY1" fmla="*/ 159544 h 352425"/>
                  <a:gd name="connsiteX2" fmla="*/ 73909 w 433626"/>
                  <a:gd name="connsiteY2" fmla="*/ 166688 h 352425"/>
                  <a:gd name="connsiteX3" fmla="*/ 71528 w 433626"/>
                  <a:gd name="connsiteY3" fmla="*/ 173831 h 352425"/>
                  <a:gd name="connsiteX4" fmla="*/ 66766 w 433626"/>
                  <a:gd name="connsiteY4" fmla="*/ 197644 h 352425"/>
                  <a:gd name="connsiteX5" fmla="*/ 57241 w 433626"/>
                  <a:gd name="connsiteY5" fmla="*/ 211931 h 352425"/>
                  <a:gd name="connsiteX6" fmla="*/ 52478 w 433626"/>
                  <a:gd name="connsiteY6" fmla="*/ 226219 h 352425"/>
                  <a:gd name="connsiteX7" fmla="*/ 42953 w 433626"/>
                  <a:gd name="connsiteY7" fmla="*/ 240506 h 352425"/>
                  <a:gd name="connsiteX8" fmla="*/ 38191 w 433626"/>
                  <a:gd name="connsiteY8" fmla="*/ 247650 h 352425"/>
                  <a:gd name="connsiteX9" fmla="*/ 28666 w 433626"/>
                  <a:gd name="connsiteY9" fmla="*/ 269081 h 352425"/>
                  <a:gd name="connsiteX10" fmla="*/ 21522 w 433626"/>
                  <a:gd name="connsiteY10" fmla="*/ 276225 h 352425"/>
                  <a:gd name="connsiteX11" fmla="*/ 16759 w 433626"/>
                  <a:gd name="connsiteY11" fmla="*/ 283369 h 352425"/>
                  <a:gd name="connsiteX12" fmla="*/ 9616 w 433626"/>
                  <a:gd name="connsiteY12" fmla="*/ 288131 h 352425"/>
                  <a:gd name="connsiteX13" fmla="*/ 2472 w 433626"/>
                  <a:gd name="connsiteY13" fmla="*/ 295275 h 352425"/>
                  <a:gd name="connsiteX14" fmla="*/ 91 w 433626"/>
                  <a:gd name="connsiteY14" fmla="*/ 302419 h 352425"/>
                  <a:gd name="connsiteX15" fmla="*/ 52478 w 433626"/>
                  <a:gd name="connsiteY15" fmla="*/ 340519 h 352425"/>
                  <a:gd name="connsiteX16" fmla="*/ 69147 w 433626"/>
                  <a:gd name="connsiteY16" fmla="*/ 345281 h 352425"/>
                  <a:gd name="connsiteX17" fmla="*/ 78672 w 433626"/>
                  <a:gd name="connsiteY17" fmla="*/ 347663 h 352425"/>
                  <a:gd name="connsiteX18" fmla="*/ 92959 w 433626"/>
                  <a:gd name="connsiteY18" fmla="*/ 352425 h 352425"/>
                  <a:gd name="connsiteX19" fmla="*/ 107247 w 433626"/>
                  <a:gd name="connsiteY19" fmla="*/ 350044 h 352425"/>
                  <a:gd name="connsiteX20" fmla="*/ 121534 w 433626"/>
                  <a:gd name="connsiteY20" fmla="*/ 340519 h 352425"/>
                  <a:gd name="connsiteX21" fmla="*/ 126297 w 433626"/>
                  <a:gd name="connsiteY21" fmla="*/ 333375 h 352425"/>
                  <a:gd name="connsiteX22" fmla="*/ 131059 w 433626"/>
                  <a:gd name="connsiteY22" fmla="*/ 319088 h 352425"/>
                  <a:gd name="connsiteX23" fmla="*/ 145347 w 433626"/>
                  <a:gd name="connsiteY23" fmla="*/ 307181 h 352425"/>
                  <a:gd name="connsiteX24" fmla="*/ 154872 w 433626"/>
                  <a:gd name="connsiteY24" fmla="*/ 304800 h 352425"/>
                  <a:gd name="connsiteX25" fmla="*/ 278697 w 433626"/>
                  <a:gd name="connsiteY25" fmla="*/ 302419 h 352425"/>
                  <a:gd name="connsiteX26" fmla="*/ 281078 w 433626"/>
                  <a:gd name="connsiteY26" fmla="*/ 271463 h 352425"/>
                  <a:gd name="connsiteX27" fmla="*/ 292984 w 433626"/>
                  <a:gd name="connsiteY27" fmla="*/ 259556 h 352425"/>
                  <a:gd name="connsiteX28" fmla="*/ 300128 w 433626"/>
                  <a:gd name="connsiteY28" fmla="*/ 257175 h 352425"/>
                  <a:gd name="connsiteX29" fmla="*/ 316797 w 433626"/>
                  <a:gd name="connsiteY29" fmla="*/ 250031 h 352425"/>
                  <a:gd name="connsiteX30" fmla="*/ 331084 w 433626"/>
                  <a:gd name="connsiteY30" fmla="*/ 238125 h 352425"/>
                  <a:gd name="connsiteX31" fmla="*/ 338228 w 433626"/>
                  <a:gd name="connsiteY31" fmla="*/ 230981 h 352425"/>
                  <a:gd name="connsiteX32" fmla="*/ 352516 w 433626"/>
                  <a:gd name="connsiteY32" fmla="*/ 226219 h 352425"/>
                  <a:gd name="connsiteX33" fmla="*/ 359659 w 433626"/>
                  <a:gd name="connsiteY33" fmla="*/ 221456 h 352425"/>
                  <a:gd name="connsiteX34" fmla="*/ 369184 w 433626"/>
                  <a:gd name="connsiteY34" fmla="*/ 207169 h 352425"/>
                  <a:gd name="connsiteX35" fmla="*/ 373947 w 433626"/>
                  <a:gd name="connsiteY35" fmla="*/ 200025 h 352425"/>
                  <a:gd name="connsiteX36" fmla="*/ 378709 w 433626"/>
                  <a:gd name="connsiteY36" fmla="*/ 192881 h 352425"/>
                  <a:gd name="connsiteX37" fmla="*/ 388234 w 433626"/>
                  <a:gd name="connsiteY37" fmla="*/ 176213 h 352425"/>
                  <a:gd name="connsiteX38" fmla="*/ 392997 w 433626"/>
                  <a:gd name="connsiteY38" fmla="*/ 161925 h 352425"/>
                  <a:gd name="connsiteX39" fmla="*/ 388234 w 433626"/>
                  <a:gd name="connsiteY39" fmla="*/ 126206 h 352425"/>
                  <a:gd name="connsiteX40" fmla="*/ 385853 w 433626"/>
                  <a:gd name="connsiteY40" fmla="*/ 119063 h 352425"/>
                  <a:gd name="connsiteX41" fmla="*/ 388234 w 433626"/>
                  <a:gd name="connsiteY41" fmla="*/ 92869 h 352425"/>
                  <a:gd name="connsiteX42" fmla="*/ 390616 w 433626"/>
                  <a:gd name="connsiteY42" fmla="*/ 50006 h 352425"/>
                  <a:gd name="connsiteX43" fmla="*/ 414428 w 433626"/>
                  <a:gd name="connsiteY43" fmla="*/ 47625 h 352425"/>
                  <a:gd name="connsiteX44" fmla="*/ 428716 w 433626"/>
                  <a:gd name="connsiteY44" fmla="*/ 45244 h 352425"/>
                  <a:gd name="connsiteX45" fmla="*/ 433478 w 433626"/>
                  <a:gd name="connsiteY45" fmla="*/ 30956 h 352425"/>
                  <a:gd name="connsiteX46" fmla="*/ 428716 w 433626"/>
                  <a:gd name="connsiteY46" fmla="*/ 11906 h 352425"/>
                  <a:gd name="connsiteX47" fmla="*/ 414428 w 433626"/>
                  <a:gd name="connsiteY47" fmla="*/ 0 h 352425"/>
                  <a:gd name="connsiteX48" fmla="*/ 392997 w 433626"/>
                  <a:gd name="connsiteY48" fmla="*/ 2381 h 352425"/>
                  <a:gd name="connsiteX49" fmla="*/ 347753 w 433626"/>
                  <a:gd name="connsiteY49" fmla="*/ 4763 h 352425"/>
                  <a:gd name="connsiteX50" fmla="*/ 333466 w 433626"/>
                  <a:gd name="connsiteY50" fmla="*/ 9525 h 352425"/>
                  <a:gd name="connsiteX51" fmla="*/ 326322 w 433626"/>
                  <a:gd name="connsiteY51" fmla="*/ 11906 h 352425"/>
                  <a:gd name="connsiteX52" fmla="*/ 319178 w 433626"/>
                  <a:gd name="connsiteY52" fmla="*/ 14288 h 352425"/>
                  <a:gd name="connsiteX53" fmla="*/ 302509 w 433626"/>
                  <a:gd name="connsiteY53" fmla="*/ 19050 h 352425"/>
                  <a:gd name="connsiteX54" fmla="*/ 281078 w 433626"/>
                  <a:gd name="connsiteY54" fmla="*/ 33338 h 352425"/>
                  <a:gd name="connsiteX55" fmla="*/ 273934 w 433626"/>
                  <a:gd name="connsiteY55" fmla="*/ 38100 h 352425"/>
                  <a:gd name="connsiteX56" fmla="*/ 269172 w 433626"/>
                  <a:gd name="connsiteY56" fmla="*/ 52388 h 352425"/>
                  <a:gd name="connsiteX57" fmla="*/ 266791 w 433626"/>
                  <a:gd name="connsiteY57" fmla="*/ 61913 h 352425"/>
                  <a:gd name="connsiteX58" fmla="*/ 262028 w 433626"/>
                  <a:gd name="connsiteY58" fmla="*/ 76200 h 352425"/>
                  <a:gd name="connsiteX59" fmla="*/ 257266 w 433626"/>
                  <a:gd name="connsiteY59" fmla="*/ 95250 h 352425"/>
                  <a:gd name="connsiteX60" fmla="*/ 247741 w 433626"/>
                  <a:gd name="connsiteY60" fmla="*/ 109538 h 352425"/>
                  <a:gd name="connsiteX61" fmla="*/ 242978 w 433626"/>
                  <a:gd name="connsiteY61" fmla="*/ 116681 h 352425"/>
                  <a:gd name="connsiteX62" fmla="*/ 219166 w 433626"/>
                  <a:gd name="connsiteY62" fmla="*/ 121444 h 352425"/>
                  <a:gd name="connsiteX63" fmla="*/ 200116 w 433626"/>
                  <a:gd name="connsiteY63" fmla="*/ 116681 h 352425"/>
                  <a:gd name="connsiteX64" fmla="*/ 192972 w 433626"/>
                  <a:gd name="connsiteY64" fmla="*/ 111919 h 352425"/>
                  <a:gd name="connsiteX65" fmla="*/ 171541 w 433626"/>
                  <a:gd name="connsiteY65" fmla="*/ 114300 h 352425"/>
                  <a:gd name="connsiteX66" fmla="*/ 166778 w 433626"/>
                  <a:gd name="connsiteY66" fmla="*/ 121444 h 352425"/>
                  <a:gd name="connsiteX67" fmla="*/ 159634 w 433626"/>
                  <a:gd name="connsiteY67" fmla="*/ 123825 h 352425"/>
                  <a:gd name="connsiteX68" fmla="*/ 126297 w 433626"/>
                  <a:gd name="connsiteY68" fmla="*/ 97631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33626" h="352425">
                    <a:moveTo>
                      <a:pt x="126297" y="97631"/>
                    </a:moveTo>
                    <a:cubicBezTo>
                      <a:pt x="112803" y="103584"/>
                      <a:pt x="94408" y="138800"/>
                      <a:pt x="78672" y="159544"/>
                    </a:cubicBezTo>
                    <a:cubicBezTo>
                      <a:pt x="76942" y="161824"/>
                      <a:pt x="75189" y="164128"/>
                      <a:pt x="73909" y="166688"/>
                    </a:cubicBezTo>
                    <a:cubicBezTo>
                      <a:pt x="72787" y="168933"/>
                      <a:pt x="72322" y="171450"/>
                      <a:pt x="71528" y="173831"/>
                    </a:cubicBezTo>
                    <a:cubicBezTo>
                      <a:pt x="70937" y="177970"/>
                      <a:pt x="69963" y="191890"/>
                      <a:pt x="66766" y="197644"/>
                    </a:cubicBezTo>
                    <a:cubicBezTo>
                      <a:pt x="63986" y="202647"/>
                      <a:pt x="59051" y="206501"/>
                      <a:pt x="57241" y="211931"/>
                    </a:cubicBezTo>
                    <a:cubicBezTo>
                      <a:pt x="55653" y="216694"/>
                      <a:pt x="55263" y="222042"/>
                      <a:pt x="52478" y="226219"/>
                    </a:cubicBezTo>
                    <a:lnTo>
                      <a:pt x="42953" y="240506"/>
                    </a:lnTo>
                    <a:cubicBezTo>
                      <a:pt x="41366" y="242887"/>
                      <a:pt x="39096" y="244935"/>
                      <a:pt x="38191" y="247650"/>
                    </a:cubicBezTo>
                    <a:cubicBezTo>
                      <a:pt x="34730" y="258032"/>
                      <a:pt x="34955" y="261535"/>
                      <a:pt x="28666" y="269081"/>
                    </a:cubicBezTo>
                    <a:cubicBezTo>
                      <a:pt x="26510" y="271668"/>
                      <a:pt x="23678" y="273638"/>
                      <a:pt x="21522" y="276225"/>
                    </a:cubicBezTo>
                    <a:cubicBezTo>
                      <a:pt x="19690" y="278424"/>
                      <a:pt x="18783" y="281345"/>
                      <a:pt x="16759" y="283369"/>
                    </a:cubicBezTo>
                    <a:cubicBezTo>
                      <a:pt x="14736" y="285392"/>
                      <a:pt x="11814" y="286299"/>
                      <a:pt x="9616" y="288131"/>
                    </a:cubicBezTo>
                    <a:cubicBezTo>
                      <a:pt x="7029" y="290287"/>
                      <a:pt x="4853" y="292894"/>
                      <a:pt x="2472" y="295275"/>
                    </a:cubicBezTo>
                    <a:cubicBezTo>
                      <a:pt x="1678" y="297656"/>
                      <a:pt x="91" y="299909"/>
                      <a:pt x="91" y="302419"/>
                    </a:cubicBezTo>
                    <a:cubicBezTo>
                      <a:pt x="91" y="354622"/>
                      <a:pt x="-4565" y="337803"/>
                      <a:pt x="52478" y="340519"/>
                    </a:cubicBezTo>
                    <a:cubicBezTo>
                      <a:pt x="82202" y="347949"/>
                      <a:pt x="45274" y="338459"/>
                      <a:pt x="69147" y="345281"/>
                    </a:cubicBezTo>
                    <a:cubicBezTo>
                      <a:pt x="72294" y="346180"/>
                      <a:pt x="75537" y="346723"/>
                      <a:pt x="78672" y="347663"/>
                    </a:cubicBezTo>
                    <a:cubicBezTo>
                      <a:pt x="83480" y="349106"/>
                      <a:pt x="92959" y="352425"/>
                      <a:pt x="92959" y="352425"/>
                    </a:cubicBezTo>
                    <a:cubicBezTo>
                      <a:pt x="97722" y="351631"/>
                      <a:pt x="102790" y="351901"/>
                      <a:pt x="107247" y="350044"/>
                    </a:cubicBezTo>
                    <a:cubicBezTo>
                      <a:pt x="112530" y="347843"/>
                      <a:pt x="121534" y="340519"/>
                      <a:pt x="121534" y="340519"/>
                    </a:cubicBezTo>
                    <a:cubicBezTo>
                      <a:pt x="123122" y="338138"/>
                      <a:pt x="125135" y="335990"/>
                      <a:pt x="126297" y="333375"/>
                    </a:cubicBezTo>
                    <a:cubicBezTo>
                      <a:pt x="128336" y="328788"/>
                      <a:pt x="127509" y="322638"/>
                      <a:pt x="131059" y="319088"/>
                    </a:cubicBezTo>
                    <a:cubicBezTo>
                      <a:pt x="135350" y="314797"/>
                      <a:pt x="139546" y="309667"/>
                      <a:pt x="145347" y="307181"/>
                    </a:cubicBezTo>
                    <a:cubicBezTo>
                      <a:pt x="148355" y="305892"/>
                      <a:pt x="151601" y="304917"/>
                      <a:pt x="154872" y="304800"/>
                    </a:cubicBezTo>
                    <a:cubicBezTo>
                      <a:pt x="196128" y="303327"/>
                      <a:pt x="237422" y="303213"/>
                      <a:pt x="278697" y="302419"/>
                    </a:cubicBezTo>
                    <a:cubicBezTo>
                      <a:pt x="279491" y="292100"/>
                      <a:pt x="279171" y="281635"/>
                      <a:pt x="281078" y="271463"/>
                    </a:cubicBezTo>
                    <a:cubicBezTo>
                      <a:pt x="282063" y="266209"/>
                      <a:pt x="288825" y="261636"/>
                      <a:pt x="292984" y="259556"/>
                    </a:cubicBezTo>
                    <a:cubicBezTo>
                      <a:pt x="295229" y="258433"/>
                      <a:pt x="297821" y="258164"/>
                      <a:pt x="300128" y="257175"/>
                    </a:cubicBezTo>
                    <a:cubicBezTo>
                      <a:pt x="320739" y="248343"/>
                      <a:pt x="300034" y="255620"/>
                      <a:pt x="316797" y="250031"/>
                    </a:cubicBezTo>
                    <a:cubicBezTo>
                      <a:pt x="337678" y="229153"/>
                      <a:pt x="311185" y="254709"/>
                      <a:pt x="331084" y="238125"/>
                    </a:cubicBezTo>
                    <a:cubicBezTo>
                      <a:pt x="333671" y="235969"/>
                      <a:pt x="335284" y="232616"/>
                      <a:pt x="338228" y="230981"/>
                    </a:cubicBezTo>
                    <a:cubicBezTo>
                      <a:pt x="342617" y="228543"/>
                      <a:pt x="352516" y="226219"/>
                      <a:pt x="352516" y="226219"/>
                    </a:cubicBezTo>
                    <a:cubicBezTo>
                      <a:pt x="354897" y="224631"/>
                      <a:pt x="357775" y="223610"/>
                      <a:pt x="359659" y="221456"/>
                    </a:cubicBezTo>
                    <a:cubicBezTo>
                      <a:pt x="363428" y="217148"/>
                      <a:pt x="366009" y="211931"/>
                      <a:pt x="369184" y="207169"/>
                    </a:cubicBezTo>
                    <a:lnTo>
                      <a:pt x="373947" y="200025"/>
                    </a:lnTo>
                    <a:cubicBezTo>
                      <a:pt x="375534" y="197644"/>
                      <a:pt x="377804" y="195596"/>
                      <a:pt x="378709" y="192881"/>
                    </a:cubicBezTo>
                    <a:cubicBezTo>
                      <a:pt x="382346" y="181973"/>
                      <a:pt x="379585" y="187746"/>
                      <a:pt x="388234" y="176213"/>
                    </a:cubicBezTo>
                    <a:cubicBezTo>
                      <a:pt x="389822" y="171450"/>
                      <a:pt x="393620" y="166907"/>
                      <a:pt x="392997" y="161925"/>
                    </a:cubicBezTo>
                    <a:cubicBezTo>
                      <a:pt x="392415" y="157272"/>
                      <a:pt x="389332" y="131698"/>
                      <a:pt x="388234" y="126206"/>
                    </a:cubicBezTo>
                    <a:cubicBezTo>
                      <a:pt x="387742" y="123745"/>
                      <a:pt x="386647" y="121444"/>
                      <a:pt x="385853" y="119063"/>
                    </a:cubicBezTo>
                    <a:cubicBezTo>
                      <a:pt x="386647" y="110332"/>
                      <a:pt x="387631" y="101616"/>
                      <a:pt x="388234" y="92869"/>
                    </a:cubicBezTo>
                    <a:cubicBezTo>
                      <a:pt x="389219" y="78593"/>
                      <a:pt x="383446" y="62390"/>
                      <a:pt x="390616" y="50006"/>
                    </a:cubicBezTo>
                    <a:cubicBezTo>
                      <a:pt x="394613" y="43103"/>
                      <a:pt x="406513" y="48614"/>
                      <a:pt x="414428" y="47625"/>
                    </a:cubicBezTo>
                    <a:cubicBezTo>
                      <a:pt x="419219" y="47026"/>
                      <a:pt x="423953" y="46038"/>
                      <a:pt x="428716" y="45244"/>
                    </a:cubicBezTo>
                    <a:cubicBezTo>
                      <a:pt x="430303" y="40481"/>
                      <a:pt x="434462" y="35879"/>
                      <a:pt x="433478" y="30956"/>
                    </a:cubicBezTo>
                    <a:cubicBezTo>
                      <a:pt x="433135" y="29240"/>
                      <a:pt x="430808" y="15043"/>
                      <a:pt x="428716" y="11906"/>
                    </a:cubicBezTo>
                    <a:cubicBezTo>
                      <a:pt x="425050" y="6408"/>
                      <a:pt x="419697" y="3513"/>
                      <a:pt x="414428" y="0"/>
                    </a:cubicBezTo>
                    <a:cubicBezTo>
                      <a:pt x="407284" y="794"/>
                      <a:pt x="400166" y="1869"/>
                      <a:pt x="392997" y="2381"/>
                    </a:cubicBezTo>
                    <a:cubicBezTo>
                      <a:pt x="377933" y="3457"/>
                      <a:pt x="362748" y="2964"/>
                      <a:pt x="347753" y="4763"/>
                    </a:cubicBezTo>
                    <a:cubicBezTo>
                      <a:pt x="342769" y="5361"/>
                      <a:pt x="338228" y="7938"/>
                      <a:pt x="333466" y="9525"/>
                    </a:cubicBezTo>
                    <a:lnTo>
                      <a:pt x="326322" y="11906"/>
                    </a:lnTo>
                    <a:cubicBezTo>
                      <a:pt x="323941" y="12700"/>
                      <a:pt x="321613" y="13679"/>
                      <a:pt x="319178" y="14288"/>
                    </a:cubicBezTo>
                    <a:cubicBezTo>
                      <a:pt x="307218" y="17278"/>
                      <a:pt x="312758" y="15634"/>
                      <a:pt x="302509" y="19050"/>
                    </a:cubicBezTo>
                    <a:lnTo>
                      <a:pt x="281078" y="33338"/>
                    </a:lnTo>
                    <a:lnTo>
                      <a:pt x="273934" y="38100"/>
                    </a:lnTo>
                    <a:cubicBezTo>
                      <a:pt x="272347" y="42863"/>
                      <a:pt x="270389" y="47518"/>
                      <a:pt x="269172" y="52388"/>
                    </a:cubicBezTo>
                    <a:cubicBezTo>
                      <a:pt x="268378" y="55563"/>
                      <a:pt x="267731" y="58778"/>
                      <a:pt x="266791" y="61913"/>
                    </a:cubicBezTo>
                    <a:cubicBezTo>
                      <a:pt x="265348" y="66721"/>
                      <a:pt x="263012" y="71277"/>
                      <a:pt x="262028" y="76200"/>
                    </a:cubicBezTo>
                    <a:cubicBezTo>
                      <a:pt x="261369" y="79498"/>
                      <a:pt x="259554" y="91132"/>
                      <a:pt x="257266" y="95250"/>
                    </a:cubicBezTo>
                    <a:cubicBezTo>
                      <a:pt x="254486" y="100254"/>
                      <a:pt x="250916" y="104775"/>
                      <a:pt x="247741" y="109538"/>
                    </a:cubicBezTo>
                    <a:cubicBezTo>
                      <a:pt x="246154" y="111919"/>
                      <a:pt x="245693" y="115776"/>
                      <a:pt x="242978" y="116681"/>
                    </a:cubicBezTo>
                    <a:cubicBezTo>
                      <a:pt x="230510" y="120838"/>
                      <a:pt x="238319" y="118708"/>
                      <a:pt x="219166" y="121444"/>
                    </a:cubicBezTo>
                    <a:cubicBezTo>
                      <a:pt x="214629" y="120537"/>
                      <a:pt x="205002" y="119124"/>
                      <a:pt x="200116" y="116681"/>
                    </a:cubicBezTo>
                    <a:cubicBezTo>
                      <a:pt x="197556" y="115401"/>
                      <a:pt x="195353" y="113506"/>
                      <a:pt x="192972" y="111919"/>
                    </a:cubicBezTo>
                    <a:cubicBezTo>
                      <a:pt x="185828" y="112713"/>
                      <a:pt x="178296" y="111844"/>
                      <a:pt x="171541" y="114300"/>
                    </a:cubicBezTo>
                    <a:cubicBezTo>
                      <a:pt x="168851" y="115278"/>
                      <a:pt x="169013" y="119656"/>
                      <a:pt x="166778" y="121444"/>
                    </a:cubicBezTo>
                    <a:cubicBezTo>
                      <a:pt x="164818" y="123012"/>
                      <a:pt x="162048" y="123135"/>
                      <a:pt x="159634" y="123825"/>
                    </a:cubicBezTo>
                    <a:cubicBezTo>
                      <a:pt x="149952" y="126591"/>
                      <a:pt x="139791" y="91678"/>
                      <a:pt x="126297" y="9763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7" name="Freeform 276"/>
              <p:cNvSpPr/>
              <p:nvPr/>
            </p:nvSpPr>
            <p:spPr>
              <a:xfrm>
                <a:off x="7537056" y="5429496"/>
                <a:ext cx="130969" cy="82118"/>
              </a:xfrm>
              <a:custGeom>
                <a:avLst/>
                <a:gdLst>
                  <a:gd name="connsiteX0" fmla="*/ 83344 w 130969"/>
                  <a:gd name="connsiteY0" fmla="*/ 1156 h 82118"/>
                  <a:gd name="connsiteX1" fmla="*/ 54769 w 130969"/>
                  <a:gd name="connsiteY1" fmla="*/ 5918 h 82118"/>
                  <a:gd name="connsiteX2" fmla="*/ 50007 w 130969"/>
                  <a:gd name="connsiteY2" fmla="*/ 13062 h 82118"/>
                  <a:gd name="connsiteX3" fmla="*/ 45244 w 130969"/>
                  <a:gd name="connsiteY3" fmla="*/ 27349 h 82118"/>
                  <a:gd name="connsiteX4" fmla="*/ 30957 w 130969"/>
                  <a:gd name="connsiteY4" fmla="*/ 36874 h 82118"/>
                  <a:gd name="connsiteX5" fmla="*/ 23813 w 130969"/>
                  <a:gd name="connsiteY5" fmla="*/ 41637 h 82118"/>
                  <a:gd name="connsiteX6" fmla="*/ 16669 w 130969"/>
                  <a:gd name="connsiteY6" fmla="*/ 48781 h 82118"/>
                  <a:gd name="connsiteX7" fmla="*/ 2382 w 130969"/>
                  <a:gd name="connsiteY7" fmla="*/ 53543 h 82118"/>
                  <a:gd name="connsiteX8" fmla="*/ 0 w 130969"/>
                  <a:gd name="connsiteY8" fmla="*/ 60687 h 82118"/>
                  <a:gd name="connsiteX9" fmla="*/ 2382 w 130969"/>
                  <a:gd name="connsiteY9" fmla="*/ 67831 h 82118"/>
                  <a:gd name="connsiteX10" fmla="*/ 7144 w 130969"/>
                  <a:gd name="connsiteY10" fmla="*/ 74974 h 82118"/>
                  <a:gd name="connsiteX11" fmla="*/ 23813 w 130969"/>
                  <a:gd name="connsiteY11" fmla="*/ 82118 h 82118"/>
                  <a:gd name="connsiteX12" fmla="*/ 33338 w 130969"/>
                  <a:gd name="connsiteY12" fmla="*/ 79737 h 82118"/>
                  <a:gd name="connsiteX13" fmla="*/ 40482 w 130969"/>
                  <a:gd name="connsiteY13" fmla="*/ 74974 h 82118"/>
                  <a:gd name="connsiteX14" fmla="*/ 47625 w 130969"/>
                  <a:gd name="connsiteY14" fmla="*/ 72593 h 82118"/>
                  <a:gd name="connsiteX15" fmla="*/ 73819 w 130969"/>
                  <a:gd name="connsiteY15" fmla="*/ 74974 h 82118"/>
                  <a:gd name="connsiteX16" fmla="*/ 90488 w 130969"/>
                  <a:gd name="connsiteY16" fmla="*/ 79737 h 82118"/>
                  <a:gd name="connsiteX17" fmla="*/ 116682 w 130969"/>
                  <a:gd name="connsiteY17" fmla="*/ 72593 h 82118"/>
                  <a:gd name="connsiteX18" fmla="*/ 121444 w 130969"/>
                  <a:gd name="connsiteY18" fmla="*/ 58306 h 82118"/>
                  <a:gd name="connsiteX19" fmla="*/ 123825 w 130969"/>
                  <a:gd name="connsiteY19" fmla="*/ 34493 h 82118"/>
                  <a:gd name="connsiteX20" fmla="*/ 128588 w 130969"/>
                  <a:gd name="connsiteY20" fmla="*/ 20206 h 82118"/>
                  <a:gd name="connsiteX21" fmla="*/ 130969 w 130969"/>
                  <a:gd name="connsiteY21" fmla="*/ 13062 h 82118"/>
                  <a:gd name="connsiteX22" fmla="*/ 83344 w 130969"/>
                  <a:gd name="connsiteY22" fmla="*/ 1156 h 8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0969" h="82118">
                    <a:moveTo>
                      <a:pt x="83344" y="1156"/>
                    </a:moveTo>
                    <a:cubicBezTo>
                      <a:pt x="70644" y="-35"/>
                      <a:pt x="60125" y="-2117"/>
                      <a:pt x="54769" y="5918"/>
                    </a:cubicBezTo>
                    <a:cubicBezTo>
                      <a:pt x="53182" y="8299"/>
                      <a:pt x="51169" y="10447"/>
                      <a:pt x="50007" y="13062"/>
                    </a:cubicBezTo>
                    <a:cubicBezTo>
                      <a:pt x="47968" y="17649"/>
                      <a:pt x="49421" y="24564"/>
                      <a:pt x="45244" y="27349"/>
                    </a:cubicBezTo>
                    <a:lnTo>
                      <a:pt x="30957" y="36874"/>
                    </a:lnTo>
                    <a:cubicBezTo>
                      <a:pt x="28576" y="38462"/>
                      <a:pt x="25837" y="39613"/>
                      <a:pt x="23813" y="41637"/>
                    </a:cubicBezTo>
                    <a:cubicBezTo>
                      <a:pt x="21432" y="44018"/>
                      <a:pt x="19613" y="47146"/>
                      <a:pt x="16669" y="48781"/>
                    </a:cubicBezTo>
                    <a:cubicBezTo>
                      <a:pt x="12281" y="51219"/>
                      <a:pt x="2382" y="53543"/>
                      <a:pt x="2382" y="53543"/>
                    </a:cubicBezTo>
                    <a:cubicBezTo>
                      <a:pt x="1588" y="55924"/>
                      <a:pt x="0" y="58177"/>
                      <a:pt x="0" y="60687"/>
                    </a:cubicBezTo>
                    <a:cubicBezTo>
                      <a:pt x="0" y="63197"/>
                      <a:pt x="1259" y="65586"/>
                      <a:pt x="2382" y="67831"/>
                    </a:cubicBezTo>
                    <a:cubicBezTo>
                      <a:pt x="3662" y="70390"/>
                      <a:pt x="4946" y="73142"/>
                      <a:pt x="7144" y="74974"/>
                    </a:cubicBezTo>
                    <a:cubicBezTo>
                      <a:pt x="11069" y="78245"/>
                      <a:pt x="18848" y="80463"/>
                      <a:pt x="23813" y="82118"/>
                    </a:cubicBezTo>
                    <a:cubicBezTo>
                      <a:pt x="26988" y="81324"/>
                      <a:pt x="30330" y="81026"/>
                      <a:pt x="33338" y="79737"/>
                    </a:cubicBezTo>
                    <a:cubicBezTo>
                      <a:pt x="35969" y="78610"/>
                      <a:pt x="37922" y="76254"/>
                      <a:pt x="40482" y="74974"/>
                    </a:cubicBezTo>
                    <a:cubicBezTo>
                      <a:pt x="42727" y="73852"/>
                      <a:pt x="45244" y="73387"/>
                      <a:pt x="47625" y="72593"/>
                    </a:cubicBezTo>
                    <a:cubicBezTo>
                      <a:pt x="56356" y="73387"/>
                      <a:pt x="65129" y="73815"/>
                      <a:pt x="73819" y="74974"/>
                    </a:cubicBezTo>
                    <a:cubicBezTo>
                      <a:pt x="78796" y="75638"/>
                      <a:pt x="85595" y="78106"/>
                      <a:pt x="90488" y="79737"/>
                    </a:cubicBezTo>
                    <a:cubicBezTo>
                      <a:pt x="94738" y="79206"/>
                      <a:pt x="112103" y="79920"/>
                      <a:pt x="116682" y="72593"/>
                    </a:cubicBezTo>
                    <a:cubicBezTo>
                      <a:pt x="119343" y="68336"/>
                      <a:pt x="121444" y="58306"/>
                      <a:pt x="121444" y="58306"/>
                    </a:cubicBezTo>
                    <a:cubicBezTo>
                      <a:pt x="122238" y="50368"/>
                      <a:pt x="122355" y="42334"/>
                      <a:pt x="123825" y="34493"/>
                    </a:cubicBezTo>
                    <a:cubicBezTo>
                      <a:pt x="124750" y="29559"/>
                      <a:pt x="127000" y="24968"/>
                      <a:pt x="128588" y="20206"/>
                    </a:cubicBezTo>
                    <a:lnTo>
                      <a:pt x="130969" y="13062"/>
                    </a:lnTo>
                    <a:cubicBezTo>
                      <a:pt x="128203" y="1997"/>
                      <a:pt x="96044" y="2347"/>
                      <a:pt x="83344" y="1156"/>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8" name="Freeform 277"/>
              <p:cNvSpPr/>
              <p:nvPr/>
            </p:nvSpPr>
            <p:spPr>
              <a:xfrm>
                <a:off x="7760894" y="5209195"/>
                <a:ext cx="602456" cy="314325"/>
              </a:xfrm>
              <a:custGeom>
                <a:avLst/>
                <a:gdLst>
                  <a:gd name="connsiteX0" fmla="*/ 373856 w 602456"/>
                  <a:gd name="connsiteY0" fmla="*/ 42863 h 314325"/>
                  <a:gd name="connsiteX1" fmla="*/ 304800 w 602456"/>
                  <a:gd name="connsiteY1" fmla="*/ 42863 h 314325"/>
                  <a:gd name="connsiteX2" fmla="*/ 297656 w 602456"/>
                  <a:gd name="connsiteY2" fmla="*/ 47625 h 314325"/>
                  <a:gd name="connsiteX3" fmla="*/ 283369 w 602456"/>
                  <a:gd name="connsiteY3" fmla="*/ 52388 h 314325"/>
                  <a:gd name="connsiteX4" fmla="*/ 276225 w 602456"/>
                  <a:gd name="connsiteY4" fmla="*/ 54769 h 314325"/>
                  <a:gd name="connsiteX5" fmla="*/ 269081 w 602456"/>
                  <a:gd name="connsiteY5" fmla="*/ 57150 h 314325"/>
                  <a:gd name="connsiteX6" fmla="*/ 226219 w 602456"/>
                  <a:gd name="connsiteY6" fmla="*/ 61913 h 314325"/>
                  <a:gd name="connsiteX7" fmla="*/ 197644 w 602456"/>
                  <a:gd name="connsiteY7" fmla="*/ 66675 h 314325"/>
                  <a:gd name="connsiteX8" fmla="*/ 185737 w 602456"/>
                  <a:gd name="connsiteY8" fmla="*/ 69057 h 314325"/>
                  <a:gd name="connsiteX9" fmla="*/ 171450 w 602456"/>
                  <a:gd name="connsiteY9" fmla="*/ 73819 h 314325"/>
                  <a:gd name="connsiteX10" fmla="*/ 164306 w 602456"/>
                  <a:gd name="connsiteY10" fmla="*/ 76200 h 314325"/>
                  <a:gd name="connsiteX11" fmla="*/ 154781 w 602456"/>
                  <a:gd name="connsiteY11" fmla="*/ 78582 h 314325"/>
                  <a:gd name="connsiteX12" fmla="*/ 142875 w 602456"/>
                  <a:gd name="connsiteY12" fmla="*/ 80963 h 314325"/>
                  <a:gd name="connsiteX13" fmla="*/ 128587 w 602456"/>
                  <a:gd name="connsiteY13" fmla="*/ 85725 h 314325"/>
                  <a:gd name="connsiteX14" fmla="*/ 104775 w 602456"/>
                  <a:gd name="connsiteY14" fmla="*/ 88107 h 314325"/>
                  <a:gd name="connsiteX15" fmla="*/ 83344 w 602456"/>
                  <a:gd name="connsiteY15" fmla="*/ 95250 h 314325"/>
                  <a:gd name="connsiteX16" fmla="*/ 76200 w 602456"/>
                  <a:gd name="connsiteY16" fmla="*/ 97632 h 314325"/>
                  <a:gd name="connsiteX17" fmla="*/ 64294 w 602456"/>
                  <a:gd name="connsiteY17" fmla="*/ 104775 h 314325"/>
                  <a:gd name="connsiteX18" fmla="*/ 57150 w 602456"/>
                  <a:gd name="connsiteY18" fmla="*/ 109538 h 314325"/>
                  <a:gd name="connsiteX19" fmla="*/ 50006 w 602456"/>
                  <a:gd name="connsiteY19" fmla="*/ 111919 h 314325"/>
                  <a:gd name="connsiteX20" fmla="*/ 42862 w 602456"/>
                  <a:gd name="connsiteY20" fmla="*/ 116682 h 314325"/>
                  <a:gd name="connsiteX21" fmla="*/ 23812 w 602456"/>
                  <a:gd name="connsiteY21" fmla="*/ 126207 h 314325"/>
                  <a:gd name="connsiteX22" fmla="*/ 19050 w 602456"/>
                  <a:gd name="connsiteY22" fmla="*/ 133350 h 314325"/>
                  <a:gd name="connsiteX23" fmla="*/ 14287 w 602456"/>
                  <a:gd name="connsiteY23" fmla="*/ 147638 h 314325"/>
                  <a:gd name="connsiteX24" fmla="*/ 0 w 602456"/>
                  <a:gd name="connsiteY24" fmla="*/ 161925 h 314325"/>
                  <a:gd name="connsiteX25" fmla="*/ 2381 w 602456"/>
                  <a:gd name="connsiteY25" fmla="*/ 171450 h 314325"/>
                  <a:gd name="connsiteX26" fmla="*/ 33337 w 602456"/>
                  <a:gd name="connsiteY26" fmla="*/ 178594 h 314325"/>
                  <a:gd name="connsiteX27" fmla="*/ 50006 w 602456"/>
                  <a:gd name="connsiteY27" fmla="*/ 180975 h 314325"/>
                  <a:gd name="connsiteX28" fmla="*/ 64294 w 602456"/>
                  <a:gd name="connsiteY28" fmla="*/ 185738 h 314325"/>
                  <a:gd name="connsiteX29" fmla="*/ 73819 w 602456"/>
                  <a:gd name="connsiteY29" fmla="*/ 200025 h 314325"/>
                  <a:gd name="connsiteX30" fmla="*/ 71437 w 602456"/>
                  <a:gd name="connsiteY30" fmla="*/ 214313 h 314325"/>
                  <a:gd name="connsiteX31" fmla="*/ 64294 w 602456"/>
                  <a:gd name="connsiteY31" fmla="*/ 221457 h 314325"/>
                  <a:gd name="connsiteX32" fmla="*/ 30956 w 602456"/>
                  <a:gd name="connsiteY32" fmla="*/ 233363 h 314325"/>
                  <a:gd name="connsiteX33" fmla="*/ 26194 w 602456"/>
                  <a:gd name="connsiteY33" fmla="*/ 285750 h 314325"/>
                  <a:gd name="connsiteX34" fmla="*/ 28575 w 602456"/>
                  <a:gd name="connsiteY34" fmla="*/ 302419 h 314325"/>
                  <a:gd name="connsiteX35" fmla="*/ 50006 w 602456"/>
                  <a:gd name="connsiteY35" fmla="*/ 314325 h 314325"/>
                  <a:gd name="connsiteX36" fmla="*/ 57150 w 602456"/>
                  <a:gd name="connsiteY36" fmla="*/ 311944 h 314325"/>
                  <a:gd name="connsiteX37" fmla="*/ 61912 w 602456"/>
                  <a:gd name="connsiteY37" fmla="*/ 304800 h 314325"/>
                  <a:gd name="connsiteX38" fmla="*/ 69056 w 602456"/>
                  <a:gd name="connsiteY38" fmla="*/ 297657 h 314325"/>
                  <a:gd name="connsiteX39" fmla="*/ 78581 w 602456"/>
                  <a:gd name="connsiteY39" fmla="*/ 283369 h 314325"/>
                  <a:gd name="connsiteX40" fmla="*/ 85725 w 602456"/>
                  <a:gd name="connsiteY40" fmla="*/ 280988 h 314325"/>
                  <a:gd name="connsiteX41" fmla="*/ 92869 w 602456"/>
                  <a:gd name="connsiteY41" fmla="*/ 276225 h 314325"/>
                  <a:gd name="connsiteX42" fmla="*/ 100012 w 602456"/>
                  <a:gd name="connsiteY42" fmla="*/ 273844 h 314325"/>
                  <a:gd name="connsiteX43" fmla="*/ 111919 w 602456"/>
                  <a:gd name="connsiteY43" fmla="*/ 259557 h 314325"/>
                  <a:gd name="connsiteX44" fmla="*/ 119062 w 602456"/>
                  <a:gd name="connsiteY44" fmla="*/ 254794 h 314325"/>
                  <a:gd name="connsiteX45" fmla="*/ 123825 w 602456"/>
                  <a:gd name="connsiteY45" fmla="*/ 247650 h 314325"/>
                  <a:gd name="connsiteX46" fmla="*/ 130969 w 602456"/>
                  <a:gd name="connsiteY46" fmla="*/ 245269 h 314325"/>
                  <a:gd name="connsiteX47" fmla="*/ 200025 w 602456"/>
                  <a:gd name="connsiteY47" fmla="*/ 242888 h 314325"/>
                  <a:gd name="connsiteX48" fmla="*/ 207169 w 602456"/>
                  <a:gd name="connsiteY48" fmla="*/ 240507 h 314325"/>
                  <a:gd name="connsiteX49" fmla="*/ 228600 w 602456"/>
                  <a:gd name="connsiteY49" fmla="*/ 230982 h 314325"/>
                  <a:gd name="connsiteX50" fmla="*/ 242887 w 602456"/>
                  <a:gd name="connsiteY50" fmla="*/ 228600 h 314325"/>
                  <a:gd name="connsiteX51" fmla="*/ 250031 w 602456"/>
                  <a:gd name="connsiteY51" fmla="*/ 226219 h 314325"/>
                  <a:gd name="connsiteX52" fmla="*/ 288131 w 602456"/>
                  <a:gd name="connsiteY52" fmla="*/ 221457 h 314325"/>
                  <a:gd name="connsiteX53" fmla="*/ 295275 w 602456"/>
                  <a:gd name="connsiteY53" fmla="*/ 216694 h 314325"/>
                  <a:gd name="connsiteX54" fmla="*/ 297656 w 602456"/>
                  <a:gd name="connsiteY54" fmla="*/ 209550 h 314325"/>
                  <a:gd name="connsiteX55" fmla="*/ 304800 w 602456"/>
                  <a:gd name="connsiteY55" fmla="*/ 202407 h 314325"/>
                  <a:gd name="connsiteX56" fmla="*/ 316706 w 602456"/>
                  <a:gd name="connsiteY56" fmla="*/ 180975 h 314325"/>
                  <a:gd name="connsiteX57" fmla="*/ 330994 w 602456"/>
                  <a:gd name="connsiteY57" fmla="*/ 176213 h 314325"/>
                  <a:gd name="connsiteX58" fmla="*/ 385762 w 602456"/>
                  <a:gd name="connsiteY58" fmla="*/ 171450 h 314325"/>
                  <a:gd name="connsiteX59" fmla="*/ 402431 w 602456"/>
                  <a:gd name="connsiteY59" fmla="*/ 164307 h 314325"/>
                  <a:gd name="connsiteX60" fmla="*/ 416719 w 602456"/>
                  <a:gd name="connsiteY60" fmla="*/ 157163 h 314325"/>
                  <a:gd name="connsiteX61" fmla="*/ 423862 w 602456"/>
                  <a:gd name="connsiteY61" fmla="*/ 150019 h 314325"/>
                  <a:gd name="connsiteX62" fmla="*/ 433387 w 602456"/>
                  <a:gd name="connsiteY62" fmla="*/ 135732 h 314325"/>
                  <a:gd name="connsiteX63" fmla="*/ 445294 w 602456"/>
                  <a:gd name="connsiteY63" fmla="*/ 133350 h 314325"/>
                  <a:gd name="connsiteX64" fmla="*/ 502444 w 602456"/>
                  <a:gd name="connsiteY64" fmla="*/ 128588 h 314325"/>
                  <a:gd name="connsiteX65" fmla="*/ 516731 w 602456"/>
                  <a:gd name="connsiteY65" fmla="*/ 123825 h 314325"/>
                  <a:gd name="connsiteX66" fmla="*/ 533400 w 602456"/>
                  <a:gd name="connsiteY66" fmla="*/ 102394 h 314325"/>
                  <a:gd name="connsiteX67" fmla="*/ 545306 w 602456"/>
                  <a:gd name="connsiteY67" fmla="*/ 100013 h 314325"/>
                  <a:gd name="connsiteX68" fmla="*/ 552450 w 602456"/>
                  <a:gd name="connsiteY68" fmla="*/ 97632 h 314325"/>
                  <a:gd name="connsiteX69" fmla="*/ 566737 w 602456"/>
                  <a:gd name="connsiteY69" fmla="*/ 88107 h 314325"/>
                  <a:gd name="connsiteX70" fmla="*/ 588169 w 602456"/>
                  <a:gd name="connsiteY70" fmla="*/ 69057 h 314325"/>
                  <a:gd name="connsiteX71" fmla="*/ 592931 w 602456"/>
                  <a:gd name="connsiteY71" fmla="*/ 61913 h 314325"/>
                  <a:gd name="connsiteX72" fmla="*/ 597694 w 602456"/>
                  <a:gd name="connsiteY72" fmla="*/ 47625 h 314325"/>
                  <a:gd name="connsiteX73" fmla="*/ 602456 w 602456"/>
                  <a:gd name="connsiteY73" fmla="*/ 28575 h 314325"/>
                  <a:gd name="connsiteX74" fmla="*/ 600075 w 602456"/>
                  <a:gd name="connsiteY74" fmla="*/ 21432 h 314325"/>
                  <a:gd name="connsiteX75" fmla="*/ 592931 w 602456"/>
                  <a:gd name="connsiteY75" fmla="*/ 19050 h 314325"/>
                  <a:gd name="connsiteX76" fmla="*/ 554831 w 602456"/>
                  <a:gd name="connsiteY76" fmla="*/ 16669 h 314325"/>
                  <a:gd name="connsiteX77" fmla="*/ 547687 w 602456"/>
                  <a:gd name="connsiteY77" fmla="*/ 14288 h 314325"/>
                  <a:gd name="connsiteX78" fmla="*/ 531019 w 602456"/>
                  <a:gd name="connsiteY78" fmla="*/ 4763 h 314325"/>
                  <a:gd name="connsiteX79" fmla="*/ 516731 w 602456"/>
                  <a:gd name="connsiteY79" fmla="*/ 0 h 314325"/>
                  <a:gd name="connsiteX80" fmla="*/ 485775 w 602456"/>
                  <a:gd name="connsiteY80" fmla="*/ 7144 h 314325"/>
                  <a:gd name="connsiteX81" fmla="*/ 478631 w 602456"/>
                  <a:gd name="connsiteY81" fmla="*/ 14288 h 314325"/>
                  <a:gd name="connsiteX82" fmla="*/ 473869 w 602456"/>
                  <a:gd name="connsiteY82" fmla="*/ 28575 h 314325"/>
                  <a:gd name="connsiteX83" fmla="*/ 466725 w 602456"/>
                  <a:gd name="connsiteY83" fmla="*/ 33338 h 314325"/>
                  <a:gd name="connsiteX84" fmla="*/ 433387 w 602456"/>
                  <a:gd name="connsiteY84" fmla="*/ 38100 h 314325"/>
                  <a:gd name="connsiteX85" fmla="*/ 421481 w 602456"/>
                  <a:gd name="connsiteY85" fmla="*/ 59532 h 314325"/>
                  <a:gd name="connsiteX86" fmla="*/ 414337 w 602456"/>
                  <a:gd name="connsiteY86" fmla="*/ 64294 h 314325"/>
                  <a:gd name="connsiteX87" fmla="*/ 397669 w 602456"/>
                  <a:gd name="connsiteY87" fmla="*/ 61913 h 314325"/>
                  <a:gd name="connsiteX88" fmla="*/ 390525 w 602456"/>
                  <a:gd name="connsiteY88" fmla="*/ 59532 h 314325"/>
                  <a:gd name="connsiteX89" fmla="*/ 388144 w 602456"/>
                  <a:gd name="connsiteY89" fmla="*/ 52388 h 314325"/>
                  <a:gd name="connsiteX90" fmla="*/ 383381 w 602456"/>
                  <a:gd name="connsiteY90" fmla="*/ 45244 h 314325"/>
                  <a:gd name="connsiteX91" fmla="*/ 373856 w 602456"/>
                  <a:gd name="connsiteY91" fmla="*/ 4286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2456" h="314325">
                    <a:moveTo>
                      <a:pt x="373856" y="42863"/>
                    </a:moveTo>
                    <a:cubicBezTo>
                      <a:pt x="360759" y="42466"/>
                      <a:pt x="352335" y="37582"/>
                      <a:pt x="304800" y="42863"/>
                    </a:cubicBezTo>
                    <a:cubicBezTo>
                      <a:pt x="301956" y="43179"/>
                      <a:pt x="300271" y="46463"/>
                      <a:pt x="297656" y="47625"/>
                    </a:cubicBezTo>
                    <a:cubicBezTo>
                      <a:pt x="293069" y="49664"/>
                      <a:pt x="288131" y="50800"/>
                      <a:pt x="283369" y="52388"/>
                    </a:cubicBezTo>
                    <a:lnTo>
                      <a:pt x="276225" y="54769"/>
                    </a:lnTo>
                    <a:cubicBezTo>
                      <a:pt x="273844" y="55563"/>
                      <a:pt x="271557" y="56737"/>
                      <a:pt x="269081" y="57150"/>
                    </a:cubicBezTo>
                    <a:cubicBezTo>
                      <a:pt x="228532" y="63911"/>
                      <a:pt x="292931" y="53575"/>
                      <a:pt x="226219" y="61913"/>
                    </a:cubicBezTo>
                    <a:cubicBezTo>
                      <a:pt x="216637" y="63111"/>
                      <a:pt x="207113" y="64781"/>
                      <a:pt x="197644" y="66675"/>
                    </a:cubicBezTo>
                    <a:cubicBezTo>
                      <a:pt x="193675" y="67469"/>
                      <a:pt x="189642" y="67992"/>
                      <a:pt x="185737" y="69057"/>
                    </a:cubicBezTo>
                    <a:cubicBezTo>
                      <a:pt x="180894" y="70378"/>
                      <a:pt x="176212" y="72232"/>
                      <a:pt x="171450" y="73819"/>
                    </a:cubicBezTo>
                    <a:cubicBezTo>
                      <a:pt x="169069" y="74613"/>
                      <a:pt x="166741" y="75591"/>
                      <a:pt x="164306" y="76200"/>
                    </a:cubicBezTo>
                    <a:cubicBezTo>
                      <a:pt x="161131" y="76994"/>
                      <a:pt x="157976" y="77872"/>
                      <a:pt x="154781" y="78582"/>
                    </a:cubicBezTo>
                    <a:cubicBezTo>
                      <a:pt x="150830" y="79460"/>
                      <a:pt x="146780" y="79898"/>
                      <a:pt x="142875" y="80963"/>
                    </a:cubicBezTo>
                    <a:cubicBezTo>
                      <a:pt x="138032" y="82284"/>
                      <a:pt x="133582" y="85225"/>
                      <a:pt x="128587" y="85725"/>
                    </a:cubicBezTo>
                    <a:lnTo>
                      <a:pt x="104775" y="88107"/>
                    </a:lnTo>
                    <a:lnTo>
                      <a:pt x="83344" y="95250"/>
                    </a:lnTo>
                    <a:cubicBezTo>
                      <a:pt x="80963" y="96044"/>
                      <a:pt x="78353" y="96341"/>
                      <a:pt x="76200" y="97632"/>
                    </a:cubicBezTo>
                    <a:cubicBezTo>
                      <a:pt x="72231" y="100013"/>
                      <a:pt x="68219" y="102322"/>
                      <a:pt x="64294" y="104775"/>
                    </a:cubicBezTo>
                    <a:cubicBezTo>
                      <a:pt x="61867" y="106292"/>
                      <a:pt x="59710" y="108258"/>
                      <a:pt x="57150" y="109538"/>
                    </a:cubicBezTo>
                    <a:cubicBezTo>
                      <a:pt x="54905" y="110661"/>
                      <a:pt x="52387" y="111125"/>
                      <a:pt x="50006" y="111919"/>
                    </a:cubicBezTo>
                    <a:cubicBezTo>
                      <a:pt x="47625" y="113507"/>
                      <a:pt x="45422" y="115402"/>
                      <a:pt x="42862" y="116682"/>
                    </a:cubicBezTo>
                    <a:cubicBezTo>
                      <a:pt x="19560" y="128333"/>
                      <a:pt x="40364" y="115172"/>
                      <a:pt x="23812" y="126207"/>
                    </a:cubicBezTo>
                    <a:cubicBezTo>
                      <a:pt x="22225" y="128588"/>
                      <a:pt x="20212" y="130735"/>
                      <a:pt x="19050" y="133350"/>
                    </a:cubicBezTo>
                    <a:cubicBezTo>
                      <a:pt x="17011" y="137938"/>
                      <a:pt x="17837" y="144088"/>
                      <a:pt x="14287" y="147638"/>
                    </a:cubicBezTo>
                    <a:lnTo>
                      <a:pt x="0" y="161925"/>
                    </a:lnTo>
                    <a:cubicBezTo>
                      <a:pt x="794" y="165100"/>
                      <a:pt x="566" y="168727"/>
                      <a:pt x="2381" y="171450"/>
                    </a:cubicBezTo>
                    <a:cubicBezTo>
                      <a:pt x="7977" y="179844"/>
                      <a:pt x="29491" y="178142"/>
                      <a:pt x="33337" y="178594"/>
                    </a:cubicBezTo>
                    <a:cubicBezTo>
                      <a:pt x="38911" y="179250"/>
                      <a:pt x="44450" y="180181"/>
                      <a:pt x="50006" y="180975"/>
                    </a:cubicBezTo>
                    <a:cubicBezTo>
                      <a:pt x="54769" y="182563"/>
                      <a:pt x="61509" y="181561"/>
                      <a:pt x="64294" y="185738"/>
                    </a:cubicBezTo>
                    <a:lnTo>
                      <a:pt x="73819" y="200025"/>
                    </a:lnTo>
                    <a:cubicBezTo>
                      <a:pt x="73025" y="204788"/>
                      <a:pt x="73398" y="209901"/>
                      <a:pt x="71437" y="214313"/>
                    </a:cubicBezTo>
                    <a:cubicBezTo>
                      <a:pt x="70069" y="217390"/>
                      <a:pt x="66881" y="219301"/>
                      <a:pt x="64294" y="221457"/>
                    </a:cubicBezTo>
                    <a:cubicBezTo>
                      <a:pt x="54682" y="229467"/>
                      <a:pt x="42699" y="231015"/>
                      <a:pt x="30956" y="233363"/>
                    </a:cubicBezTo>
                    <a:cubicBezTo>
                      <a:pt x="24218" y="253581"/>
                      <a:pt x="26194" y="245540"/>
                      <a:pt x="26194" y="285750"/>
                    </a:cubicBezTo>
                    <a:cubicBezTo>
                      <a:pt x="26194" y="291363"/>
                      <a:pt x="25562" y="297684"/>
                      <a:pt x="28575" y="302419"/>
                    </a:cubicBezTo>
                    <a:cubicBezTo>
                      <a:pt x="32984" y="309348"/>
                      <a:pt x="42680" y="311883"/>
                      <a:pt x="50006" y="314325"/>
                    </a:cubicBezTo>
                    <a:cubicBezTo>
                      <a:pt x="52387" y="313531"/>
                      <a:pt x="55190" y="313512"/>
                      <a:pt x="57150" y="311944"/>
                    </a:cubicBezTo>
                    <a:cubicBezTo>
                      <a:pt x="59385" y="310156"/>
                      <a:pt x="60080" y="306999"/>
                      <a:pt x="61912" y="304800"/>
                    </a:cubicBezTo>
                    <a:cubicBezTo>
                      <a:pt x="64068" y="302213"/>
                      <a:pt x="66989" y="300315"/>
                      <a:pt x="69056" y="297657"/>
                    </a:cubicBezTo>
                    <a:cubicBezTo>
                      <a:pt x="72570" y="293139"/>
                      <a:pt x="73151" y="285179"/>
                      <a:pt x="78581" y="283369"/>
                    </a:cubicBezTo>
                    <a:lnTo>
                      <a:pt x="85725" y="280988"/>
                    </a:lnTo>
                    <a:cubicBezTo>
                      <a:pt x="88106" y="279400"/>
                      <a:pt x="90309" y="277505"/>
                      <a:pt x="92869" y="276225"/>
                    </a:cubicBezTo>
                    <a:cubicBezTo>
                      <a:pt x="95114" y="275103"/>
                      <a:pt x="97924" y="275236"/>
                      <a:pt x="100012" y="273844"/>
                    </a:cubicBezTo>
                    <a:cubicBezTo>
                      <a:pt x="111711" y="266044"/>
                      <a:pt x="103137" y="268339"/>
                      <a:pt x="111919" y="259557"/>
                    </a:cubicBezTo>
                    <a:cubicBezTo>
                      <a:pt x="113943" y="257533"/>
                      <a:pt x="116681" y="256382"/>
                      <a:pt x="119062" y="254794"/>
                    </a:cubicBezTo>
                    <a:cubicBezTo>
                      <a:pt x="120650" y="252413"/>
                      <a:pt x="121590" y="249438"/>
                      <a:pt x="123825" y="247650"/>
                    </a:cubicBezTo>
                    <a:cubicBezTo>
                      <a:pt x="125785" y="246082"/>
                      <a:pt x="128464" y="245426"/>
                      <a:pt x="130969" y="245269"/>
                    </a:cubicBezTo>
                    <a:cubicBezTo>
                      <a:pt x="153957" y="243832"/>
                      <a:pt x="177006" y="243682"/>
                      <a:pt x="200025" y="242888"/>
                    </a:cubicBezTo>
                    <a:cubicBezTo>
                      <a:pt x="202406" y="242094"/>
                      <a:pt x="204924" y="241630"/>
                      <a:pt x="207169" y="240507"/>
                    </a:cubicBezTo>
                    <a:cubicBezTo>
                      <a:pt x="219309" y="234437"/>
                      <a:pt x="210158" y="234057"/>
                      <a:pt x="228600" y="230982"/>
                    </a:cubicBezTo>
                    <a:cubicBezTo>
                      <a:pt x="233362" y="230188"/>
                      <a:pt x="238174" y="229647"/>
                      <a:pt x="242887" y="228600"/>
                    </a:cubicBezTo>
                    <a:cubicBezTo>
                      <a:pt x="245337" y="228055"/>
                      <a:pt x="247570" y="226711"/>
                      <a:pt x="250031" y="226219"/>
                    </a:cubicBezTo>
                    <a:cubicBezTo>
                      <a:pt x="258525" y="224520"/>
                      <a:pt x="280702" y="222282"/>
                      <a:pt x="288131" y="221457"/>
                    </a:cubicBezTo>
                    <a:cubicBezTo>
                      <a:pt x="290512" y="219869"/>
                      <a:pt x="293487" y="218929"/>
                      <a:pt x="295275" y="216694"/>
                    </a:cubicBezTo>
                    <a:cubicBezTo>
                      <a:pt x="296843" y="214734"/>
                      <a:pt x="296264" y="211639"/>
                      <a:pt x="297656" y="209550"/>
                    </a:cubicBezTo>
                    <a:cubicBezTo>
                      <a:pt x="299524" y="206748"/>
                      <a:pt x="302419" y="204788"/>
                      <a:pt x="304800" y="202407"/>
                    </a:cubicBezTo>
                    <a:cubicBezTo>
                      <a:pt x="306896" y="196117"/>
                      <a:pt x="310565" y="183022"/>
                      <a:pt x="316706" y="180975"/>
                    </a:cubicBezTo>
                    <a:lnTo>
                      <a:pt x="330994" y="176213"/>
                    </a:lnTo>
                    <a:cubicBezTo>
                      <a:pt x="353219" y="168805"/>
                      <a:pt x="335615" y="173958"/>
                      <a:pt x="385762" y="171450"/>
                    </a:cubicBezTo>
                    <a:cubicBezTo>
                      <a:pt x="402507" y="165869"/>
                      <a:pt x="381846" y="173129"/>
                      <a:pt x="402431" y="164307"/>
                    </a:cubicBezTo>
                    <a:cubicBezTo>
                      <a:pt x="411271" y="160518"/>
                      <a:pt x="408648" y="163889"/>
                      <a:pt x="416719" y="157163"/>
                    </a:cubicBezTo>
                    <a:cubicBezTo>
                      <a:pt x="419306" y="155007"/>
                      <a:pt x="421795" y="152677"/>
                      <a:pt x="423862" y="150019"/>
                    </a:cubicBezTo>
                    <a:cubicBezTo>
                      <a:pt x="427376" y="145501"/>
                      <a:pt x="427775" y="136855"/>
                      <a:pt x="433387" y="135732"/>
                    </a:cubicBezTo>
                    <a:cubicBezTo>
                      <a:pt x="437356" y="134938"/>
                      <a:pt x="441268" y="133767"/>
                      <a:pt x="445294" y="133350"/>
                    </a:cubicBezTo>
                    <a:cubicBezTo>
                      <a:pt x="464309" y="131383"/>
                      <a:pt x="502444" y="128588"/>
                      <a:pt x="502444" y="128588"/>
                    </a:cubicBezTo>
                    <a:cubicBezTo>
                      <a:pt x="507206" y="127000"/>
                      <a:pt x="513946" y="128002"/>
                      <a:pt x="516731" y="123825"/>
                    </a:cubicBezTo>
                    <a:cubicBezTo>
                      <a:pt x="518613" y="121001"/>
                      <a:pt x="527805" y="105192"/>
                      <a:pt x="533400" y="102394"/>
                    </a:cubicBezTo>
                    <a:cubicBezTo>
                      <a:pt x="537020" y="100584"/>
                      <a:pt x="541380" y="100995"/>
                      <a:pt x="545306" y="100013"/>
                    </a:cubicBezTo>
                    <a:cubicBezTo>
                      <a:pt x="547741" y="99404"/>
                      <a:pt x="550069" y="98426"/>
                      <a:pt x="552450" y="97632"/>
                    </a:cubicBezTo>
                    <a:lnTo>
                      <a:pt x="566737" y="88107"/>
                    </a:lnTo>
                    <a:cubicBezTo>
                      <a:pt x="575324" y="82382"/>
                      <a:pt x="581648" y="78840"/>
                      <a:pt x="588169" y="69057"/>
                    </a:cubicBezTo>
                    <a:cubicBezTo>
                      <a:pt x="589756" y="66676"/>
                      <a:pt x="591769" y="64528"/>
                      <a:pt x="592931" y="61913"/>
                    </a:cubicBezTo>
                    <a:cubicBezTo>
                      <a:pt x="594970" y="57325"/>
                      <a:pt x="596106" y="52388"/>
                      <a:pt x="597694" y="47625"/>
                    </a:cubicBezTo>
                    <a:cubicBezTo>
                      <a:pt x="601355" y="36643"/>
                      <a:pt x="599583" y="42941"/>
                      <a:pt x="602456" y="28575"/>
                    </a:cubicBezTo>
                    <a:cubicBezTo>
                      <a:pt x="601662" y="26194"/>
                      <a:pt x="601850" y="23207"/>
                      <a:pt x="600075" y="21432"/>
                    </a:cubicBezTo>
                    <a:cubicBezTo>
                      <a:pt x="598300" y="19657"/>
                      <a:pt x="595427" y="19313"/>
                      <a:pt x="592931" y="19050"/>
                    </a:cubicBezTo>
                    <a:cubicBezTo>
                      <a:pt x="580276" y="17718"/>
                      <a:pt x="567531" y="17463"/>
                      <a:pt x="554831" y="16669"/>
                    </a:cubicBezTo>
                    <a:cubicBezTo>
                      <a:pt x="552450" y="15875"/>
                      <a:pt x="549932" y="15411"/>
                      <a:pt x="547687" y="14288"/>
                    </a:cubicBezTo>
                    <a:cubicBezTo>
                      <a:pt x="530494" y="5691"/>
                      <a:pt x="551906" y="13117"/>
                      <a:pt x="531019" y="4763"/>
                    </a:cubicBezTo>
                    <a:cubicBezTo>
                      <a:pt x="526358" y="2899"/>
                      <a:pt x="516731" y="0"/>
                      <a:pt x="516731" y="0"/>
                    </a:cubicBezTo>
                    <a:cubicBezTo>
                      <a:pt x="503251" y="1498"/>
                      <a:pt x="496060" y="-202"/>
                      <a:pt x="485775" y="7144"/>
                    </a:cubicBezTo>
                    <a:cubicBezTo>
                      <a:pt x="483035" y="9101"/>
                      <a:pt x="481012" y="11907"/>
                      <a:pt x="478631" y="14288"/>
                    </a:cubicBezTo>
                    <a:cubicBezTo>
                      <a:pt x="477044" y="19050"/>
                      <a:pt x="478046" y="25790"/>
                      <a:pt x="473869" y="28575"/>
                    </a:cubicBezTo>
                    <a:cubicBezTo>
                      <a:pt x="471488" y="30163"/>
                      <a:pt x="469285" y="32058"/>
                      <a:pt x="466725" y="33338"/>
                    </a:cubicBezTo>
                    <a:cubicBezTo>
                      <a:pt x="457564" y="37918"/>
                      <a:pt x="440074" y="37492"/>
                      <a:pt x="433387" y="38100"/>
                    </a:cubicBezTo>
                    <a:cubicBezTo>
                      <a:pt x="428786" y="51903"/>
                      <a:pt x="431352" y="51306"/>
                      <a:pt x="421481" y="59532"/>
                    </a:cubicBezTo>
                    <a:cubicBezTo>
                      <a:pt x="419282" y="61364"/>
                      <a:pt x="416718" y="62707"/>
                      <a:pt x="414337" y="64294"/>
                    </a:cubicBezTo>
                    <a:cubicBezTo>
                      <a:pt x="408781" y="63500"/>
                      <a:pt x="403172" y="63014"/>
                      <a:pt x="397669" y="61913"/>
                    </a:cubicBezTo>
                    <a:cubicBezTo>
                      <a:pt x="395208" y="61421"/>
                      <a:pt x="392300" y="61307"/>
                      <a:pt x="390525" y="59532"/>
                    </a:cubicBezTo>
                    <a:cubicBezTo>
                      <a:pt x="388750" y="57757"/>
                      <a:pt x="389267" y="54633"/>
                      <a:pt x="388144" y="52388"/>
                    </a:cubicBezTo>
                    <a:cubicBezTo>
                      <a:pt x="386864" y="49828"/>
                      <a:pt x="385405" y="47268"/>
                      <a:pt x="383381" y="45244"/>
                    </a:cubicBezTo>
                    <a:cubicBezTo>
                      <a:pt x="382820" y="44683"/>
                      <a:pt x="386953" y="43260"/>
                      <a:pt x="373856" y="4286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79" name="Freeform 278"/>
              <p:cNvSpPr/>
              <p:nvPr/>
            </p:nvSpPr>
            <p:spPr>
              <a:xfrm>
                <a:off x="9275369" y="3244664"/>
                <a:ext cx="1012881" cy="928688"/>
              </a:xfrm>
              <a:custGeom>
                <a:avLst/>
                <a:gdLst>
                  <a:gd name="connsiteX0" fmla="*/ 195262 w 1012881"/>
                  <a:gd name="connsiteY0" fmla="*/ 95250 h 928688"/>
                  <a:gd name="connsiteX1" fmla="*/ 123825 w 1012881"/>
                  <a:gd name="connsiteY1" fmla="*/ 97631 h 928688"/>
                  <a:gd name="connsiteX2" fmla="*/ 69056 w 1012881"/>
                  <a:gd name="connsiteY2" fmla="*/ 97631 h 928688"/>
                  <a:gd name="connsiteX3" fmla="*/ 73819 w 1012881"/>
                  <a:gd name="connsiteY3" fmla="*/ 128588 h 928688"/>
                  <a:gd name="connsiteX4" fmla="*/ 78581 w 1012881"/>
                  <a:gd name="connsiteY4" fmla="*/ 135731 h 928688"/>
                  <a:gd name="connsiteX5" fmla="*/ 85725 w 1012881"/>
                  <a:gd name="connsiteY5" fmla="*/ 150019 h 928688"/>
                  <a:gd name="connsiteX6" fmla="*/ 88106 w 1012881"/>
                  <a:gd name="connsiteY6" fmla="*/ 157163 h 928688"/>
                  <a:gd name="connsiteX7" fmla="*/ 85725 w 1012881"/>
                  <a:gd name="connsiteY7" fmla="*/ 178594 h 928688"/>
                  <a:gd name="connsiteX8" fmla="*/ 83344 w 1012881"/>
                  <a:gd name="connsiteY8" fmla="*/ 185738 h 928688"/>
                  <a:gd name="connsiteX9" fmla="*/ 54769 w 1012881"/>
                  <a:gd name="connsiteY9" fmla="*/ 200025 h 928688"/>
                  <a:gd name="connsiteX10" fmla="*/ 47625 w 1012881"/>
                  <a:gd name="connsiteY10" fmla="*/ 202406 h 928688"/>
                  <a:gd name="connsiteX11" fmla="*/ 33337 w 1012881"/>
                  <a:gd name="connsiteY11" fmla="*/ 211931 h 928688"/>
                  <a:gd name="connsiteX12" fmla="*/ 21431 w 1012881"/>
                  <a:gd name="connsiteY12" fmla="*/ 226219 h 928688"/>
                  <a:gd name="connsiteX13" fmla="*/ 7144 w 1012881"/>
                  <a:gd name="connsiteY13" fmla="*/ 235744 h 928688"/>
                  <a:gd name="connsiteX14" fmla="*/ 0 w 1012881"/>
                  <a:gd name="connsiteY14" fmla="*/ 240506 h 928688"/>
                  <a:gd name="connsiteX15" fmla="*/ 2381 w 1012881"/>
                  <a:gd name="connsiteY15" fmla="*/ 266700 h 928688"/>
                  <a:gd name="connsiteX16" fmla="*/ 19050 w 1012881"/>
                  <a:gd name="connsiteY16" fmla="*/ 276225 h 928688"/>
                  <a:gd name="connsiteX17" fmla="*/ 33337 w 1012881"/>
                  <a:gd name="connsiteY17" fmla="*/ 280988 h 928688"/>
                  <a:gd name="connsiteX18" fmla="*/ 40481 w 1012881"/>
                  <a:gd name="connsiteY18" fmla="*/ 283369 h 928688"/>
                  <a:gd name="connsiteX19" fmla="*/ 119062 w 1012881"/>
                  <a:gd name="connsiteY19" fmla="*/ 288131 h 928688"/>
                  <a:gd name="connsiteX20" fmla="*/ 221456 w 1012881"/>
                  <a:gd name="connsiteY20" fmla="*/ 290513 h 928688"/>
                  <a:gd name="connsiteX21" fmla="*/ 228600 w 1012881"/>
                  <a:gd name="connsiteY21" fmla="*/ 297656 h 928688"/>
                  <a:gd name="connsiteX22" fmla="*/ 235744 w 1012881"/>
                  <a:gd name="connsiteY22" fmla="*/ 302419 h 928688"/>
                  <a:gd name="connsiteX23" fmla="*/ 238125 w 1012881"/>
                  <a:gd name="connsiteY23" fmla="*/ 309563 h 928688"/>
                  <a:gd name="connsiteX24" fmla="*/ 242887 w 1012881"/>
                  <a:gd name="connsiteY24" fmla="*/ 316706 h 928688"/>
                  <a:gd name="connsiteX25" fmla="*/ 245269 w 1012881"/>
                  <a:gd name="connsiteY25" fmla="*/ 323850 h 928688"/>
                  <a:gd name="connsiteX26" fmla="*/ 252412 w 1012881"/>
                  <a:gd name="connsiteY26" fmla="*/ 354806 h 928688"/>
                  <a:gd name="connsiteX27" fmla="*/ 259556 w 1012881"/>
                  <a:gd name="connsiteY27" fmla="*/ 369094 h 928688"/>
                  <a:gd name="connsiteX28" fmla="*/ 266700 w 1012881"/>
                  <a:gd name="connsiteY28" fmla="*/ 390525 h 928688"/>
                  <a:gd name="connsiteX29" fmla="*/ 273844 w 1012881"/>
                  <a:gd name="connsiteY29" fmla="*/ 411956 h 928688"/>
                  <a:gd name="connsiteX30" fmla="*/ 276225 w 1012881"/>
                  <a:gd name="connsiteY30" fmla="*/ 419100 h 928688"/>
                  <a:gd name="connsiteX31" fmla="*/ 278606 w 1012881"/>
                  <a:gd name="connsiteY31" fmla="*/ 426244 h 928688"/>
                  <a:gd name="connsiteX32" fmla="*/ 290512 w 1012881"/>
                  <a:gd name="connsiteY32" fmla="*/ 440531 h 928688"/>
                  <a:gd name="connsiteX33" fmla="*/ 309562 w 1012881"/>
                  <a:gd name="connsiteY33" fmla="*/ 457200 h 928688"/>
                  <a:gd name="connsiteX34" fmla="*/ 323850 w 1012881"/>
                  <a:gd name="connsiteY34" fmla="*/ 461963 h 928688"/>
                  <a:gd name="connsiteX35" fmla="*/ 357187 w 1012881"/>
                  <a:gd name="connsiteY35" fmla="*/ 459581 h 928688"/>
                  <a:gd name="connsiteX36" fmla="*/ 371475 w 1012881"/>
                  <a:gd name="connsiteY36" fmla="*/ 450056 h 928688"/>
                  <a:gd name="connsiteX37" fmla="*/ 378619 w 1012881"/>
                  <a:gd name="connsiteY37" fmla="*/ 445294 h 928688"/>
                  <a:gd name="connsiteX38" fmla="*/ 392906 w 1012881"/>
                  <a:gd name="connsiteY38" fmla="*/ 447675 h 928688"/>
                  <a:gd name="connsiteX39" fmla="*/ 404812 w 1012881"/>
                  <a:gd name="connsiteY39" fmla="*/ 459581 h 928688"/>
                  <a:gd name="connsiteX40" fmla="*/ 411956 w 1012881"/>
                  <a:gd name="connsiteY40" fmla="*/ 461963 h 928688"/>
                  <a:gd name="connsiteX41" fmla="*/ 416719 w 1012881"/>
                  <a:gd name="connsiteY41" fmla="*/ 469106 h 928688"/>
                  <a:gd name="connsiteX42" fmla="*/ 450056 w 1012881"/>
                  <a:gd name="connsiteY42" fmla="*/ 471488 h 928688"/>
                  <a:gd name="connsiteX43" fmla="*/ 457200 w 1012881"/>
                  <a:gd name="connsiteY43" fmla="*/ 466725 h 928688"/>
                  <a:gd name="connsiteX44" fmla="*/ 471487 w 1012881"/>
                  <a:gd name="connsiteY44" fmla="*/ 461963 h 928688"/>
                  <a:gd name="connsiteX45" fmla="*/ 519112 w 1012881"/>
                  <a:gd name="connsiteY45" fmla="*/ 464344 h 928688"/>
                  <a:gd name="connsiteX46" fmla="*/ 535781 w 1012881"/>
                  <a:gd name="connsiteY46" fmla="*/ 466725 h 928688"/>
                  <a:gd name="connsiteX47" fmla="*/ 538162 w 1012881"/>
                  <a:gd name="connsiteY47" fmla="*/ 454819 h 928688"/>
                  <a:gd name="connsiteX48" fmla="*/ 545306 w 1012881"/>
                  <a:gd name="connsiteY48" fmla="*/ 452438 h 928688"/>
                  <a:gd name="connsiteX49" fmla="*/ 588169 w 1012881"/>
                  <a:gd name="connsiteY49" fmla="*/ 454819 h 928688"/>
                  <a:gd name="connsiteX50" fmla="*/ 631031 w 1012881"/>
                  <a:gd name="connsiteY50" fmla="*/ 459581 h 928688"/>
                  <a:gd name="connsiteX51" fmla="*/ 676275 w 1012881"/>
                  <a:gd name="connsiteY51" fmla="*/ 457200 h 928688"/>
                  <a:gd name="connsiteX52" fmla="*/ 690562 w 1012881"/>
                  <a:gd name="connsiteY52" fmla="*/ 452438 h 928688"/>
                  <a:gd name="connsiteX53" fmla="*/ 697706 w 1012881"/>
                  <a:gd name="connsiteY53" fmla="*/ 447675 h 928688"/>
                  <a:gd name="connsiteX54" fmla="*/ 733425 w 1012881"/>
                  <a:gd name="connsiteY54" fmla="*/ 447675 h 928688"/>
                  <a:gd name="connsiteX55" fmla="*/ 740569 w 1012881"/>
                  <a:gd name="connsiteY55" fmla="*/ 452438 h 928688"/>
                  <a:gd name="connsiteX56" fmla="*/ 740569 w 1012881"/>
                  <a:gd name="connsiteY56" fmla="*/ 478631 h 928688"/>
                  <a:gd name="connsiteX57" fmla="*/ 733425 w 1012881"/>
                  <a:gd name="connsiteY57" fmla="*/ 485775 h 928688"/>
                  <a:gd name="connsiteX58" fmla="*/ 723900 w 1012881"/>
                  <a:gd name="connsiteY58" fmla="*/ 500063 h 928688"/>
                  <a:gd name="connsiteX59" fmla="*/ 721519 w 1012881"/>
                  <a:gd name="connsiteY59" fmla="*/ 509588 h 928688"/>
                  <a:gd name="connsiteX60" fmla="*/ 716756 w 1012881"/>
                  <a:gd name="connsiteY60" fmla="*/ 516731 h 928688"/>
                  <a:gd name="connsiteX61" fmla="*/ 711994 w 1012881"/>
                  <a:gd name="connsiteY61" fmla="*/ 526256 h 928688"/>
                  <a:gd name="connsiteX62" fmla="*/ 702469 w 1012881"/>
                  <a:gd name="connsiteY62" fmla="*/ 540544 h 928688"/>
                  <a:gd name="connsiteX63" fmla="*/ 697706 w 1012881"/>
                  <a:gd name="connsiteY63" fmla="*/ 547688 h 928688"/>
                  <a:gd name="connsiteX64" fmla="*/ 690562 w 1012881"/>
                  <a:gd name="connsiteY64" fmla="*/ 550069 h 928688"/>
                  <a:gd name="connsiteX65" fmla="*/ 647700 w 1012881"/>
                  <a:gd name="connsiteY65" fmla="*/ 552450 h 928688"/>
                  <a:gd name="connsiteX66" fmla="*/ 633412 w 1012881"/>
                  <a:gd name="connsiteY66" fmla="*/ 547688 h 928688"/>
                  <a:gd name="connsiteX67" fmla="*/ 626269 w 1012881"/>
                  <a:gd name="connsiteY67" fmla="*/ 545306 h 928688"/>
                  <a:gd name="connsiteX68" fmla="*/ 616744 w 1012881"/>
                  <a:gd name="connsiteY68" fmla="*/ 531019 h 928688"/>
                  <a:gd name="connsiteX69" fmla="*/ 609600 w 1012881"/>
                  <a:gd name="connsiteY69" fmla="*/ 526256 h 928688"/>
                  <a:gd name="connsiteX70" fmla="*/ 597694 w 1012881"/>
                  <a:gd name="connsiteY70" fmla="*/ 523875 h 928688"/>
                  <a:gd name="connsiteX71" fmla="*/ 571500 w 1012881"/>
                  <a:gd name="connsiteY71" fmla="*/ 519113 h 928688"/>
                  <a:gd name="connsiteX72" fmla="*/ 533400 w 1012881"/>
                  <a:gd name="connsiteY72" fmla="*/ 521494 h 928688"/>
                  <a:gd name="connsiteX73" fmla="*/ 516731 w 1012881"/>
                  <a:gd name="connsiteY73" fmla="*/ 526256 h 928688"/>
                  <a:gd name="connsiteX74" fmla="*/ 500062 w 1012881"/>
                  <a:gd name="connsiteY74" fmla="*/ 538163 h 928688"/>
                  <a:gd name="connsiteX75" fmla="*/ 485775 w 1012881"/>
                  <a:gd name="connsiteY75" fmla="*/ 542925 h 928688"/>
                  <a:gd name="connsiteX76" fmla="*/ 478631 w 1012881"/>
                  <a:gd name="connsiteY76" fmla="*/ 545306 h 928688"/>
                  <a:gd name="connsiteX77" fmla="*/ 471487 w 1012881"/>
                  <a:gd name="connsiteY77" fmla="*/ 550069 h 928688"/>
                  <a:gd name="connsiteX78" fmla="*/ 466725 w 1012881"/>
                  <a:gd name="connsiteY78" fmla="*/ 557213 h 928688"/>
                  <a:gd name="connsiteX79" fmla="*/ 452437 w 1012881"/>
                  <a:gd name="connsiteY79" fmla="*/ 581025 h 928688"/>
                  <a:gd name="connsiteX80" fmla="*/ 447675 w 1012881"/>
                  <a:gd name="connsiteY80" fmla="*/ 588169 h 928688"/>
                  <a:gd name="connsiteX81" fmla="*/ 431006 w 1012881"/>
                  <a:gd name="connsiteY81" fmla="*/ 595313 h 928688"/>
                  <a:gd name="connsiteX82" fmla="*/ 414337 w 1012881"/>
                  <a:gd name="connsiteY82" fmla="*/ 590550 h 928688"/>
                  <a:gd name="connsiteX83" fmla="*/ 411956 w 1012881"/>
                  <a:gd name="connsiteY83" fmla="*/ 581025 h 928688"/>
                  <a:gd name="connsiteX84" fmla="*/ 404812 w 1012881"/>
                  <a:gd name="connsiteY84" fmla="*/ 576263 h 928688"/>
                  <a:gd name="connsiteX85" fmla="*/ 397669 w 1012881"/>
                  <a:gd name="connsiteY85" fmla="*/ 573881 h 928688"/>
                  <a:gd name="connsiteX86" fmla="*/ 376237 w 1012881"/>
                  <a:gd name="connsiteY86" fmla="*/ 569119 h 928688"/>
                  <a:gd name="connsiteX87" fmla="*/ 304800 w 1012881"/>
                  <a:gd name="connsiteY87" fmla="*/ 566738 h 928688"/>
                  <a:gd name="connsiteX88" fmla="*/ 280987 w 1012881"/>
                  <a:gd name="connsiteY88" fmla="*/ 571500 h 928688"/>
                  <a:gd name="connsiteX89" fmla="*/ 276225 w 1012881"/>
                  <a:gd name="connsiteY89" fmla="*/ 578644 h 928688"/>
                  <a:gd name="connsiteX90" fmla="*/ 273844 w 1012881"/>
                  <a:gd name="connsiteY90" fmla="*/ 588169 h 928688"/>
                  <a:gd name="connsiteX91" fmla="*/ 254794 w 1012881"/>
                  <a:gd name="connsiteY91" fmla="*/ 597694 h 928688"/>
                  <a:gd name="connsiteX92" fmla="*/ 259556 w 1012881"/>
                  <a:gd name="connsiteY92" fmla="*/ 614363 h 928688"/>
                  <a:gd name="connsiteX93" fmla="*/ 261937 w 1012881"/>
                  <a:gd name="connsiteY93" fmla="*/ 621506 h 928688"/>
                  <a:gd name="connsiteX94" fmla="*/ 276225 w 1012881"/>
                  <a:gd name="connsiteY94" fmla="*/ 628650 h 928688"/>
                  <a:gd name="connsiteX95" fmla="*/ 328612 w 1012881"/>
                  <a:gd name="connsiteY95" fmla="*/ 633413 h 928688"/>
                  <a:gd name="connsiteX96" fmla="*/ 342900 w 1012881"/>
                  <a:gd name="connsiteY96" fmla="*/ 635794 h 928688"/>
                  <a:gd name="connsiteX97" fmla="*/ 361950 w 1012881"/>
                  <a:gd name="connsiteY97" fmla="*/ 640556 h 928688"/>
                  <a:gd name="connsiteX98" fmla="*/ 373856 w 1012881"/>
                  <a:gd name="connsiteY98" fmla="*/ 657225 h 928688"/>
                  <a:gd name="connsiteX99" fmla="*/ 392906 w 1012881"/>
                  <a:gd name="connsiteY99" fmla="*/ 676275 h 928688"/>
                  <a:gd name="connsiteX100" fmla="*/ 402431 w 1012881"/>
                  <a:gd name="connsiteY100" fmla="*/ 685800 h 928688"/>
                  <a:gd name="connsiteX101" fmla="*/ 407194 w 1012881"/>
                  <a:gd name="connsiteY101" fmla="*/ 692944 h 928688"/>
                  <a:gd name="connsiteX102" fmla="*/ 409575 w 1012881"/>
                  <a:gd name="connsiteY102" fmla="*/ 700088 h 928688"/>
                  <a:gd name="connsiteX103" fmla="*/ 414337 w 1012881"/>
                  <a:gd name="connsiteY103" fmla="*/ 709613 h 928688"/>
                  <a:gd name="connsiteX104" fmla="*/ 419100 w 1012881"/>
                  <a:gd name="connsiteY104" fmla="*/ 731044 h 928688"/>
                  <a:gd name="connsiteX105" fmla="*/ 423862 w 1012881"/>
                  <a:gd name="connsiteY105" fmla="*/ 738188 h 928688"/>
                  <a:gd name="connsiteX106" fmla="*/ 450056 w 1012881"/>
                  <a:gd name="connsiteY106" fmla="*/ 735806 h 928688"/>
                  <a:gd name="connsiteX107" fmla="*/ 464344 w 1012881"/>
                  <a:gd name="connsiteY107" fmla="*/ 731044 h 928688"/>
                  <a:gd name="connsiteX108" fmla="*/ 466725 w 1012881"/>
                  <a:gd name="connsiteY108" fmla="*/ 738188 h 928688"/>
                  <a:gd name="connsiteX109" fmla="*/ 469106 w 1012881"/>
                  <a:gd name="connsiteY109" fmla="*/ 764381 h 928688"/>
                  <a:gd name="connsiteX110" fmla="*/ 476250 w 1012881"/>
                  <a:gd name="connsiteY110" fmla="*/ 769144 h 928688"/>
                  <a:gd name="connsiteX111" fmla="*/ 483394 w 1012881"/>
                  <a:gd name="connsiteY111" fmla="*/ 776288 h 928688"/>
                  <a:gd name="connsiteX112" fmla="*/ 485775 w 1012881"/>
                  <a:gd name="connsiteY112" fmla="*/ 785813 h 928688"/>
                  <a:gd name="connsiteX113" fmla="*/ 483394 w 1012881"/>
                  <a:gd name="connsiteY113" fmla="*/ 809625 h 928688"/>
                  <a:gd name="connsiteX114" fmla="*/ 476250 w 1012881"/>
                  <a:gd name="connsiteY114" fmla="*/ 816769 h 928688"/>
                  <a:gd name="connsiteX115" fmla="*/ 469106 w 1012881"/>
                  <a:gd name="connsiteY115" fmla="*/ 819150 h 928688"/>
                  <a:gd name="connsiteX116" fmla="*/ 433387 w 1012881"/>
                  <a:gd name="connsiteY116" fmla="*/ 821531 h 928688"/>
                  <a:gd name="connsiteX117" fmla="*/ 433387 w 1012881"/>
                  <a:gd name="connsiteY117" fmla="*/ 835819 h 928688"/>
                  <a:gd name="connsiteX118" fmla="*/ 442912 w 1012881"/>
                  <a:gd name="connsiteY118" fmla="*/ 850106 h 928688"/>
                  <a:gd name="connsiteX119" fmla="*/ 445294 w 1012881"/>
                  <a:gd name="connsiteY119" fmla="*/ 871538 h 928688"/>
                  <a:gd name="connsiteX120" fmla="*/ 447675 w 1012881"/>
                  <a:gd name="connsiteY120" fmla="*/ 878681 h 928688"/>
                  <a:gd name="connsiteX121" fmla="*/ 450056 w 1012881"/>
                  <a:gd name="connsiteY121" fmla="*/ 890588 h 928688"/>
                  <a:gd name="connsiteX122" fmla="*/ 452437 w 1012881"/>
                  <a:gd name="connsiteY122" fmla="*/ 909638 h 928688"/>
                  <a:gd name="connsiteX123" fmla="*/ 454819 w 1012881"/>
                  <a:gd name="connsiteY123" fmla="*/ 916781 h 928688"/>
                  <a:gd name="connsiteX124" fmla="*/ 469106 w 1012881"/>
                  <a:gd name="connsiteY124" fmla="*/ 921544 h 928688"/>
                  <a:gd name="connsiteX125" fmla="*/ 476250 w 1012881"/>
                  <a:gd name="connsiteY125" fmla="*/ 923925 h 928688"/>
                  <a:gd name="connsiteX126" fmla="*/ 483394 w 1012881"/>
                  <a:gd name="connsiteY126" fmla="*/ 926306 h 928688"/>
                  <a:gd name="connsiteX127" fmla="*/ 495300 w 1012881"/>
                  <a:gd name="connsiteY127" fmla="*/ 928688 h 928688"/>
                  <a:gd name="connsiteX128" fmla="*/ 547687 w 1012881"/>
                  <a:gd name="connsiteY128" fmla="*/ 926306 h 928688"/>
                  <a:gd name="connsiteX129" fmla="*/ 571500 w 1012881"/>
                  <a:gd name="connsiteY129" fmla="*/ 916781 h 928688"/>
                  <a:gd name="connsiteX130" fmla="*/ 578644 w 1012881"/>
                  <a:gd name="connsiteY130" fmla="*/ 912019 h 928688"/>
                  <a:gd name="connsiteX131" fmla="*/ 585787 w 1012881"/>
                  <a:gd name="connsiteY131" fmla="*/ 904875 h 928688"/>
                  <a:gd name="connsiteX132" fmla="*/ 590550 w 1012881"/>
                  <a:gd name="connsiteY132" fmla="*/ 897731 h 928688"/>
                  <a:gd name="connsiteX133" fmla="*/ 597694 w 1012881"/>
                  <a:gd name="connsiteY133" fmla="*/ 895350 h 928688"/>
                  <a:gd name="connsiteX134" fmla="*/ 604837 w 1012881"/>
                  <a:gd name="connsiteY134" fmla="*/ 890588 h 928688"/>
                  <a:gd name="connsiteX135" fmla="*/ 611981 w 1012881"/>
                  <a:gd name="connsiteY135" fmla="*/ 888206 h 928688"/>
                  <a:gd name="connsiteX136" fmla="*/ 623887 w 1012881"/>
                  <a:gd name="connsiteY136" fmla="*/ 873919 h 928688"/>
                  <a:gd name="connsiteX137" fmla="*/ 626269 w 1012881"/>
                  <a:gd name="connsiteY137" fmla="*/ 864394 h 928688"/>
                  <a:gd name="connsiteX138" fmla="*/ 619125 w 1012881"/>
                  <a:gd name="connsiteY138" fmla="*/ 842963 h 928688"/>
                  <a:gd name="connsiteX139" fmla="*/ 611981 w 1012881"/>
                  <a:gd name="connsiteY139" fmla="*/ 838200 h 928688"/>
                  <a:gd name="connsiteX140" fmla="*/ 604837 w 1012881"/>
                  <a:gd name="connsiteY140" fmla="*/ 835819 h 928688"/>
                  <a:gd name="connsiteX141" fmla="*/ 607219 w 1012881"/>
                  <a:gd name="connsiteY141" fmla="*/ 828675 h 928688"/>
                  <a:gd name="connsiteX142" fmla="*/ 621506 w 1012881"/>
                  <a:gd name="connsiteY142" fmla="*/ 823913 h 928688"/>
                  <a:gd name="connsiteX143" fmla="*/ 640556 w 1012881"/>
                  <a:gd name="connsiteY143" fmla="*/ 819150 h 928688"/>
                  <a:gd name="connsiteX144" fmla="*/ 650081 w 1012881"/>
                  <a:gd name="connsiteY144" fmla="*/ 814388 h 928688"/>
                  <a:gd name="connsiteX145" fmla="*/ 664369 w 1012881"/>
                  <a:gd name="connsiteY145" fmla="*/ 800100 h 928688"/>
                  <a:gd name="connsiteX146" fmla="*/ 671512 w 1012881"/>
                  <a:gd name="connsiteY146" fmla="*/ 795338 h 928688"/>
                  <a:gd name="connsiteX147" fmla="*/ 690562 w 1012881"/>
                  <a:gd name="connsiteY147" fmla="*/ 797719 h 928688"/>
                  <a:gd name="connsiteX148" fmla="*/ 695325 w 1012881"/>
                  <a:gd name="connsiteY148" fmla="*/ 812006 h 928688"/>
                  <a:gd name="connsiteX149" fmla="*/ 692944 w 1012881"/>
                  <a:gd name="connsiteY149" fmla="*/ 819150 h 928688"/>
                  <a:gd name="connsiteX150" fmla="*/ 728662 w 1012881"/>
                  <a:gd name="connsiteY150" fmla="*/ 828675 h 928688"/>
                  <a:gd name="connsiteX151" fmla="*/ 735806 w 1012881"/>
                  <a:gd name="connsiteY151" fmla="*/ 831056 h 928688"/>
                  <a:gd name="connsiteX152" fmla="*/ 742950 w 1012881"/>
                  <a:gd name="connsiteY152" fmla="*/ 845344 h 928688"/>
                  <a:gd name="connsiteX153" fmla="*/ 752475 w 1012881"/>
                  <a:gd name="connsiteY153" fmla="*/ 871538 h 928688"/>
                  <a:gd name="connsiteX154" fmla="*/ 769144 w 1012881"/>
                  <a:gd name="connsiteY154" fmla="*/ 869156 h 928688"/>
                  <a:gd name="connsiteX155" fmla="*/ 771525 w 1012881"/>
                  <a:gd name="connsiteY155" fmla="*/ 862013 h 928688"/>
                  <a:gd name="connsiteX156" fmla="*/ 800100 w 1012881"/>
                  <a:gd name="connsiteY156" fmla="*/ 859631 h 928688"/>
                  <a:gd name="connsiteX157" fmla="*/ 807244 w 1012881"/>
                  <a:gd name="connsiteY157" fmla="*/ 876300 h 928688"/>
                  <a:gd name="connsiteX158" fmla="*/ 812006 w 1012881"/>
                  <a:gd name="connsiteY158" fmla="*/ 902494 h 928688"/>
                  <a:gd name="connsiteX159" fmla="*/ 819150 w 1012881"/>
                  <a:gd name="connsiteY159" fmla="*/ 909638 h 928688"/>
                  <a:gd name="connsiteX160" fmla="*/ 833437 w 1012881"/>
                  <a:gd name="connsiteY160" fmla="*/ 907256 h 928688"/>
                  <a:gd name="connsiteX161" fmla="*/ 847725 w 1012881"/>
                  <a:gd name="connsiteY161" fmla="*/ 895350 h 928688"/>
                  <a:gd name="connsiteX162" fmla="*/ 850106 w 1012881"/>
                  <a:gd name="connsiteY162" fmla="*/ 888206 h 928688"/>
                  <a:gd name="connsiteX163" fmla="*/ 873919 w 1012881"/>
                  <a:gd name="connsiteY163" fmla="*/ 888206 h 928688"/>
                  <a:gd name="connsiteX164" fmla="*/ 881062 w 1012881"/>
                  <a:gd name="connsiteY164" fmla="*/ 892969 h 928688"/>
                  <a:gd name="connsiteX165" fmla="*/ 890587 w 1012881"/>
                  <a:gd name="connsiteY165" fmla="*/ 909638 h 928688"/>
                  <a:gd name="connsiteX166" fmla="*/ 897731 w 1012881"/>
                  <a:gd name="connsiteY166" fmla="*/ 914400 h 928688"/>
                  <a:gd name="connsiteX167" fmla="*/ 907256 w 1012881"/>
                  <a:gd name="connsiteY167" fmla="*/ 912019 h 928688"/>
                  <a:gd name="connsiteX168" fmla="*/ 921544 w 1012881"/>
                  <a:gd name="connsiteY168" fmla="*/ 907256 h 928688"/>
                  <a:gd name="connsiteX169" fmla="*/ 926306 w 1012881"/>
                  <a:gd name="connsiteY169" fmla="*/ 900113 h 928688"/>
                  <a:gd name="connsiteX170" fmla="*/ 940594 w 1012881"/>
                  <a:gd name="connsiteY170" fmla="*/ 890588 h 928688"/>
                  <a:gd name="connsiteX171" fmla="*/ 957262 w 1012881"/>
                  <a:gd name="connsiteY171" fmla="*/ 885825 h 928688"/>
                  <a:gd name="connsiteX172" fmla="*/ 1002506 w 1012881"/>
                  <a:gd name="connsiteY172" fmla="*/ 883444 h 928688"/>
                  <a:gd name="connsiteX173" fmla="*/ 1007269 w 1012881"/>
                  <a:gd name="connsiteY173" fmla="*/ 842963 h 928688"/>
                  <a:gd name="connsiteX174" fmla="*/ 1002506 w 1012881"/>
                  <a:gd name="connsiteY174" fmla="*/ 835819 h 928688"/>
                  <a:gd name="connsiteX175" fmla="*/ 995362 w 1012881"/>
                  <a:gd name="connsiteY175" fmla="*/ 819150 h 928688"/>
                  <a:gd name="connsiteX176" fmla="*/ 990600 w 1012881"/>
                  <a:gd name="connsiteY176" fmla="*/ 812006 h 928688"/>
                  <a:gd name="connsiteX177" fmla="*/ 988219 w 1012881"/>
                  <a:gd name="connsiteY177" fmla="*/ 804863 h 928688"/>
                  <a:gd name="connsiteX178" fmla="*/ 976312 w 1012881"/>
                  <a:gd name="connsiteY178" fmla="*/ 790575 h 928688"/>
                  <a:gd name="connsiteX179" fmla="*/ 969169 w 1012881"/>
                  <a:gd name="connsiteY179" fmla="*/ 788194 h 928688"/>
                  <a:gd name="connsiteX180" fmla="*/ 962025 w 1012881"/>
                  <a:gd name="connsiteY180" fmla="*/ 783431 h 928688"/>
                  <a:gd name="connsiteX181" fmla="*/ 950119 w 1012881"/>
                  <a:gd name="connsiteY181" fmla="*/ 769144 h 928688"/>
                  <a:gd name="connsiteX182" fmla="*/ 947737 w 1012881"/>
                  <a:gd name="connsiteY182" fmla="*/ 762000 h 928688"/>
                  <a:gd name="connsiteX183" fmla="*/ 938212 w 1012881"/>
                  <a:gd name="connsiteY183" fmla="*/ 747713 h 928688"/>
                  <a:gd name="connsiteX184" fmla="*/ 933450 w 1012881"/>
                  <a:gd name="connsiteY184" fmla="*/ 740569 h 928688"/>
                  <a:gd name="connsiteX185" fmla="*/ 931069 w 1012881"/>
                  <a:gd name="connsiteY185" fmla="*/ 733425 h 928688"/>
                  <a:gd name="connsiteX186" fmla="*/ 933450 w 1012881"/>
                  <a:gd name="connsiteY186" fmla="*/ 678656 h 928688"/>
                  <a:gd name="connsiteX187" fmla="*/ 935831 w 1012881"/>
                  <a:gd name="connsiteY187" fmla="*/ 659606 h 928688"/>
                  <a:gd name="connsiteX188" fmla="*/ 933450 w 1012881"/>
                  <a:gd name="connsiteY188" fmla="*/ 585788 h 928688"/>
                  <a:gd name="connsiteX189" fmla="*/ 928687 w 1012881"/>
                  <a:gd name="connsiteY189" fmla="*/ 547688 h 928688"/>
                  <a:gd name="connsiteX190" fmla="*/ 923925 w 1012881"/>
                  <a:gd name="connsiteY190" fmla="*/ 540544 h 928688"/>
                  <a:gd name="connsiteX191" fmla="*/ 921544 w 1012881"/>
                  <a:gd name="connsiteY191" fmla="*/ 516731 h 928688"/>
                  <a:gd name="connsiteX192" fmla="*/ 914400 w 1012881"/>
                  <a:gd name="connsiteY192" fmla="*/ 514350 h 928688"/>
                  <a:gd name="connsiteX193" fmla="*/ 890587 w 1012881"/>
                  <a:gd name="connsiteY193" fmla="*/ 516731 h 928688"/>
                  <a:gd name="connsiteX194" fmla="*/ 883444 w 1012881"/>
                  <a:gd name="connsiteY194" fmla="*/ 523875 h 928688"/>
                  <a:gd name="connsiteX195" fmla="*/ 881062 w 1012881"/>
                  <a:gd name="connsiteY195" fmla="*/ 561975 h 928688"/>
                  <a:gd name="connsiteX196" fmla="*/ 878681 w 1012881"/>
                  <a:gd name="connsiteY196" fmla="*/ 578644 h 928688"/>
                  <a:gd name="connsiteX197" fmla="*/ 873919 w 1012881"/>
                  <a:gd name="connsiteY197" fmla="*/ 600075 h 928688"/>
                  <a:gd name="connsiteX198" fmla="*/ 866775 w 1012881"/>
                  <a:gd name="connsiteY198" fmla="*/ 604838 h 928688"/>
                  <a:gd name="connsiteX199" fmla="*/ 857250 w 1012881"/>
                  <a:gd name="connsiteY199" fmla="*/ 600075 h 928688"/>
                  <a:gd name="connsiteX200" fmla="*/ 850106 w 1012881"/>
                  <a:gd name="connsiteY200" fmla="*/ 583406 h 928688"/>
                  <a:gd name="connsiteX201" fmla="*/ 847725 w 1012881"/>
                  <a:gd name="connsiteY201" fmla="*/ 576263 h 928688"/>
                  <a:gd name="connsiteX202" fmla="*/ 845344 w 1012881"/>
                  <a:gd name="connsiteY202" fmla="*/ 557213 h 928688"/>
                  <a:gd name="connsiteX203" fmla="*/ 838200 w 1012881"/>
                  <a:gd name="connsiteY203" fmla="*/ 542925 h 928688"/>
                  <a:gd name="connsiteX204" fmla="*/ 828675 w 1012881"/>
                  <a:gd name="connsiteY204" fmla="*/ 526256 h 928688"/>
                  <a:gd name="connsiteX205" fmla="*/ 821531 w 1012881"/>
                  <a:gd name="connsiteY205" fmla="*/ 490538 h 928688"/>
                  <a:gd name="connsiteX206" fmla="*/ 814387 w 1012881"/>
                  <a:gd name="connsiteY206" fmla="*/ 469106 h 928688"/>
                  <a:gd name="connsiteX207" fmla="*/ 812006 w 1012881"/>
                  <a:gd name="connsiteY207" fmla="*/ 461963 h 928688"/>
                  <a:gd name="connsiteX208" fmla="*/ 804862 w 1012881"/>
                  <a:gd name="connsiteY208" fmla="*/ 447675 h 928688"/>
                  <a:gd name="connsiteX209" fmla="*/ 802481 w 1012881"/>
                  <a:gd name="connsiteY209" fmla="*/ 435769 h 928688"/>
                  <a:gd name="connsiteX210" fmla="*/ 800100 w 1012881"/>
                  <a:gd name="connsiteY210" fmla="*/ 426244 h 928688"/>
                  <a:gd name="connsiteX211" fmla="*/ 797719 w 1012881"/>
                  <a:gd name="connsiteY211" fmla="*/ 414338 h 928688"/>
                  <a:gd name="connsiteX212" fmla="*/ 795337 w 1012881"/>
                  <a:gd name="connsiteY212" fmla="*/ 407194 h 928688"/>
                  <a:gd name="connsiteX213" fmla="*/ 792956 w 1012881"/>
                  <a:gd name="connsiteY213" fmla="*/ 395288 h 928688"/>
                  <a:gd name="connsiteX214" fmla="*/ 788194 w 1012881"/>
                  <a:gd name="connsiteY214" fmla="*/ 378619 h 928688"/>
                  <a:gd name="connsiteX215" fmla="*/ 781050 w 1012881"/>
                  <a:gd name="connsiteY215" fmla="*/ 347663 h 928688"/>
                  <a:gd name="connsiteX216" fmla="*/ 778669 w 1012881"/>
                  <a:gd name="connsiteY216" fmla="*/ 340519 h 928688"/>
                  <a:gd name="connsiteX217" fmla="*/ 790575 w 1012881"/>
                  <a:gd name="connsiteY217" fmla="*/ 316706 h 928688"/>
                  <a:gd name="connsiteX218" fmla="*/ 795337 w 1012881"/>
                  <a:gd name="connsiteY218" fmla="*/ 309563 h 928688"/>
                  <a:gd name="connsiteX219" fmla="*/ 802481 w 1012881"/>
                  <a:gd name="connsiteY219" fmla="*/ 307181 h 928688"/>
                  <a:gd name="connsiteX220" fmla="*/ 816769 w 1012881"/>
                  <a:gd name="connsiteY220" fmla="*/ 297656 h 928688"/>
                  <a:gd name="connsiteX221" fmla="*/ 821531 w 1012881"/>
                  <a:gd name="connsiteY221" fmla="*/ 280988 h 928688"/>
                  <a:gd name="connsiteX222" fmla="*/ 828675 w 1012881"/>
                  <a:gd name="connsiteY222" fmla="*/ 252413 h 928688"/>
                  <a:gd name="connsiteX223" fmla="*/ 833437 w 1012881"/>
                  <a:gd name="connsiteY223" fmla="*/ 245269 h 928688"/>
                  <a:gd name="connsiteX224" fmla="*/ 833437 w 1012881"/>
                  <a:gd name="connsiteY224" fmla="*/ 214313 h 928688"/>
                  <a:gd name="connsiteX225" fmla="*/ 826294 w 1012881"/>
                  <a:gd name="connsiteY225" fmla="*/ 207169 h 928688"/>
                  <a:gd name="connsiteX226" fmla="*/ 812006 w 1012881"/>
                  <a:gd name="connsiteY226" fmla="*/ 197644 h 928688"/>
                  <a:gd name="connsiteX227" fmla="*/ 804862 w 1012881"/>
                  <a:gd name="connsiteY227" fmla="*/ 192881 h 928688"/>
                  <a:gd name="connsiteX228" fmla="*/ 797719 w 1012881"/>
                  <a:gd name="connsiteY228" fmla="*/ 190500 h 928688"/>
                  <a:gd name="connsiteX229" fmla="*/ 785812 w 1012881"/>
                  <a:gd name="connsiteY229" fmla="*/ 178594 h 928688"/>
                  <a:gd name="connsiteX230" fmla="*/ 778669 w 1012881"/>
                  <a:gd name="connsiteY230" fmla="*/ 164306 h 928688"/>
                  <a:gd name="connsiteX231" fmla="*/ 781050 w 1012881"/>
                  <a:gd name="connsiteY231" fmla="*/ 147638 h 928688"/>
                  <a:gd name="connsiteX232" fmla="*/ 778669 w 1012881"/>
                  <a:gd name="connsiteY232" fmla="*/ 90488 h 928688"/>
                  <a:gd name="connsiteX233" fmla="*/ 764381 w 1012881"/>
                  <a:gd name="connsiteY233" fmla="*/ 85725 h 928688"/>
                  <a:gd name="connsiteX234" fmla="*/ 666750 w 1012881"/>
                  <a:gd name="connsiteY234" fmla="*/ 83344 h 928688"/>
                  <a:gd name="connsiteX235" fmla="*/ 654844 w 1012881"/>
                  <a:gd name="connsiteY235" fmla="*/ 80963 h 928688"/>
                  <a:gd name="connsiteX236" fmla="*/ 633412 w 1012881"/>
                  <a:gd name="connsiteY236" fmla="*/ 73819 h 928688"/>
                  <a:gd name="connsiteX237" fmla="*/ 626269 w 1012881"/>
                  <a:gd name="connsiteY237" fmla="*/ 71438 h 928688"/>
                  <a:gd name="connsiteX238" fmla="*/ 607219 w 1012881"/>
                  <a:gd name="connsiteY238" fmla="*/ 66675 h 928688"/>
                  <a:gd name="connsiteX239" fmla="*/ 592931 w 1012881"/>
                  <a:gd name="connsiteY239" fmla="*/ 61913 h 928688"/>
                  <a:gd name="connsiteX240" fmla="*/ 585787 w 1012881"/>
                  <a:gd name="connsiteY240" fmla="*/ 57150 h 928688"/>
                  <a:gd name="connsiteX241" fmla="*/ 571500 w 1012881"/>
                  <a:gd name="connsiteY241" fmla="*/ 45244 h 928688"/>
                  <a:gd name="connsiteX242" fmla="*/ 564356 w 1012881"/>
                  <a:gd name="connsiteY242" fmla="*/ 42863 h 928688"/>
                  <a:gd name="connsiteX243" fmla="*/ 542925 w 1012881"/>
                  <a:gd name="connsiteY243" fmla="*/ 26194 h 928688"/>
                  <a:gd name="connsiteX244" fmla="*/ 538162 w 1012881"/>
                  <a:gd name="connsiteY244" fmla="*/ 19050 h 928688"/>
                  <a:gd name="connsiteX245" fmla="*/ 528637 w 1012881"/>
                  <a:gd name="connsiteY245" fmla="*/ 14288 h 928688"/>
                  <a:gd name="connsiteX246" fmla="*/ 511969 w 1012881"/>
                  <a:gd name="connsiteY246" fmla="*/ 9525 h 928688"/>
                  <a:gd name="connsiteX247" fmla="*/ 485775 w 1012881"/>
                  <a:gd name="connsiteY247" fmla="*/ 4763 h 928688"/>
                  <a:gd name="connsiteX248" fmla="*/ 469106 w 1012881"/>
                  <a:gd name="connsiteY248" fmla="*/ 2381 h 928688"/>
                  <a:gd name="connsiteX249" fmla="*/ 457200 w 1012881"/>
                  <a:gd name="connsiteY249" fmla="*/ 0 h 928688"/>
                  <a:gd name="connsiteX250" fmla="*/ 340519 w 1012881"/>
                  <a:gd name="connsiteY250" fmla="*/ 2381 h 928688"/>
                  <a:gd name="connsiteX251" fmla="*/ 326231 w 1012881"/>
                  <a:gd name="connsiteY251" fmla="*/ 9525 h 928688"/>
                  <a:gd name="connsiteX252" fmla="*/ 311944 w 1012881"/>
                  <a:gd name="connsiteY252" fmla="*/ 14288 h 928688"/>
                  <a:gd name="connsiteX253" fmla="*/ 304800 w 1012881"/>
                  <a:gd name="connsiteY253" fmla="*/ 19050 h 928688"/>
                  <a:gd name="connsiteX254" fmla="*/ 295275 w 1012881"/>
                  <a:gd name="connsiteY254" fmla="*/ 21431 h 928688"/>
                  <a:gd name="connsiteX255" fmla="*/ 280987 w 1012881"/>
                  <a:gd name="connsiteY255" fmla="*/ 26194 h 928688"/>
                  <a:gd name="connsiteX256" fmla="*/ 273844 w 1012881"/>
                  <a:gd name="connsiteY256" fmla="*/ 28575 h 928688"/>
                  <a:gd name="connsiteX257" fmla="*/ 264319 w 1012881"/>
                  <a:gd name="connsiteY257" fmla="*/ 33338 h 928688"/>
                  <a:gd name="connsiteX258" fmla="*/ 250031 w 1012881"/>
                  <a:gd name="connsiteY258" fmla="*/ 40481 h 928688"/>
                  <a:gd name="connsiteX259" fmla="*/ 245269 w 1012881"/>
                  <a:gd name="connsiteY259" fmla="*/ 47625 h 928688"/>
                  <a:gd name="connsiteX260" fmla="*/ 230981 w 1012881"/>
                  <a:gd name="connsiteY260" fmla="*/ 59531 h 928688"/>
                  <a:gd name="connsiteX261" fmla="*/ 223837 w 1012881"/>
                  <a:gd name="connsiteY261" fmla="*/ 61913 h 928688"/>
                  <a:gd name="connsiteX262" fmla="*/ 209550 w 1012881"/>
                  <a:gd name="connsiteY262" fmla="*/ 71438 h 928688"/>
                  <a:gd name="connsiteX263" fmla="*/ 202406 w 1012881"/>
                  <a:gd name="connsiteY263" fmla="*/ 73819 h 928688"/>
                  <a:gd name="connsiteX264" fmla="*/ 195262 w 1012881"/>
                  <a:gd name="connsiteY264" fmla="*/ 78581 h 928688"/>
                  <a:gd name="connsiteX265" fmla="*/ 185737 w 1012881"/>
                  <a:gd name="connsiteY265" fmla="*/ 80963 h 928688"/>
                  <a:gd name="connsiteX266" fmla="*/ 142875 w 1012881"/>
                  <a:gd name="connsiteY266" fmla="*/ 88106 h 928688"/>
                  <a:gd name="connsiteX267" fmla="*/ 195262 w 1012881"/>
                  <a:gd name="connsiteY267" fmla="*/ 95250 h 92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12881" h="928688">
                    <a:moveTo>
                      <a:pt x="195262" y="95250"/>
                    </a:moveTo>
                    <a:cubicBezTo>
                      <a:pt x="192087" y="96837"/>
                      <a:pt x="147651" y="97631"/>
                      <a:pt x="123825" y="97631"/>
                    </a:cubicBezTo>
                    <a:cubicBezTo>
                      <a:pt x="54984" y="97631"/>
                      <a:pt x="126238" y="91913"/>
                      <a:pt x="69056" y="97631"/>
                    </a:cubicBezTo>
                    <a:cubicBezTo>
                      <a:pt x="69740" y="104471"/>
                      <a:pt x="69526" y="120003"/>
                      <a:pt x="73819" y="128588"/>
                    </a:cubicBezTo>
                    <a:cubicBezTo>
                      <a:pt x="75099" y="131147"/>
                      <a:pt x="76994" y="133350"/>
                      <a:pt x="78581" y="135731"/>
                    </a:cubicBezTo>
                    <a:cubicBezTo>
                      <a:pt x="84566" y="153687"/>
                      <a:pt x="76493" y="131554"/>
                      <a:pt x="85725" y="150019"/>
                    </a:cubicBezTo>
                    <a:cubicBezTo>
                      <a:pt x="86848" y="152264"/>
                      <a:pt x="87312" y="154782"/>
                      <a:pt x="88106" y="157163"/>
                    </a:cubicBezTo>
                    <a:cubicBezTo>
                      <a:pt x="87312" y="164307"/>
                      <a:pt x="86907" y="171504"/>
                      <a:pt x="85725" y="178594"/>
                    </a:cubicBezTo>
                    <a:cubicBezTo>
                      <a:pt x="85312" y="181070"/>
                      <a:pt x="85119" y="183963"/>
                      <a:pt x="83344" y="185738"/>
                    </a:cubicBezTo>
                    <a:cubicBezTo>
                      <a:pt x="74112" y="194970"/>
                      <a:pt x="66389" y="196152"/>
                      <a:pt x="54769" y="200025"/>
                    </a:cubicBezTo>
                    <a:lnTo>
                      <a:pt x="47625" y="202406"/>
                    </a:lnTo>
                    <a:cubicBezTo>
                      <a:pt x="42862" y="205581"/>
                      <a:pt x="36512" y="207168"/>
                      <a:pt x="33337" y="211931"/>
                    </a:cubicBezTo>
                    <a:cubicBezTo>
                      <a:pt x="29103" y="218282"/>
                      <a:pt x="27779" y="221282"/>
                      <a:pt x="21431" y="226219"/>
                    </a:cubicBezTo>
                    <a:cubicBezTo>
                      <a:pt x="16913" y="229733"/>
                      <a:pt x="11906" y="232569"/>
                      <a:pt x="7144" y="235744"/>
                    </a:cubicBezTo>
                    <a:lnTo>
                      <a:pt x="0" y="240506"/>
                    </a:lnTo>
                    <a:cubicBezTo>
                      <a:pt x="794" y="249237"/>
                      <a:pt x="-28" y="258270"/>
                      <a:pt x="2381" y="266700"/>
                    </a:cubicBezTo>
                    <a:cubicBezTo>
                      <a:pt x="4656" y="274662"/>
                      <a:pt x="13239" y="274481"/>
                      <a:pt x="19050" y="276225"/>
                    </a:cubicBezTo>
                    <a:cubicBezTo>
                      <a:pt x="23858" y="277668"/>
                      <a:pt x="28575" y="279400"/>
                      <a:pt x="33337" y="280988"/>
                    </a:cubicBezTo>
                    <a:lnTo>
                      <a:pt x="40481" y="283369"/>
                    </a:lnTo>
                    <a:cubicBezTo>
                      <a:pt x="70077" y="293233"/>
                      <a:pt x="46550" y="286144"/>
                      <a:pt x="119062" y="288131"/>
                    </a:cubicBezTo>
                    <a:lnTo>
                      <a:pt x="221456" y="290513"/>
                    </a:lnTo>
                    <a:cubicBezTo>
                      <a:pt x="223837" y="292894"/>
                      <a:pt x="226013" y="295500"/>
                      <a:pt x="228600" y="297656"/>
                    </a:cubicBezTo>
                    <a:cubicBezTo>
                      <a:pt x="230799" y="299488"/>
                      <a:pt x="233956" y="300184"/>
                      <a:pt x="235744" y="302419"/>
                    </a:cubicBezTo>
                    <a:cubicBezTo>
                      <a:pt x="237312" y="304379"/>
                      <a:pt x="237003" y="307318"/>
                      <a:pt x="238125" y="309563"/>
                    </a:cubicBezTo>
                    <a:cubicBezTo>
                      <a:pt x="239405" y="312123"/>
                      <a:pt x="241607" y="314147"/>
                      <a:pt x="242887" y="316706"/>
                    </a:cubicBezTo>
                    <a:cubicBezTo>
                      <a:pt x="244010" y="318951"/>
                      <a:pt x="244579" y="321436"/>
                      <a:pt x="245269" y="323850"/>
                    </a:cubicBezTo>
                    <a:cubicBezTo>
                      <a:pt x="248186" y="334059"/>
                      <a:pt x="249495" y="344597"/>
                      <a:pt x="252412" y="354806"/>
                    </a:cubicBezTo>
                    <a:cubicBezTo>
                      <a:pt x="257621" y="373037"/>
                      <a:pt x="251210" y="350317"/>
                      <a:pt x="259556" y="369094"/>
                    </a:cubicBezTo>
                    <a:cubicBezTo>
                      <a:pt x="259562" y="369108"/>
                      <a:pt x="265507" y="386946"/>
                      <a:pt x="266700" y="390525"/>
                    </a:cubicBezTo>
                    <a:lnTo>
                      <a:pt x="273844" y="411956"/>
                    </a:lnTo>
                    <a:lnTo>
                      <a:pt x="276225" y="419100"/>
                    </a:lnTo>
                    <a:cubicBezTo>
                      <a:pt x="277019" y="421481"/>
                      <a:pt x="277214" y="424156"/>
                      <a:pt x="278606" y="426244"/>
                    </a:cubicBezTo>
                    <a:cubicBezTo>
                      <a:pt x="290432" y="443982"/>
                      <a:pt x="275233" y="422196"/>
                      <a:pt x="290512" y="440531"/>
                    </a:cubicBezTo>
                    <a:cubicBezTo>
                      <a:pt x="297991" y="449506"/>
                      <a:pt x="293811" y="451949"/>
                      <a:pt x="309562" y="457200"/>
                    </a:cubicBezTo>
                    <a:lnTo>
                      <a:pt x="323850" y="461963"/>
                    </a:lnTo>
                    <a:cubicBezTo>
                      <a:pt x="334962" y="461169"/>
                      <a:pt x="346379" y="462283"/>
                      <a:pt x="357187" y="459581"/>
                    </a:cubicBezTo>
                    <a:cubicBezTo>
                      <a:pt x="362740" y="458193"/>
                      <a:pt x="366712" y="453231"/>
                      <a:pt x="371475" y="450056"/>
                    </a:cubicBezTo>
                    <a:lnTo>
                      <a:pt x="378619" y="445294"/>
                    </a:lnTo>
                    <a:cubicBezTo>
                      <a:pt x="383381" y="446088"/>
                      <a:pt x="388326" y="446148"/>
                      <a:pt x="392906" y="447675"/>
                    </a:cubicBezTo>
                    <a:cubicBezTo>
                      <a:pt x="405152" y="451757"/>
                      <a:pt x="395741" y="452324"/>
                      <a:pt x="404812" y="459581"/>
                    </a:cubicBezTo>
                    <a:cubicBezTo>
                      <a:pt x="406772" y="461149"/>
                      <a:pt x="409575" y="461169"/>
                      <a:pt x="411956" y="461963"/>
                    </a:cubicBezTo>
                    <a:cubicBezTo>
                      <a:pt x="413544" y="464344"/>
                      <a:pt x="414695" y="467082"/>
                      <a:pt x="416719" y="469106"/>
                    </a:cubicBezTo>
                    <a:cubicBezTo>
                      <a:pt x="426747" y="479134"/>
                      <a:pt x="434521" y="472900"/>
                      <a:pt x="450056" y="471488"/>
                    </a:cubicBezTo>
                    <a:cubicBezTo>
                      <a:pt x="452437" y="469900"/>
                      <a:pt x="454585" y="467887"/>
                      <a:pt x="457200" y="466725"/>
                    </a:cubicBezTo>
                    <a:cubicBezTo>
                      <a:pt x="461787" y="464686"/>
                      <a:pt x="471487" y="461963"/>
                      <a:pt x="471487" y="461963"/>
                    </a:cubicBezTo>
                    <a:cubicBezTo>
                      <a:pt x="487362" y="462757"/>
                      <a:pt x="503261" y="463170"/>
                      <a:pt x="519112" y="464344"/>
                    </a:cubicBezTo>
                    <a:cubicBezTo>
                      <a:pt x="524709" y="464759"/>
                      <a:pt x="530761" y="469235"/>
                      <a:pt x="535781" y="466725"/>
                    </a:cubicBezTo>
                    <a:cubicBezTo>
                      <a:pt x="539401" y="464915"/>
                      <a:pt x="535917" y="458186"/>
                      <a:pt x="538162" y="454819"/>
                    </a:cubicBezTo>
                    <a:cubicBezTo>
                      <a:pt x="539554" y="452730"/>
                      <a:pt x="542925" y="453232"/>
                      <a:pt x="545306" y="452438"/>
                    </a:cubicBezTo>
                    <a:lnTo>
                      <a:pt x="588169" y="454819"/>
                    </a:lnTo>
                    <a:cubicBezTo>
                      <a:pt x="623027" y="456997"/>
                      <a:pt x="611210" y="454626"/>
                      <a:pt x="631031" y="459581"/>
                    </a:cubicBezTo>
                    <a:cubicBezTo>
                      <a:pt x="646112" y="458787"/>
                      <a:pt x="661280" y="458999"/>
                      <a:pt x="676275" y="457200"/>
                    </a:cubicBezTo>
                    <a:cubicBezTo>
                      <a:pt x="681259" y="456602"/>
                      <a:pt x="690562" y="452438"/>
                      <a:pt x="690562" y="452438"/>
                    </a:cubicBezTo>
                    <a:cubicBezTo>
                      <a:pt x="692943" y="450850"/>
                      <a:pt x="695026" y="448680"/>
                      <a:pt x="697706" y="447675"/>
                    </a:cubicBezTo>
                    <a:cubicBezTo>
                      <a:pt x="710165" y="443003"/>
                      <a:pt x="719913" y="446324"/>
                      <a:pt x="733425" y="447675"/>
                    </a:cubicBezTo>
                    <a:cubicBezTo>
                      <a:pt x="735806" y="449263"/>
                      <a:pt x="739149" y="449953"/>
                      <a:pt x="740569" y="452438"/>
                    </a:cubicBezTo>
                    <a:cubicBezTo>
                      <a:pt x="744207" y="458804"/>
                      <a:pt x="743246" y="472608"/>
                      <a:pt x="740569" y="478631"/>
                    </a:cubicBezTo>
                    <a:cubicBezTo>
                      <a:pt x="739201" y="481708"/>
                      <a:pt x="735493" y="483117"/>
                      <a:pt x="733425" y="485775"/>
                    </a:cubicBezTo>
                    <a:cubicBezTo>
                      <a:pt x="729911" y="490293"/>
                      <a:pt x="723900" y="500063"/>
                      <a:pt x="723900" y="500063"/>
                    </a:cubicBezTo>
                    <a:cubicBezTo>
                      <a:pt x="723106" y="503238"/>
                      <a:pt x="722808" y="506580"/>
                      <a:pt x="721519" y="509588"/>
                    </a:cubicBezTo>
                    <a:cubicBezTo>
                      <a:pt x="720392" y="512218"/>
                      <a:pt x="718176" y="514246"/>
                      <a:pt x="716756" y="516731"/>
                    </a:cubicBezTo>
                    <a:cubicBezTo>
                      <a:pt x="714995" y="519813"/>
                      <a:pt x="713820" y="523212"/>
                      <a:pt x="711994" y="526256"/>
                    </a:cubicBezTo>
                    <a:cubicBezTo>
                      <a:pt x="709049" y="531164"/>
                      <a:pt x="705644" y="535781"/>
                      <a:pt x="702469" y="540544"/>
                    </a:cubicBezTo>
                    <a:cubicBezTo>
                      <a:pt x="700881" y="542925"/>
                      <a:pt x="700421" y="546783"/>
                      <a:pt x="697706" y="547688"/>
                    </a:cubicBezTo>
                    <a:lnTo>
                      <a:pt x="690562" y="550069"/>
                    </a:lnTo>
                    <a:cubicBezTo>
                      <a:pt x="675451" y="565182"/>
                      <a:pt x="684883" y="559532"/>
                      <a:pt x="647700" y="552450"/>
                    </a:cubicBezTo>
                    <a:cubicBezTo>
                      <a:pt x="642768" y="551511"/>
                      <a:pt x="638175" y="549276"/>
                      <a:pt x="633412" y="547688"/>
                    </a:cubicBezTo>
                    <a:lnTo>
                      <a:pt x="626269" y="545306"/>
                    </a:lnTo>
                    <a:cubicBezTo>
                      <a:pt x="623094" y="540544"/>
                      <a:pt x="621506" y="534194"/>
                      <a:pt x="616744" y="531019"/>
                    </a:cubicBezTo>
                    <a:cubicBezTo>
                      <a:pt x="614363" y="529431"/>
                      <a:pt x="612280" y="527261"/>
                      <a:pt x="609600" y="526256"/>
                    </a:cubicBezTo>
                    <a:cubicBezTo>
                      <a:pt x="605810" y="524835"/>
                      <a:pt x="601620" y="524857"/>
                      <a:pt x="597694" y="523875"/>
                    </a:cubicBezTo>
                    <a:cubicBezTo>
                      <a:pt x="575670" y="518370"/>
                      <a:pt x="615498" y="524612"/>
                      <a:pt x="571500" y="519113"/>
                    </a:cubicBezTo>
                    <a:cubicBezTo>
                      <a:pt x="558800" y="519907"/>
                      <a:pt x="546062" y="520228"/>
                      <a:pt x="533400" y="521494"/>
                    </a:cubicBezTo>
                    <a:cubicBezTo>
                      <a:pt x="529129" y="521921"/>
                      <a:pt x="521082" y="524806"/>
                      <a:pt x="516731" y="526256"/>
                    </a:cubicBezTo>
                    <a:cubicBezTo>
                      <a:pt x="515453" y="527215"/>
                      <a:pt x="502910" y="536897"/>
                      <a:pt x="500062" y="538163"/>
                    </a:cubicBezTo>
                    <a:cubicBezTo>
                      <a:pt x="495475" y="540202"/>
                      <a:pt x="490537" y="541338"/>
                      <a:pt x="485775" y="542925"/>
                    </a:cubicBezTo>
                    <a:lnTo>
                      <a:pt x="478631" y="545306"/>
                    </a:lnTo>
                    <a:cubicBezTo>
                      <a:pt x="476250" y="546894"/>
                      <a:pt x="473511" y="548045"/>
                      <a:pt x="471487" y="550069"/>
                    </a:cubicBezTo>
                    <a:cubicBezTo>
                      <a:pt x="469463" y="552093"/>
                      <a:pt x="468225" y="554776"/>
                      <a:pt x="466725" y="557213"/>
                    </a:cubicBezTo>
                    <a:cubicBezTo>
                      <a:pt x="461874" y="565096"/>
                      <a:pt x="457288" y="573142"/>
                      <a:pt x="452437" y="581025"/>
                    </a:cubicBezTo>
                    <a:cubicBezTo>
                      <a:pt x="450937" y="583462"/>
                      <a:pt x="450056" y="586582"/>
                      <a:pt x="447675" y="588169"/>
                    </a:cubicBezTo>
                    <a:cubicBezTo>
                      <a:pt x="437808" y="594746"/>
                      <a:pt x="443307" y="592237"/>
                      <a:pt x="431006" y="595313"/>
                    </a:cubicBezTo>
                    <a:cubicBezTo>
                      <a:pt x="425450" y="593725"/>
                      <a:pt x="418960" y="594017"/>
                      <a:pt x="414337" y="590550"/>
                    </a:cubicBezTo>
                    <a:cubicBezTo>
                      <a:pt x="411719" y="588586"/>
                      <a:pt x="413771" y="583748"/>
                      <a:pt x="411956" y="581025"/>
                    </a:cubicBezTo>
                    <a:cubicBezTo>
                      <a:pt x="410368" y="578644"/>
                      <a:pt x="407372" y="577543"/>
                      <a:pt x="404812" y="576263"/>
                    </a:cubicBezTo>
                    <a:cubicBezTo>
                      <a:pt x="402567" y="575140"/>
                      <a:pt x="400082" y="574571"/>
                      <a:pt x="397669" y="573881"/>
                    </a:cubicBezTo>
                    <a:cubicBezTo>
                      <a:pt x="389828" y="571640"/>
                      <a:pt x="384414" y="570754"/>
                      <a:pt x="376237" y="569119"/>
                    </a:cubicBezTo>
                    <a:cubicBezTo>
                      <a:pt x="349105" y="555552"/>
                      <a:pt x="365225" y="561702"/>
                      <a:pt x="304800" y="566738"/>
                    </a:cubicBezTo>
                    <a:cubicBezTo>
                      <a:pt x="296733" y="567410"/>
                      <a:pt x="280987" y="571500"/>
                      <a:pt x="280987" y="571500"/>
                    </a:cubicBezTo>
                    <a:cubicBezTo>
                      <a:pt x="279400" y="573881"/>
                      <a:pt x="277352" y="576013"/>
                      <a:pt x="276225" y="578644"/>
                    </a:cubicBezTo>
                    <a:cubicBezTo>
                      <a:pt x="274936" y="581652"/>
                      <a:pt x="275746" y="585506"/>
                      <a:pt x="273844" y="588169"/>
                    </a:cubicBezTo>
                    <a:cubicBezTo>
                      <a:pt x="268564" y="595561"/>
                      <a:pt x="262510" y="595765"/>
                      <a:pt x="254794" y="597694"/>
                    </a:cubicBezTo>
                    <a:cubicBezTo>
                      <a:pt x="250677" y="610043"/>
                      <a:pt x="251665" y="600554"/>
                      <a:pt x="259556" y="614363"/>
                    </a:cubicBezTo>
                    <a:cubicBezTo>
                      <a:pt x="260801" y="616542"/>
                      <a:pt x="260369" y="619546"/>
                      <a:pt x="261937" y="621506"/>
                    </a:cubicBezTo>
                    <a:cubicBezTo>
                      <a:pt x="264614" y="624852"/>
                      <a:pt x="272115" y="627828"/>
                      <a:pt x="276225" y="628650"/>
                    </a:cubicBezTo>
                    <a:cubicBezTo>
                      <a:pt x="292498" y="631904"/>
                      <a:pt x="313250" y="632388"/>
                      <a:pt x="328612" y="633413"/>
                    </a:cubicBezTo>
                    <a:cubicBezTo>
                      <a:pt x="333375" y="634207"/>
                      <a:pt x="338179" y="634782"/>
                      <a:pt x="342900" y="635794"/>
                    </a:cubicBezTo>
                    <a:cubicBezTo>
                      <a:pt x="349300" y="637165"/>
                      <a:pt x="361950" y="640556"/>
                      <a:pt x="361950" y="640556"/>
                    </a:cubicBezTo>
                    <a:cubicBezTo>
                      <a:pt x="365129" y="645326"/>
                      <a:pt x="370242" y="653283"/>
                      <a:pt x="373856" y="657225"/>
                    </a:cubicBezTo>
                    <a:cubicBezTo>
                      <a:pt x="379924" y="663845"/>
                      <a:pt x="386556" y="669925"/>
                      <a:pt x="392906" y="676275"/>
                    </a:cubicBezTo>
                    <a:cubicBezTo>
                      <a:pt x="396081" y="679450"/>
                      <a:pt x="399940" y="682064"/>
                      <a:pt x="402431" y="685800"/>
                    </a:cubicBezTo>
                    <a:lnTo>
                      <a:pt x="407194" y="692944"/>
                    </a:lnTo>
                    <a:cubicBezTo>
                      <a:pt x="407988" y="695325"/>
                      <a:pt x="408586" y="697781"/>
                      <a:pt x="409575" y="700088"/>
                    </a:cubicBezTo>
                    <a:cubicBezTo>
                      <a:pt x="410973" y="703351"/>
                      <a:pt x="413317" y="706213"/>
                      <a:pt x="414337" y="709613"/>
                    </a:cubicBezTo>
                    <a:cubicBezTo>
                      <a:pt x="417080" y="718754"/>
                      <a:pt x="415220" y="723282"/>
                      <a:pt x="419100" y="731044"/>
                    </a:cubicBezTo>
                    <a:cubicBezTo>
                      <a:pt x="420380" y="733604"/>
                      <a:pt x="422275" y="735807"/>
                      <a:pt x="423862" y="738188"/>
                    </a:cubicBezTo>
                    <a:cubicBezTo>
                      <a:pt x="432593" y="737394"/>
                      <a:pt x="441422" y="737330"/>
                      <a:pt x="450056" y="735806"/>
                    </a:cubicBezTo>
                    <a:cubicBezTo>
                      <a:pt x="455000" y="734934"/>
                      <a:pt x="464344" y="731044"/>
                      <a:pt x="464344" y="731044"/>
                    </a:cubicBezTo>
                    <a:cubicBezTo>
                      <a:pt x="465138" y="733425"/>
                      <a:pt x="466370" y="735703"/>
                      <a:pt x="466725" y="738188"/>
                    </a:cubicBezTo>
                    <a:cubicBezTo>
                      <a:pt x="467965" y="746867"/>
                      <a:pt x="466528" y="756002"/>
                      <a:pt x="469106" y="764381"/>
                    </a:cubicBezTo>
                    <a:cubicBezTo>
                      <a:pt x="469948" y="767117"/>
                      <a:pt x="474051" y="767312"/>
                      <a:pt x="476250" y="769144"/>
                    </a:cubicBezTo>
                    <a:cubicBezTo>
                      <a:pt x="478837" y="771300"/>
                      <a:pt x="481013" y="773907"/>
                      <a:pt x="483394" y="776288"/>
                    </a:cubicBezTo>
                    <a:cubicBezTo>
                      <a:pt x="484188" y="779463"/>
                      <a:pt x="485775" y="782540"/>
                      <a:pt x="485775" y="785813"/>
                    </a:cubicBezTo>
                    <a:cubicBezTo>
                      <a:pt x="485775" y="793790"/>
                      <a:pt x="485740" y="802001"/>
                      <a:pt x="483394" y="809625"/>
                    </a:cubicBezTo>
                    <a:cubicBezTo>
                      <a:pt x="482404" y="812844"/>
                      <a:pt x="479052" y="814901"/>
                      <a:pt x="476250" y="816769"/>
                    </a:cubicBezTo>
                    <a:cubicBezTo>
                      <a:pt x="474161" y="818161"/>
                      <a:pt x="471601" y="818873"/>
                      <a:pt x="469106" y="819150"/>
                    </a:cubicBezTo>
                    <a:cubicBezTo>
                      <a:pt x="457246" y="820468"/>
                      <a:pt x="445293" y="820737"/>
                      <a:pt x="433387" y="821531"/>
                    </a:cubicBezTo>
                    <a:cubicBezTo>
                      <a:pt x="431006" y="828674"/>
                      <a:pt x="429418" y="828676"/>
                      <a:pt x="433387" y="835819"/>
                    </a:cubicBezTo>
                    <a:cubicBezTo>
                      <a:pt x="436167" y="840822"/>
                      <a:pt x="442912" y="850106"/>
                      <a:pt x="442912" y="850106"/>
                    </a:cubicBezTo>
                    <a:cubicBezTo>
                      <a:pt x="443706" y="857250"/>
                      <a:pt x="444112" y="864448"/>
                      <a:pt x="445294" y="871538"/>
                    </a:cubicBezTo>
                    <a:cubicBezTo>
                      <a:pt x="445707" y="874014"/>
                      <a:pt x="447066" y="876246"/>
                      <a:pt x="447675" y="878681"/>
                    </a:cubicBezTo>
                    <a:cubicBezTo>
                      <a:pt x="448657" y="882608"/>
                      <a:pt x="449441" y="886587"/>
                      <a:pt x="450056" y="890588"/>
                    </a:cubicBezTo>
                    <a:cubicBezTo>
                      <a:pt x="451029" y="896913"/>
                      <a:pt x="451292" y="903342"/>
                      <a:pt x="452437" y="909638"/>
                    </a:cubicBezTo>
                    <a:cubicBezTo>
                      <a:pt x="452886" y="912107"/>
                      <a:pt x="452777" y="915322"/>
                      <a:pt x="454819" y="916781"/>
                    </a:cubicBezTo>
                    <a:cubicBezTo>
                      <a:pt x="458904" y="919699"/>
                      <a:pt x="464344" y="919956"/>
                      <a:pt x="469106" y="921544"/>
                    </a:cubicBezTo>
                    <a:lnTo>
                      <a:pt x="476250" y="923925"/>
                    </a:lnTo>
                    <a:cubicBezTo>
                      <a:pt x="478631" y="924719"/>
                      <a:pt x="480933" y="925814"/>
                      <a:pt x="483394" y="926306"/>
                    </a:cubicBezTo>
                    <a:lnTo>
                      <a:pt x="495300" y="928688"/>
                    </a:lnTo>
                    <a:cubicBezTo>
                      <a:pt x="512762" y="927894"/>
                      <a:pt x="530306" y="928168"/>
                      <a:pt x="547687" y="926306"/>
                    </a:cubicBezTo>
                    <a:cubicBezTo>
                      <a:pt x="553696" y="925662"/>
                      <a:pt x="565720" y="920084"/>
                      <a:pt x="571500" y="916781"/>
                    </a:cubicBezTo>
                    <a:cubicBezTo>
                      <a:pt x="573985" y="915361"/>
                      <a:pt x="576445" y="913851"/>
                      <a:pt x="578644" y="912019"/>
                    </a:cubicBezTo>
                    <a:cubicBezTo>
                      <a:pt x="581231" y="909863"/>
                      <a:pt x="583631" y="907462"/>
                      <a:pt x="585787" y="904875"/>
                    </a:cubicBezTo>
                    <a:cubicBezTo>
                      <a:pt x="587619" y="902676"/>
                      <a:pt x="588315" y="899519"/>
                      <a:pt x="590550" y="897731"/>
                    </a:cubicBezTo>
                    <a:cubicBezTo>
                      <a:pt x="592510" y="896163"/>
                      <a:pt x="595313" y="896144"/>
                      <a:pt x="597694" y="895350"/>
                    </a:cubicBezTo>
                    <a:cubicBezTo>
                      <a:pt x="600075" y="893763"/>
                      <a:pt x="602278" y="891868"/>
                      <a:pt x="604837" y="890588"/>
                    </a:cubicBezTo>
                    <a:cubicBezTo>
                      <a:pt x="607082" y="889465"/>
                      <a:pt x="609892" y="889598"/>
                      <a:pt x="611981" y="888206"/>
                    </a:cubicBezTo>
                    <a:cubicBezTo>
                      <a:pt x="617484" y="884537"/>
                      <a:pt x="620372" y="879193"/>
                      <a:pt x="623887" y="873919"/>
                    </a:cubicBezTo>
                    <a:cubicBezTo>
                      <a:pt x="624681" y="870744"/>
                      <a:pt x="626269" y="867667"/>
                      <a:pt x="626269" y="864394"/>
                    </a:cubicBezTo>
                    <a:cubicBezTo>
                      <a:pt x="626269" y="856413"/>
                      <a:pt x="624875" y="848713"/>
                      <a:pt x="619125" y="842963"/>
                    </a:cubicBezTo>
                    <a:cubicBezTo>
                      <a:pt x="617101" y="840939"/>
                      <a:pt x="614541" y="839480"/>
                      <a:pt x="611981" y="838200"/>
                    </a:cubicBezTo>
                    <a:cubicBezTo>
                      <a:pt x="609736" y="837077"/>
                      <a:pt x="607218" y="836613"/>
                      <a:pt x="604837" y="835819"/>
                    </a:cubicBezTo>
                    <a:cubicBezTo>
                      <a:pt x="605631" y="833438"/>
                      <a:pt x="605176" y="830134"/>
                      <a:pt x="607219" y="828675"/>
                    </a:cubicBezTo>
                    <a:cubicBezTo>
                      <a:pt x="611304" y="825757"/>
                      <a:pt x="616744" y="825500"/>
                      <a:pt x="621506" y="823913"/>
                    </a:cubicBezTo>
                    <a:cubicBezTo>
                      <a:pt x="632496" y="820250"/>
                      <a:pt x="626178" y="822025"/>
                      <a:pt x="640556" y="819150"/>
                    </a:cubicBezTo>
                    <a:cubicBezTo>
                      <a:pt x="643731" y="817563"/>
                      <a:pt x="647309" y="816605"/>
                      <a:pt x="650081" y="814388"/>
                    </a:cubicBezTo>
                    <a:cubicBezTo>
                      <a:pt x="655341" y="810180"/>
                      <a:pt x="658765" y="803836"/>
                      <a:pt x="664369" y="800100"/>
                    </a:cubicBezTo>
                    <a:lnTo>
                      <a:pt x="671512" y="795338"/>
                    </a:lnTo>
                    <a:cubicBezTo>
                      <a:pt x="677862" y="796132"/>
                      <a:pt x="685319" y="794049"/>
                      <a:pt x="690562" y="797719"/>
                    </a:cubicBezTo>
                    <a:cubicBezTo>
                      <a:pt x="694675" y="800598"/>
                      <a:pt x="695325" y="812006"/>
                      <a:pt x="695325" y="812006"/>
                    </a:cubicBezTo>
                    <a:cubicBezTo>
                      <a:pt x="694531" y="814387"/>
                      <a:pt x="692944" y="816640"/>
                      <a:pt x="692944" y="819150"/>
                    </a:cubicBezTo>
                    <a:cubicBezTo>
                      <a:pt x="692944" y="836441"/>
                      <a:pt x="719023" y="827987"/>
                      <a:pt x="728662" y="828675"/>
                    </a:cubicBezTo>
                    <a:cubicBezTo>
                      <a:pt x="731043" y="829469"/>
                      <a:pt x="733846" y="829488"/>
                      <a:pt x="735806" y="831056"/>
                    </a:cubicBezTo>
                    <a:cubicBezTo>
                      <a:pt x="740003" y="834414"/>
                      <a:pt x="741381" y="840637"/>
                      <a:pt x="742950" y="845344"/>
                    </a:cubicBezTo>
                    <a:cubicBezTo>
                      <a:pt x="743548" y="850731"/>
                      <a:pt x="740186" y="870309"/>
                      <a:pt x="752475" y="871538"/>
                    </a:cubicBezTo>
                    <a:cubicBezTo>
                      <a:pt x="758060" y="872096"/>
                      <a:pt x="763588" y="869950"/>
                      <a:pt x="769144" y="869156"/>
                    </a:cubicBezTo>
                    <a:cubicBezTo>
                      <a:pt x="769938" y="866775"/>
                      <a:pt x="769957" y="863973"/>
                      <a:pt x="771525" y="862013"/>
                    </a:cubicBezTo>
                    <a:cubicBezTo>
                      <a:pt x="779025" y="852638"/>
                      <a:pt x="789949" y="858503"/>
                      <a:pt x="800100" y="859631"/>
                    </a:cubicBezTo>
                    <a:cubicBezTo>
                      <a:pt x="805481" y="867704"/>
                      <a:pt x="805536" y="866051"/>
                      <a:pt x="807244" y="876300"/>
                    </a:cubicBezTo>
                    <a:cubicBezTo>
                      <a:pt x="807390" y="877173"/>
                      <a:pt x="808601" y="897386"/>
                      <a:pt x="812006" y="902494"/>
                    </a:cubicBezTo>
                    <a:cubicBezTo>
                      <a:pt x="813874" y="905296"/>
                      <a:pt x="816769" y="907257"/>
                      <a:pt x="819150" y="909638"/>
                    </a:cubicBezTo>
                    <a:cubicBezTo>
                      <a:pt x="823912" y="908844"/>
                      <a:pt x="828857" y="908783"/>
                      <a:pt x="833437" y="907256"/>
                    </a:cubicBezTo>
                    <a:cubicBezTo>
                      <a:pt x="838412" y="905598"/>
                      <a:pt x="844408" y="898667"/>
                      <a:pt x="847725" y="895350"/>
                    </a:cubicBezTo>
                    <a:cubicBezTo>
                      <a:pt x="848519" y="892969"/>
                      <a:pt x="848331" y="889981"/>
                      <a:pt x="850106" y="888206"/>
                    </a:cubicBezTo>
                    <a:cubicBezTo>
                      <a:pt x="855301" y="883011"/>
                      <a:pt x="871030" y="887793"/>
                      <a:pt x="873919" y="888206"/>
                    </a:cubicBezTo>
                    <a:cubicBezTo>
                      <a:pt x="876300" y="889794"/>
                      <a:pt x="879230" y="890770"/>
                      <a:pt x="881062" y="892969"/>
                    </a:cubicBezTo>
                    <a:cubicBezTo>
                      <a:pt x="890386" y="904159"/>
                      <a:pt x="881211" y="900262"/>
                      <a:pt x="890587" y="909638"/>
                    </a:cubicBezTo>
                    <a:cubicBezTo>
                      <a:pt x="892611" y="911662"/>
                      <a:pt x="895350" y="912813"/>
                      <a:pt x="897731" y="914400"/>
                    </a:cubicBezTo>
                    <a:cubicBezTo>
                      <a:pt x="900906" y="913606"/>
                      <a:pt x="904121" y="912959"/>
                      <a:pt x="907256" y="912019"/>
                    </a:cubicBezTo>
                    <a:cubicBezTo>
                      <a:pt x="912065" y="910576"/>
                      <a:pt x="921544" y="907256"/>
                      <a:pt x="921544" y="907256"/>
                    </a:cubicBezTo>
                    <a:cubicBezTo>
                      <a:pt x="923131" y="904875"/>
                      <a:pt x="924152" y="901997"/>
                      <a:pt x="926306" y="900113"/>
                    </a:cubicBezTo>
                    <a:cubicBezTo>
                      <a:pt x="930614" y="896344"/>
                      <a:pt x="935164" y="892399"/>
                      <a:pt x="940594" y="890588"/>
                    </a:cubicBezTo>
                    <a:cubicBezTo>
                      <a:pt x="944776" y="889193"/>
                      <a:pt x="953211" y="886177"/>
                      <a:pt x="957262" y="885825"/>
                    </a:cubicBezTo>
                    <a:cubicBezTo>
                      <a:pt x="972307" y="884517"/>
                      <a:pt x="987425" y="884238"/>
                      <a:pt x="1002506" y="883444"/>
                    </a:cubicBezTo>
                    <a:cubicBezTo>
                      <a:pt x="1015460" y="864012"/>
                      <a:pt x="1015370" y="871315"/>
                      <a:pt x="1007269" y="842963"/>
                    </a:cubicBezTo>
                    <a:cubicBezTo>
                      <a:pt x="1006483" y="840211"/>
                      <a:pt x="1004094" y="838200"/>
                      <a:pt x="1002506" y="835819"/>
                    </a:cubicBezTo>
                    <a:cubicBezTo>
                      <a:pt x="999834" y="827802"/>
                      <a:pt x="1000072" y="827393"/>
                      <a:pt x="995362" y="819150"/>
                    </a:cubicBezTo>
                    <a:cubicBezTo>
                      <a:pt x="993942" y="816665"/>
                      <a:pt x="991880" y="814566"/>
                      <a:pt x="990600" y="812006"/>
                    </a:cubicBezTo>
                    <a:cubicBezTo>
                      <a:pt x="989478" y="809761"/>
                      <a:pt x="989341" y="807108"/>
                      <a:pt x="988219" y="804863"/>
                    </a:cubicBezTo>
                    <a:cubicBezTo>
                      <a:pt x="986023" y="800470"/>
                      <a:pt x="980262" y="793208"/>
                      <a:pt x="976312" y="790575"/>
                    </a:cubicBezTo>
                    <a:cubicBezTo>
                      <a:pt x="974224" y="789183"/>
                      <a:pt x="971550" y="788988"/>
                      <a:pt x="969169" y="788194"/>
                    </a:cubicBezTo>
                    <a:cubicBezTo>
                      <a:pt x="966788" y="786606"/>
                      <a:pt x="964224" y="785263"/>
                      <a:pt x="962025" y="783431"/>
                    </a:cubicBezTo>
                    <a:cubicBezTo>
                      <a:pt x="957508" y="779667"/>
                      <a:pt x="952796" y="774499"/>
                      <a:pt x="950119" y="769144"/>
                    </a:cubicBezTo>
                    <a:cubicBezTo>
                      <a:pt x="948996" y="766899"/>
                      <a:pt x="948956" y="764194"/>
                      <a:pt x="947737" y="762000"/>
                    </a:cubicBezTo>
                    <a:cubicBezTo>
                      <a:pt x="944957" y="756997"/>
                      <a:pt x="941387" y="752475"/>
                      <a:pt x="938212" y="747713"/>
                    </a:cubicBezTo>
                    <a:cubicBezTo>
                      <a:pt x="936625" y="745332"/>
                      <a:pt x="934355" y="743284"/>
                      <a:pt x="933450" y="740569"/>
                    </a:cubicBezTo>
                    <a:lnTo>
                      <a:pt x="931069" y="733425"/>
                    </a:lnTo>
                    <a:cubicBezTo>
                      <a:pt x="931863" y="715169"/>
                      <a:pt x="932274" y="696892"/>
                      <a:pt x="933450" y="678656"/>
                    </a:cubicBezTo>
                    <a:cubicBezTo>
                      <a:pt x="933862" y="672270"/>
                      <a:pt x="935831" y="666005"/>
                      <a:pt x="935831" y="659606"/>
                    </a:cubicBezTo>
                    <a:cubicBezTo>
                      <a:pt x="935831" y="634987"/>
                      <a:pt x="934621" y="610379"/>
                      <a:pt x="933450" y="585788"/>
                    </a:cubicBezTo>
                    <a:cubicBezTo>
                      <a:pt x="933331" y="583292"/>
                      <a:pt x="931576" y="555391"/>
                      <a:pt x="928687" y="547688"/>
                    </a:cubicBezTo>
                    <a:cubicBezTo>
                      <a:pt x="927682" y="545008"/>
                      <a:pt x="925512" y="542925"/>
                      <a:pt x="923925" y="540544"/>
                    </a:cubicBezTo>
                    <a:cubicBezTo>
                      <a:pt x="923131" y="532606"/>
                      <a:pt x="924270" y="524228"/>
                      <a:pt x="921544" y="516731"/>
                    </a:cubicBezTo>
                    <a:cubicBezTo>
                      <a:pt x="920686" y="514372"/>
                      <a:pt x="916910" y="514350"/>
                      <a:pt x="914400" y="514350"/>
                    </a:cubicBezTo>
                    <a:cubicBezTo>
                      <a:pt x="906423" y="514350"/>
                      <a:pt x="898525" y="515937"/>
                      <a:pt x="890587" y="516731"/>
                    </a:cubicBezTo>
                    <a:cubicBezTo>
                      <a:pt x="888206" y="519112"/>
                      <a:pt x="884138" y="520580"/>
                      <a:pt x="883444" y="523875"/>
                    </a:cubicBezTo>
                    <a:cubicBezTo>
                      <a:pt x="880823" y="536327"/>
                      <a:pt x="882164" y="549298"/>
                      <a:pt x="881062" y="561975"/>
                    </a:cubicBezTo>
                    <a:cubicBezTo>
                      <a:pt x="880576" y="567567"/>
                      <a:pt x="879604" y="573108"/>
                      <a:pt x="878681" y="578644"/>
                    </a:cubicBezTo>
                    <a:cubicBezTo>
                      <a:pt x="878640" y="578889"/>
                      <a:pt x="874870" y="598648"/>
                      <a:pt x="873919" y="600075"/>
                    </a:cubicBezTo>
                    <a:cubicBezTo>
                      <a:pt x="872331" y="602456"/>
                      <a:pt x="869156" y="603250"/>
                      <a:pt x="866775" y="604838"/>
                    </a:cubicBezTo>
                    <a:cubicBezTo>
                      <a:pt x="863600" y="603250"/>
                      <a:pt x="859977" y="602348"/>
                      <a:pt x="857250" y="600075"/>
                    </a:cubicBezTo>
                    <a:cubicBezTo>
                      <a:pt x="851811" y="595543"/>
                      <a:pt x="851878" y="589608"/>
                      <a:pt x="850106" y="583406"/>
                    </a:cubicBezTo>
                    <a:cubicBezTo>
                      <a:pt x="849417" y="580993"/>
                      <a:pt x="848519" y="578644"/>
                      <a:pt x="847725" y="576263"/>
                    </a:cubicBezTo>
                    <a:cubicBezTo>
                      <a:pt x="846931" y="569913"/>
                      <a:pt x="846489" y="563509"/>
                      <a:pt x="845344" y="557213"/>
                    </a:cubicBezTo>
                    <a:cubicBezTo>
                      <a:pt x="843634" y="547810"/>
                      <a:pt x="842556" y="551638"/>
                      <a:pt x="838200" y="542925"/>
                    </a:cubicBezTo>
                    <a:cubicBezTo>
                      <a:pt x="829112" y="524747"/>
                      <a:pt x="845945" y="549282"/>
                      <a:pt x="828675" y="526256"/>
                    </a:cubicBezTo>
                    <a:cubicBezTo>
                      <a:pt x="817540" y="492857"/>
                      <a:pt x="830334" y="534560"/>
                      <a:pt x="821531" y="490538"/>
                    </a:cubicBezTo>
                    <a:cubicBezTo>
                      <a:pt x="821527" y="490518"/>
                      <a:pt x="815581" y="472687"/>
                      <a:pt x="814387" y="469106"/>
                    </a:cubicBezTo>
                    <a:cubicBezTo>
                      <a:pt x="813593" y="466725"/>
                      <a:pt x="813398" y="464051"/>
                      <a:pt x="812006" y="461963"/>
                    </a:cubicBezTo>
                    <a:cubicBezTo>
                      <a:pt x="807352" y="454981"/>
                      <a:pt x="806833" y="455560"/>
                      <a:pt x="804862" y="447675"/>
                    </a:cubicBezTo>
                    <a:cubicBezTo>
                      <a:pt x="803880" y="443749"/>
                      <a:pt x="803359" y="439720"/>
                      <a:pt x="802481" y="435769"/>
                    </a:cubicBezTo>
                    <a:cubicBezTo>
                      <a:pt x="801771" y="432574"/>
                      <a:pt x="800810" y="429439"/>
                      <a:pt x="800100" y="426244"/>
                    </a:cubicBezTo>
                    <a:cubicBezTo>
                      <a:pt x="799222" y="422293"/>
                      <a:pt x="798701" y="418264"/>
                      <a:pt x="797719" y="414338"/>
                    </a:cubicBezTo>
                    <a:cubicBezTo>
                      <a:pt x="797110" y="411903"/>
                      <a:pt x="795946" y="409629"/>
                      <a:pt x="795337" y="407194"/>
                    </a:cubicBezTo>
                    <a:cubicBezTo>
                      <a:pt x="794355" y="403268"/>
                      <a:pt x="793834" y="399239"/>
                      <a:pt x="792956" y="395288"/>
                    </a:cubicBezTo>
                    <a:cubicBezTo>
                      <a:pt x="790963" y="386318"/>
                      <a:pt x="790845" y="386574"/>
                      <a:pt x="788194" y="378619"/>
                    </a:cubicBezTo>
                    <a:cubicBezTo>
                      <a:pt x="785102" y="356980"/>
                      <a:pt x="787587" y="367276"/>
                      <a:pt x="781050" y="347663"/>
                    </a:cubicBezTo>
                    <a:lnTo>
                      <a:pt x="778669" y="340519"/>
                    </a:lnTo>
                    <a:cubicBezTo>
                      <a:pt x="782438" y="325441"/>
                      <a:pt x="779235" y="333717"/>
                      <a:pt x="790575" y="316706"/>
                    </a:cubicBezTo>
                    <a:cubicBezTo>
                      <a:pt x="792162" y="314325"/>
                      <a:pt x="792622" y="310468"/>
                      <a:pt x="795337" y="309563"/>
                    </a:cubicBezTo>
                    <a:cubicBezTo>
                      <a:pt x="797718" y="308769"/>
                      <a:pt x="800287" y="308400"/>
                      <a:pt x="802481" y="307181"/>
                    </a:cubicBezTo>
                    <a:cubicBezTo>
                      <a:pt x="807485" y="304401"/>
                      <a:pt x="816769" y="297656"/>
                      <a:pt x="816769" y="297656"/>
                    </a:cubicBezTo>
                    <a:cubicBezTo>
                      <a:pt x="819039" y="290847"/>
                      <a:pt x="820036" y="288464"/>
                      <a:pt x="821531" y="280988"/>
                    </a:cubicBezTo>
                    <a:cubicBezTo>
                      <a:pt x="823062" y="273333"/>
                      <a:pt x="824127" y="259236"/>
                      <a:pt x="828675" y="252413"/>
                    </a:cubicBezTo>
                    <a:lnTo>
                      <a:pt x="833437" y="245269"/>
                    </a:lnTo>
                    <a:cubicBezTo>
                      <a:pt x="834945" y="234717"/>
                      <a:pt x="838082" y="224763"/>
                      <a:pt x="833437" y="214313"/>
                    </a:cubicBezTo>
                    <a:cubicBezTo>
                      <a:pt x="832069" y="211236"/>
                      <a:pt x="828952" y="209236"/>
                      <a:pt x="826294" y="207169"/>
                    </a:cubicBezTo>
                    <a:cubicBezTo>
                      <a:pt x="821776" y="203655"/>
                      <a:pt x="816769" y="200819"/>
                      <a:pt x="812006" y="197644"/>
                    </a:cubicBezTo>
                    <a:cubicBezTo>
                      <a:pt x="809625" y="196056"/>
                      <a:pt x="807577" y="193786"/>
                      <a:pt x="804862" y="192881"/>
                    </a:cubicBezTo>
                    <a:lnTo>
                      <a:pt x="797719" y="190500"/>
                    </a:lnTo>
                    <a:cubicBezTo>
                      <a:pt x="785015" y="171445"/>
                      <a:pt x="801691" y="194473"/>
                      <a:pt x="785812" y="178594"/>
                    </a:cubicBezTo>
                    <a:cubicBezTo>
                      <a:pt x="781197" y="173979"/>
                      <a:pt x="780605" y="170115"/>
                      <a:pt x="778669" y="164306"/>
                    </a:cubicBezTo>
                    <a:cubicBezTo>
                      <a:pt x="779463" y="158750"/>
                      <a:pt x="781050" y="153250"/>
                      <a:pt x="781050" y="147638"/>
                    </a:cubicBezTo>
                    <a:cubicBezTo>
                      <a:pt x="781050" y="128571"/>
                      <a:pt x="783626" y="108899"/>
                      <a:pt x="778669" y="90488"/>
                    </a:cubicBezTo>
                    <a:cubicBezTo>
                      <a:pt x="777364" y="85640"/>
                      <a:pt x="769400" y="85847"/>
                      <a:pt x="764381" y="85725"/>
                    </a:cubicBezTo>
                    <a:lnTo>
                      <a:pt x="666750" y="83344"/>
                    </a:lnTo>
                    <a:cubicBezTo>
                      <a:pt x="662781" y="82550"/>
                      <a:pt x="658736" y="82075"/>
                      <a:pt x="654844" y="80963"/>
                    </a:cubicBezTo>
                    <a:cubicBezTo>
                      <a:pt x="647603" y="78894"/>
                      <a:pt x="640556" y="76200"/>
                      <a:pt x="633412" y="73819"/>
                    </a:cubicBezTo>
                    <a:cubicBezTo>
                      <a:pt x="631031" y="73025"/>
                      <a:pt x="628704" y="72047"/>
                      <a:pt x="626269" y="71438"/>
                    </a:cubicBezTo>
                    <a:cubicBezTo>
                      <a:pt x="619919" y="69850"/>
                      <a:pt x="613429" y="68745"/>
                      <a:pt x="607219" y="66675"/>
                    </a:cubicBezTo>
                    <a:lnTo>
                      <a:pt x="592931" y="61913"/>
                    </a:lnTo>
                    <a:cubicBezTo>
                      <a:pt x="590550" y="60325"/>
                      <a:pt x="587986" y="58982"/>
                      <a:pt x="585787" y="57150"/>
                    </a:cubicBezTo>
                    <a:cubicBezTo>
                      <a:pt x="577886" y="50565"/>
                      <a:pt x="580371" y="49679"/>
                      <a:pt x="571500" y="45244"/>
                    </a:cubicBezTo>
                    <a:cubicBezTo>
                      <a:pt x="569255" y="44122"/>
                      <a:pt x="566737" y="43657"/>
                      <a:pt x="564356" y="42863"/>
                    </a:cubicBezTo>
                    <a:cubicBezTo>
                      <a:pt x="554399" y="36225"/>
                      <a:pt x="549920" y="34588"/>
                      <a:pt x="542925" y="26194"/>
                    </a:cubicBezTo>
                    <a:cubicBezTo>
                      <a:pt x="541093" y="23995"/>
                      <a:pt x="540361" y="20882"/>
                      <a:pt x="538162" y="19050"/>
                    </a:cubicBezTo>
                    <a:cubicBezTo>
                      <a:pt x="535435" y="16778"/>
                      <a:pt x="531900" y="15686"/>
                      <a:pt x="528637" y="14288"/>
                    </a:cubicBezTo>
                    <a:cubicBezTo>
                      <a:pt x="524347" y="12449"/>
                      <a:pt x="516161" y="10456"/>
                      <a:pt x="511969" y="9525"/>
                    </a:cubicBezTo>
                    <a:cubicBezTo>
                      <a:pt x="503609" y="7668"/>
                      <a:pt x="494176" y="6056"/>
                      <a:pt x="485775" y="4763"/>
                    </a:cubicBezTo>
                    <a:cubicBezTo>
                      <a:pt x="480228" y="3909"/>
                      <a:pt x="474642" y="3304"/>
                      <a:pt x="469106" y="2381"/>
                    </a:cubicBezTo>
                    <a:cubicBezTo>
                      <a:pt x="465114" y="1716"/>
                      <a:pt x="461169" y="794"/>
                      <a:pt x="457200" y="0"/>
                    </a:cubicBezTo>
                    <a:lnTo>
                      <a:pt x="340519" y="2381"/>
                    </a:lnTo>
                    <a:cubicBezTo>
                      <a:pt x="333392" y="2655"/>
                      <a:pt x="332349" y="6806"/>
                      <a:pt x="326231" y="9525"/>
                    </a:cubicBezTo>
                    <a:cubicBezTo>
                      <a:pt x="321644" y="11564"/>
                      <a:pt x="316121" y="11504"/>
                      <a:pt x="311944" y="14288"/>
                    </a:cubicBezTo>
                    <a:cubicBezTo>
                      <a:pt x="309563" y="15875"/>
                      <a:pt x="307431" y="17923"/>
                      <a:pt x="304800" y="19050"/>
                    </a:cubicBezTo>
                    <a:cubicBezTo>
                      <a:pt x="301792" y="20339"/>
                      <a:pt x="298410" y="20491"/>
                      <a:pt x="295275" y="21431"/>
                    </a:cubicBezTo>
                    <a:cubicBezTo>
                      <a:pt x="290466" y="22874"/>
                      <a:pt x="285750" y="24606"/>
                      <a:pt x="280987" y="26194"/>
                    </a:cubicBezTo>
                    <a:cubicBezTo>
                      <a:pt x="278606" y="26988"/>
                      <a:pt x="276089" y="27452"/>
                      <a:pt x="273844" y="28575"/>
                    </a:cubicBezTo>
                    <a:cubicBezTo>
                      <a:pt x="270669" y="30163"/>
                      <a:pt x="267582" y="31940"/>
                      <a:pt x="264319" y="33338"/>
                    </a:cubicBezTo>
                    <a:cubicBezTo>
                      <a:pt x="250512" y="39255"/>
                      <a:pt x="263764" y="31327"/>
                      <a:pt x="250031" y="40481"/>
                    </a:cubicBezTo>
                    <a:cubicBezTo>
                      <a:pt x="248444" y="42862"/>
                      <a:pt x="247101" y="45426"/>
                      <a:pt x="245269" y="47625"/>
                    </a:cubicBezTo>
                    <a:cubicBezTo>
                      <a:pt x="241506" y="52141"/>
                      <a:pt x="236334" y="56854"/>
                      <a:pt x="230981" y="59531"/>
                    </a:cubicBezTo>
                    <a:cubicBezTo>
                      <a:pt x="228736" y="60654"/>
                      <a:pt x="226031" y="60694"/>
                      <a:pt x="223837" y="61913"/>
                    </a:cubicBezTo>
                    <a:cubicBezTo>
                      <a:pt x="218834" y="64693"/>
                      <a:pt x="214980" y="69628"/>
                      <a:pt x="209550" y="71438"/>
                    </a:cubicBezTo>
                    <a:cubicBezTo>
                      <a:pt x="207169" y="72232"/>
                      <a:pt x="204651" y="72697"/>
                      <a:pt x="202406" y="73819"/>
                    </a:cubicBezTo>
                    <a:cubicBezTo>
                      <a:pt x="199846" y="75099"/>
                      <a:pt x="197892" y="77454"/>
                      <a:pt x="195262" y="78581"/>
                    </a:cubicBezTo>
                    <a:cubicBezTo>
                      <a:pt x="192254" y="79870"/>
                      <a:pt x="188872" y="80023"/>
                      <a:pt x="185737" y="80963"/>
                    </a:cubicBezTo>
                    <a:cubicBezTo>
                      <a:pt x="158794" y="89046"/>
                      <a:pt x="183285" y="84739"/>
                      <a:pt x="142875" y="88106"/>
                    </a:cubicBezTo>
                    <a:cubicBezTo>
                      <a:pt x="152278" y="91241"/>
                      <a:pt x="198437" y="93663"/>
                      <a:pt x="195262" y="9525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0" name="Freeform 279"/>
              <p:cNvSpPr/>
              <p:nvPr/>
            </p:nvSpPr>
            <p:spPr>
              <a:xfrm>
                <a:off x="9115825" y="3168274"/>
                <a:ext cx="161925" cy="114490"/>
              </a:xfrm>
              <a:custGeom>
                <a:avLst/>
                <a:gdLst>
                  <a:gd name="connsiteX0" fmla="*/ 78581 w 161925"/>
                  <a:gd name="connsiteY0" fmla="*/ 2571 h 114490"/>
                  <a:gd name="connsiteX1" fmla="*/ 59531 w 161925"/>
                  <a:gd name="connsiteY1" fmla="*/ 190 h 114490"/>
                  <a:gd name="connsiteX2" fmla="*/ 19050 w 161925"/>
                  <a:gd name="connsiteY2" fmla="*/ 4953 h 114490"/>
                  <a:gd name="connsiteX3" fmla="*/ 11906 w 161925"/>
                  <a:gd name="connsiteY3" fmla="*/ 12096 h 114490"/>
                  <a:gd name="connsiteX4" fmla="*/ 4763 w 161925"/>
                  <a:gd name="connsiteY4" fmla="*/ 16859 h 114490"/>
                  <a:gd name="connsiteX5" fmla="*/ 0 w 161925"/>
                  <a:gd name="connsiteY5" fmla="*/ 24003 h 114490"/>
                  <a:gd name="connsiteX6" fmla="*/ 2381 w 161925"/>
                  <a:gd name="connsiteY6" fmla="*/ 35909 h 114490"/>
                  <a:gd name="connsiteX7" fmla="*/ 16669 w 161925"/>
                  <a:gd name="connsiteY7" fmla="*/ 47815 h 114490"/>
                  <a:gd name="connsiteX8" fmla="*/ 28575 w 161925"/>
                  <a:gd name="connsiteY8" fmla="*/ 57340 h 114490"/>
                  <a:gd name="connsiteX9" fmla="*/ 35719 w 161925"/>
                  <a:gd name="connsiteY9" fmla="*/ 62103 h 114490"/>
                  <a:gd name="connsiteX10" fmla="*/ 57150 w 161925"/>
                  <a:gd name="connsiteY10" fmla="*/ 74009 h 114490"/>
                  <a:gd name="connsiteX11" fmla="*/ 64294 w 161925"/>
                  <a:gd name="connsiteY11" fmla="*/ 76390 h 114490"/>
                  <a:gd name="connsiteX12" fmla="*/ 78581 w 161925"/>
                  <a:gd name="connsiteY12" fmla="*/ 85915 h 114490"/>
                  <a:gd name="connsiteX13" fmla="*/ 95250 w 161925"/>
                  <a:gd name="connsiteY13" fmla="*/ 97821 h 114490"/>
                  <a:gd name="connsiteX14" fmla="*/ 102394 w 161925"/>
                  <a:gd name="connsiteY14" fmla="*/ 100203 h 114490"/>
                  <a:gd name="connsiteX15" fmla="*/ 116681 w 161925"/>
                  <a:gd name="connsiteY15" fmla="*/ 112109 h 114490"/>
                  <a:gd name="connsiteX16" fmla="*/ 128588 w 161925"/>
                  <a:gd name="connsiteY16" fmla="*/ 114490 h 114490"/>
                  <a:gd name="connsiteX17" fmla="*/ 154781 w 161925"/>
                  <a:gd name="connsiteY17" fmla="*/ 112109 h 114490"/>
                  <a:gd name="connsiteX18" fmla="*/ 159544 w 161925"/>
                  <a:gd name="connsiteY18" fmla="*/ 95440 h 114490"/>
                  <a:gd name="connsiteX19" fmla="*/ 157163 w 161925"/>
                  <a:gd name="connsiteY19" fmla="*/ 88296 h 114490"/>
                  <a:gd name="connsiteX20" fmla="*/ 154781 w 161925"/>
                  <a:gd name="connsiteY20" fmla="*/ 76390 h 114490"/>
                  <a:gd name="connsiteX21" fmla="*/ 142875 w 161925"/>
                  <a:gd name="connsiteY21" fmla="*/ 64484 h 114490"/>
                  <a:gd name="connsiteX22" fmla="*/ 130969 w 161925"/>
                  <a:gd name="connsiteY22" fmla="*/ 50196 h 114490"/>
                  <a:gd name="connsiteX23" fmla="*/ 123825 w 161925"/>
                  <a:gd name="connsiteY23" fmla="*/ 43053 h 114490"/>
                  <a:gd name="connsiteX24" fmla="*/ 119063 w 161925"/>
                  <a:gd name="connsiteY24" fmla="*/ 35909 h 114490"/>
                  <a:gd name="connsiteX25" fmla="*/ 104775 w 161925"/>
                  <a:gd name="connsiteY25" fmla="*/ 21621 h 114490"/>
                  <a:gd name="connsiteX26" fmla="*/ 78581 w 161925"/>
                  <a:gd name="connsiteY26" fmla="*/ 2571 h 11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14490">
                    <a:moveTo>
                      <a:pt x="78581" y="2571"/>
                    </a:moveTo>
                    <a:cubicBezTo>
                      <a:pt x="71040" y="-1001"/>
                      <a:pt x="65930" y="190"/>
                      <a:pt x="59531" y="190"/>
                    </a:cubicBezTo>
                    <a:cubicBezTo>
                      <a:pt x="31368" y="190"/>
                      <a:pt x="35033" y="-376"/>
                      <a:pt x="19050" y="4953"/>
                    </a:cubicBezTo>
                    <a:cubicBezTo>
                      <a:pt x="16669" y="7334"/>
                      <a:pt x="14493" y="9940"/>
                      <a:pt x="11906" y="12096"/>
                    </a:cubicBezTo>
                    <a:cubicBezTo>
                      <a:pt x="9708" y="13928"/>
                      <a:pt x="6787" y="14835"/>
                      <a:pt x="4763" y="16859"/>
                    </a:cubicBezTo>
                    <a:cubicBezTo>
                      <a:pt x="2739" y="18883"/>
                      <a:pt x="1588" y="21622"/>
                      <a:pt x="0" y="24003"/>
                    </a:cubicBezTo>
                    <a:cubicBezTo>
                      <a:pt x="794" y="27972"/>
                      <a:pt x="571" y="32289"/>
                      <a:pt x="2381" y="35909"/>
                    </a:cubicBezTo>
                    <a:cubicBezTo>
                      <a:pt x="4673" y="40494"/>
                      <a:pt x="12565" y="45080"/>
                      <a:pt x="16669" y="47815"/>
                    </a:cubicBezTo>
                    <a:cubicBezTo>
                      <a:pt x="24697" y="59858"/>
                      <a:pt x="17073" y="51589"/>
                      <a:pt x="28575" y="57340"/>
                    </a:cubicBezTo>
                    <a:cubicBezTo>
                      <a:pt x="31135" y="58620"/>
                      <a:pt x="33292" y="60586"/>
                      <a:pt x="35719" y="62103"/>
                    </a:cubicBezTo>
                    <a:cubicBezTo>
                      <a:pt x="42280" y="66204"/>
                      <a:pt x="49920" y="70910"/>
                      <a:pt x="57150" y="74009"/>
                    </a:cubicBezTo>
                    <a:cubicBezTo>
                      <a:pt x="59457" y="74998"/>
                      <a:pt x="61913" y="75596"/>
                      <a:pt x="64294" y="76390"/>
                    </a:cubicBezTo>
                    <a:cubicBezTo>
                      <a:pt x="69056" y="79565"/>
                      <a:pt x="74002" y="82481"/>
                      <a:pt x="78581" y="85915"/>
                    </a:cubicBezTo>
                    <a:cubicBezTo>
                      <a:pt x="80744" y="87537"/>
                      <a:pt x="91763" y="96078"/>
                      <a:pt x="95250" y="97821"/>
                    </a:cubicBezTo>
                    <a:cubicBezTo>
                      <a:pt x="97495" y="98944"/>
                      <a:pt x="100013" y="99409"/>
                      <a:pt x="102394" y="100203"/>
                    </a:cubicBezTo>
                    <a:cubicBezTo>
                      <a:pt x="106097" y="103906"/>
                      <a:pt x="111380" y="110121"/>
                      <a:pt x="116681" y="112109"/>
                    </a:cubicBezTo>
                    <a:cubicBezTo>
                      <a:pt x="120471" y="113530"/>
                      <a:pt x="124619" y="113696"/>
                      <a:pt x="128588" y="114490"/>
                    </a:cubicBezTo>
                    <a:cubicBezTo>
                      <a:pt x="137319" y="113696"/>
                      <a:pt x="146351" y="114518"/>
                      <a:pt x="154781" y="112109"/>
                    </a:cubicBezTo>
                    <a:cubicBezTo>
                      <a:pt x="165589" y="109021"/>
                      <a:pt x="161430" y="102042"/>
                      <a:pt x="159544" y="95440"/>
                    </a:cubicBezTo>
                    <a:cubicBezTo>
                      <a:pt x="158854" y="93026"/>
                      <a:pt x="157772" y="90731"/>
                      <a:pt x="157163" y="88296"/>
                    </a:cubicBezTo>
                    <a:cubicBezTo>
                      <a:pt x="156181" y="84370"/>
                      <a:pt x="156202" y="80180"/>
                      <a:pt x="154781" y="76390"/>
                    </a:cubicBezTo>
                    <a:cubicBezTo>
                      <a:pt x="151605" y="67921"/>
                      <a:pt x="149227" y="69777"/>
                      <a:pt x="142875" y="64484"/>
                    </a:cubicBezTo>
                    <a:cubicBezTo>
                      <a:pt x="131488" y="54995"/>
                      <a:pt x="139485" y="60415"/>
                      <a:pt x="130969" y="50196"/>
                    </a:cubicBezTo>
                    <a:cubicBezTo>
                      <a:pt x="128813" y="47609"/>
                      <a:pt x="125981" y="45640"/>
                      <a:pt x="123825" y="43053"/>
                    </a:cubicBezTo>
                    <a:cubicBezTo>
                      <a:pt x="121993" y="40854"/>
                      <a:pt x="120964" y="38048"/>
                      <a:pt x="119063" y="35909"/>
                    </a:cubicBezTo>
                    <a:cubicBezTo>
                      <a:pt x="114588" y="30875"/>
                      <a:pt x="109538" y="26384"/>
                      <a:pt x="104775" y="21621"/>
                    </a:cubicBezTo>
                    <a:cubicBezTo>
                      <a:pt x="96509" y="13356"/>
                      <a:pt x="86122" y="6143"/>
                      <a:pt x="78581" y="257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1" name="Freeform 280"/>
              <p:cNvSpPr/>
              <p:nvPr/>
            </p:nvSpPr>
            <p:spPr>
              <a:xfrm>
                <a:off x="9220600" y="3142257"/>
                <a:ext cx="161925" cy="97645"/>
              </a:xfrm>
              <a:custGeom>
                <a:avLst/>
                <a:gdLst>
                  <a:gd name="connsiteX0" fmla="*/ 90488 w 161925"/>
                  <a:gd name="connsiteY0" fmla="*/ 7157 h 97645"/>
                  <a:gd name="connsiteX1" fmla="*/ 45244 w 161925"/>
                  <a:gd name="connsiteY1" fmla="*/ 4776 h 97645"/>
                  <a:gd name="connsiteX2" fmla="*/ 35719 w 161925"/>
                  <a:gd name="connsiteY2" fmla="*/ 2395 h 97645"/>
                  <a:gd name="connsiteX3" fmla="*/ 23813 w 161925"/>
                  <a:gd name="connsiteY3" fmla="*/ 13 h 97645"/>
                  <a:gd name="connsiteX4" fmla="*/ 0 w 161925"/>
                  <a:gd name="connsiteY4" fmla="*/ 9538 h 97645"/>
                  <a:gd name="connsiteX5" fmla="*/ 16669 w 161925"/>
                  <a:gd name="connsiteY5" fmla="*/ 35732 h 97645"/>
                  <a:gd name="connsiteX6" fmla="*/ 23813 w 161925"/>
                  <a:gd name="connsiteY6" fmla="*/ 42876 h 97645"/>
                  <a:gd name="connsiteX7" fmla="*/ 35719 w 161925"/>
                  <a:gd name="connsiteY7" fmla="*/ 59545 h 97645"/>
                  <a:gd name="connsiteX8" fmla="*/ 40481 w 161925"/>
                  <a:gd name="connsiteY8" fmla="*/ 66688 h 97645"/>
                  <a:gd name="connsiteX9" fmla="*/ 50006 w 161925"/>
                  <a:gd name="connsiteY9" fmla="*/ 73832 h 97645"/>
                  <a:gd name="connsiteX10" fmla="*/ 69056 w 161925"/>
                  <a:gd name="connsiteY10" fmla="*/ 78595 h 97645"/>
                  <a:gd name="connsiteX11" fmla="*/ 92869 w 161925"/>
                  <a:gd name="connsiteY11" fmla="*/ 92882 h 97645"/>
                  <a:gd name="connsiteX12" fmla="*/ 100013 w 161925"/>
                  <a:gd name="connsiteY12" fmla="*/ 95263 h 97645"/>
                  <a:gd name="connsiteX13" fmla="*/ 114300 w 161925"/>
                  <a:gd name="connsiteY13" fmla="*/ 97645 h 97645"/>
                  <a:gd name="connsiteX14" fmla="*/ 150019 w 161925"/>
                  <a:gd name="connsiteY14" fmla="*/ 92882 h 97645"/>
                  <a:gd name="connsiteX15" fmla="*/ 157163 w 161925"/>
                  <a:gd name="connsiteY15" fmla="*/ 90501 h 97645"/>
                  <a:gd name="connsiteX16" fmla="*/ 161925 w 161925"/>
                  <a:gd name="connsiteY16" fmla="*/ 83357 h 97645"/>
                  <a:gd name="connsiteX17" fmla="*/ 157163 w 161925"/>
                  <a:gd name="connsiteY17" fmla="*/ 61926 h 97645"/>
                  <a:gd name="connsiteX18" fmla="*/ 150019 w 161925"/>
                  <a:gd name="connsiteY18" fmla="*/ 57163 h 97645"/>
                  <a:gd name="connsiteX19" fmla="*/ 140494 w 161925"/>
                  <a:gd name="connsiteY19" fmla="*/ 50020 h 97645"/>
                  <a:gd name="connsiteX20" fmla="*/ 133350 w 161925"/>
                  <a:gd name="connsiteY20" fmla="*/ 47638 h 97645"/>
                  <a:gd name="connsiteX21" fmla="*/ 119063 w 161925"/>
                  <a:gd name="connsiteY21" fmla="*/ 38113 h 97645"/>
                  <a:gd name="connsiteX22" fmla="*/ 109538 w 161925"/>
                  <a:gd name="connsiteY22" fmla="*/ 23826 h 97645"/>
                  <a:gd name="connsiteX23" fmla="*/ 90488 w 161925"/>
                  <a:gd name="connsiteY23" fmla="*/ 7157 h 9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1925" h="97645">
                    <a:moveTo>
                      <a:pt x="90488" y="7157"/>
                    </a:moveTo>
                    <a:cubicBezTo>
                      <a:pt x="79772" y="3982"/>
                      <a:pt x="60289" y="6084"/>
                      <a:pt x="45244" y="4776"/>
                    </a:cubicBezTo>
                    <a:cubicBezTo>
                      <a:pt x="41984" y="4493"/>
                      <a:pt x="38914" y="3105"/>
                      <a:pt x="35719" y="2395"/>
                    </a:cubicBezTo>
                    <a:cubicBezTo>
                      <a:pt x="31768" y="1517"/>
                      <a:pt x="27782" y="807"/>
                      <a:pt x="23813" y="13"/>
                    </a:cubicBezTo>
                    <a:cubicBezTo>
                      <a:pt x="13216" y="1191"/>
                      <a:pt x="0" y="-3907"/>
                      <a:pt x="0" y="9538"/>
                    </a:cubicBezTo>
                    <a:cubicBezTo>
                      <a:pt x="0" y="24348"/>
                      <a:pt x="5678" y="24742"/>
                      <a:pt x="16669" y="35732"/>
                    </a:cubicBezTo>
                    <a:lnTo>
                      <a:pt x="23813" y="42876"/>
                    </a:lnTo>
                    <a:cubicBezTo>
                      <a:pt x="28188" y="56002"/>
                      <a:pt x="23392" y="45164"/>
                      <a:pt x="35719" y="59545"/>
                    </a:cubicBezTo>
                    <a:cubicBezTo>
                      <a:pt x="37581" y="61718"/>
                      <a:pt x="38458" y="64665"/>
                      <a:pt x="40481" y="66688"/>
                    </a:cubicBezTo>
                    <a:cubicBezTo>
                      <a:pt x="43287" y="69494"/>
                      <a:pt x="46560" y="71863"/>
                      <a:pt x="50006" y="73832"/>
                    </a:cubicBezTo>
                    <a:cubicBezTo>
                      <a:pt x="53946" y="76084"/>
                      <a:pt x="66045" y="77993"/>
                      <a:pt x="69056" y="78595"/>
                    </a:cubicBezTo>
                    <a:cubicBezTo>
                      <a:pt x="79214" y="85367"/>
                      <a:pt x="82617" y="88489"/>
                      <a:pt x="92869" y="92882"/>
                    </a:cubicBezTo>
                    <a:cubicBezTo>
                      <a:pt x="95176" y="93871"/>
                      <a:pt x="97563" y="94718"/>
                      <a:pt x="100013" y="95263"/>
                    </a:cubicBezTo>
                    <a:cubicBezTo>
                      <a:pt x="104726" y="96310"/>
                      <a:pt x="109538" y="96851"/>
                      <a:pt x="114300" y="97645"/>
                    </a:cubicBezTo>
                    <a:cubicBezTo>
                      <a:pt x="126206" y="96057"/>
                      <a:pt x="138171" y="94857"/>
                      <a:pt x="150019" y="92882"/>
                    </a:cubicBezTo>
                    <a:cubicBezTo>
                      <a:pt x="152495" y="92469"/>
                      <a:pt x="155203" y="92069"/>
                      <a:pt x="157163" y="90501"/>
                    </a:cubicBezTo>
                    <a:cubicBezTo>
                      <a:pt x="159398" y="88713"/>
                      <a:pt x="160338" y="85738"/>
                      <a:pt x="161925" y="83357"/>
                    </a:cubicBezTo>
                    <a:cubicBezTo>
                      <a:pt x="161901" y="83211"/>
                      <a:pt x="159631" y="65011"/>
                      <a:pt x="157163" y="61926"/>
                    </a:cubicBezTo>
                    <a:cubicBezTo>
                      <a:pt x="155375" y="59691"/>
                      <a:pt x="152348" y="58827"/>
                      <a:pt x="150019" y="57163"/>
                    </a:cubicBezTo>
                    <a:cubicBezTo>
                      <a:pt x="146790" y="54856"/>
                      <a:pt x="143940" y="51989"/>
                      <a:pt x="140494" y="50020"/>
                    </a:cubicBezTo>
                    <a:cubicBezTo>
                      <a:pt x="138315" y="48775"/>
                      <a:pt x="135544" y="48857"/>
                      <a:pt x="133350" y="47638"/>
                    </a:cubicBezTo>
                    <a:cubicBezTo>
                      <a:pt x="128347" y="44858"/>
                      <a:pt x="119063" y="38113"/>
                      <a:pt x="119063" y="38113"/>
                    </a:cubicBezTo>
                    <a:cubicBezTo>
                      <a:pt x="115888" y="33351"/>
                      <a:pt x="114300" y="27001"/>
                      <a:pt x="109538" y="23826"/>
                    </a:cubicBezTo>
                    <a:cubicBezTo>
                      <a:pt x="100917" y="18079"/>
                      <a:pt x="101204" y="10332"/>
                      <a:pt x="90488" y="7157"/>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2" name="Freeform 281"/>
              <p:cNvSpPr/>
              <p:nvPr/>
            </p:nvSpPr>
            <p:spPr>
              <a:xfrm>
                <a:off x="9203811" y="3368489"/>
                <a:ext cx="100133" cy="119063"/>
              </a:xfrm>
              <a:custGeom>
                <a:avLst/>
                <a:gdLst>
                  <a:gd name="connsiteX0" fmla="*/ 2502 w 100133"/>
                  <a:gd name="connsiteY0" fmla="*/ 16669 h 119063"/>
                  <a:gd name="connsiteX1" fmla="*/ 7264 w 100133"/>
                  <a:gd name="connsiteY1" fmla="*/ 59531 h 119063"/>
                  <a:gd name="connsiteX2" fmla="*/ 12027 w 100133"/>
                  <a:gd name="connsiteY2" fmla="*/ 66675 h 119063"/>
                  <a:gd name="connsiteX3" fmla="*/ 19170 w 100133"/>
                  <a:gd name="connsiteY3" fmla="*/ 71438 h 119063"/>
                  <a:gd name="connsiteX4" fmla="*/ 23933 w 100133"/>
                  <a:gd name="connsiteY4" fmla="*/ 78581 h 119063"/>
                  <a:gd name="connsiteX5" fmla="*/ 28695 w 100133"/>
                  <a:gd name="connsiteY5" fmla="*/ 92869 h 119063"/>
                  <a:gd name="connsiteX6" fmla="*/ 31077 w 100133"/>
                  <a:gd name="connsiteY6" fmla="*/ 100013 h 119063"/>
                  <a:gd name="connsiteX7" fmla="*/ 38220 w 100133"/>
                  <a:gd name="connsiteY7" fmla="*/ 114300 h 119063"/>
                  <a:gd name="connsiteX8" fmla="*/ 45364 w 100133"/>
                  <a:gd name="connsiteY8" fmla="*/ 119063 h 119063"/>
                  <a:gd name="connsiteX9" fmla="*/ 52508 w 100133"/>
                  <a:gd name="connsiteY9" fmla="*/ 116681 h 119063"/>
                  <a:gd name="connsiteX10" fmla="*/ 66795 w 100133"/>
                  <a:gd name="connsiteY10" fmla="*/ 107156 h 119063"/>
                  <a:gd name="connsiteX11" fmla="*/ 73939 w 100133"/>
                  <a:gd name="connsiteY11" fmla="*/ 73819 h 119063"/>
                  <a:gd name="connsiteX12" fmla="*/ 81083 w 100133"/>
                  <a:gd name="connsiteY12" fmla="*/ 59531 h 119063"/>
                  <a:gd name="connsiteX13" fmla="*/ 97752 w 100133"/>
                  <a:gd name="connsiteY13" fmla="*/ 52388 h 119063"/>
                  <a:gd name="connsiteX14" fmla="*/ 100133 w 100133"/>
                  <a:gd name="connsiteY14" fmla="*/ 45244 h 119063"/>
                  <a:gd name="connsiteX15" fmla="*/ 92989 w 100133"/>
                  <a:gd name="connsiteY15" fmla="*/ 21431 h 119063"/>
                  <a:gd name="connsiteX16" fmla="*/ 78702 w 100133"/>
                  <a:gd name="connsiteY16" fmla="*/ 11906 h 119063"/>
                  <a:gd name="connsiteX17" fmla="*/ 73939 w 100133"/>
                  <a:gd name="connsiteY17" fmla="*/ 4763 h 119063"/>
                  <a:gd name="connsiteX18" fmla="*/ 59652 w 100133"/>
                  <a:gd name="connsiteY18" fmla="*/ 2381 h 119063"/>
                  <a:gd name="connsiteX19" fmla="*/ 40602 w 100133"/>
                  <a:gd name="connsiteY19" fmla="*/ 0 h 119063"/>
                  <a:gd name="connsiteX20" fmla="*/ 2502 w 100133"/>
                  <a:gd name="connsiteY20" fmla="*/ 16669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133" h="119063">
                    <a:moveTo>
                      <a:pt x="2502" y="16669"/>
                    </a:moveTo>
                    <a:cubicBezTo>
                      <a:pt x="-3054" y="26591"/>
                      <a:pt x="1583" y="48170"/>
                      <a:pt x="7264" y="59531"/>
                    </a:cubicBezTo>
                    <a:cubicBezTo>
                      <a:pt x="8544" y="62091"/>
                      <a:pt x="10003" y="64651"/>
                      <a:pt x="12027" y="66675"/>
                    </a:cubicBezTo>
                    <a:cubicBezTo>
                      <a:pt x="14051" y="68699"/>
                      <a:pt x="16789" y="69850"/>
                      <a:pt x="19170" y="71438"/>
                    </a:cubicBezTo>
                    <a:cubicBezTo>
                      <a:pt x="20758" y="73819"/>
                      <a:pt x="22771" y="75966"/>
                      <a:pt x="23933" y="78581"/>
                    </a:cubicBezTo>
                    <a:cubicBezTo>
                      <a:pt x="25972" y="83169"/>
                      <a:pt x="27107" y="88106"/>
                      <a:pt x="28695" y="92869"/>
                    </a:cubicBezTo>
                    <a:lnTo>
                      <a:pt x="31077" y="100013"/>
                    </a:lnTo>
                    <a:cubicBezTo>
                      <a:pt x="33014" y="105823"/>
                      <a:pt x="33604" y="109684"/>
                      <a:pt x="38220" y="114300"/>
                    </a:cubicBezTo>
                    <a:cubicBezTo>
                      <a:pt x="40244" y="116324"/>
                      <a:pt x="42983" y="117475"/>
                      <a:pt x="45364" y="119063"/>
                    </a:cubicBezTo>
                    <a:cubicBezTo>
                      <a:pt x="47745" y="118269"/>
                      <a:pt x="50314" y="117900"/>
                      <a:pt x="52508" y="116681"/>
                    </a:cubicBezTo>
                    <a:cubicBezTo>
                      <a:pt x="57511" y="113901"/>
                      <a:pt x="66795" y="107156"/>
                      <a:pt x="66795" y="107156"/>
                    </a:cubicBezTo>
                    <a:cubicBezTo>
                      <a:pt x="69800" y="83124"/>
                      <a:pt x="67153" y="94178"/>
                      <a:pt x="73939" y="73819"/>
                    </a:cubicBezTo>
                    <a:cubicBezTo>
                      <a:pt x="75876" y="68008"/>
                      <a:pt x="76466" y="64148"/>
                      <a:pt x="81083" y="59531"/>
                    </a:cubicBezTo>
                    <a:cubicBezTo>
                      <a:pt x="86564" y="54050"/>
                      <a:pt x="90466" y="54209"/>
                      <a:pt x="97752" y="52388"/>
                    </a:cubicBezTo>
                    <a:cubicBezTo>
                      <a:pt x="98546" y="50007"/>
                      <a:pt x="100133" y="47754"/>
                      <a:pt x="100133" y="45244"/>
                    </a:cubicBezTo>
                    <a:cubicBezTo>
                      <a:pt x="100133" y="37831"/>
                      <a:pt x="99445" y="27080"/>
                      <a:pt x="92989" y="21431"/>
                    </a:cubicBezTo>
                    <a:cubicBezTo>
                      <a:pt x="88682" y="17662"/>
                      <a:pt x="78702" y="11906"/>
                      <a:pt x="78702" y="11906"/>
                    </a:cubicBezTo>
                    <a:cubicBezTo>
                      <a:pt x="77114" y="9525"/>
                      <a:pt x="76499" y="6043"/>
                      <a:pt x="73939" y="4763"/>
                    </a:cubicBezTo>
                    <a:cubicBezTo>
                      <a:pt x="69621" y="2604"/>
                      <a:pt x="64432" y="3064"/>
                      <a:pt x="59652" y="2381"/>
                    </a:cubicBezTo>
                    <a:cubicBezTo>
                      <a:pt x="53317" y="1476"/>
                      <a:pt x="46952" y="794"/>
                      <a:pt x="40602" y="0"/>
                    </a:cubicBezTo>
                    <a:cubicBezTo>
                      <a:pt x="8526" y="2467"/>
                      <a:pt x="8058" y="6747"/>
                      <a:pt x="2502" y="1666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3" name="Freeform 282"/>
              <p:cNvSpPr/>
              <p:nvPr/>
            </p:nvSpPr>
            <p:spPr>
              <a:xfrm>
                <a:off x="8962288" y="3575468"/>
                <a:ext cx="163062" cy="88296"/>
              </a:xfrm>
              <a:custGeom>
                <a:avLst/>
                <a:gdLst>
                  <a:gd name="connsiteX0" fmla="*/ 103531 w 163062"/>
                  <a:gd name="connsiteY0" fmla="*/ 190 h 88296"/>
                  <a:gd name="connsiteX1" fmla="*/ 89243 w 163062"/>
                  <a:gd name="connsiteY1" fmla="*/ 4952 h 88296"/>
                  <a:gd name="connsiteX2" fmla="*/ 67812 w 163062"/>
                  <a:gd name="connsiteY2" fmla="*/ 9715 h 88296"/>
                  <a:gd name="connsiteX3" fmla="*/ 46381 w 163062"/>
                  <a:gd name="connsiteY3" fmla="*/ 21621 h 88296"/>
                  <a:gd name="connsiteX4" fmla="*/ 39237 w 163062"/>
                  <a:gd name="connsiteY4" fmla="*/ 19240 h 88296"/>
                  <a:gd name="connsiteX5" fmla="*/ 5900 w 163062"/>
                  <a:gd name="connsiteY5" fmla="*/ 24002 h 88296"/>
                  <a:gd name="connsiteX6" fmla="*/ 3518 w 163062"/>
                  <a:gd name="connsiteY6" fmla="*/ 45434 h 88296"/>
                  <a:gd name="connsiteX7" fmla="*/ 10662 w 163062"/>
                  <a:gd name="connsiteY7" fmla="*/ 47815 h 88296"/>
                  <a:gd name="connsiteX8" fmla="*/ 17806 w 163062"/>
                  <a:gd name="connsiteY8" fmla="*/ 52577 h 88296"/>
                  <a:gd name="connsiteX9" fmla="*/ 36856 w 163062"/>
                  <a:gd name="connsiteY9" fmla="*/ 57340 h 88296"/>
                  <a:gd name="connsiteX10" fmla="*/ 51143 w 163062"/>
                  <a:gd name="connsiteY10" fmla="*/ 62102 h 88296"/>
                  <a:gd name="connsiteX11" fmla="*/ 72575 w 163062"/>
                  <a:gd name="connsiteY11" fmla="*/ 69246 h 88296"/>
                  <a:gd name="connsiteX12" fmla="*/ 79718 w 163062"/>
                  <a:gd name="connsiteY12" fmla="*/ 71627 h 88296"/>
                  <a:gd name="connsiteX13" fmla="*/ 108293 w 163062"/>
                  <a:gd name="connsiteY13" fmla="*/ 85915 h 88296"/>
                  <a:gd name="connsiteX14" fmla="*/ 115437 w 163062"/>
                  <a:gd name="connsiteY14" fmla="*/ 88296 h 88296"/>
                  <a:gd name="connsiteX15" fmla="*/ 146393 w 163062"/>
                  <a:gd name="connsiteY15" fmla="*/ 85915 h 88296"/>
                  <a:gd name="connsiteX16" fmla="*/ 153537 w 163062"/>
                  <a:gd name="connsiteY16" fmla="*/ 81152 h 88296"/>
                  <a:gd name="connsiteX17" fmla="*/ 163062 w 163062"/>
                  <a:gd name="connsiteY17" fmla="*/ 66865 h 88296"/>
                  <a:gd name="connsiteX18" fmla="*/ 160681 w 163062"/>
                  <a:gd name="connsiteY18" fmla="*/ 33527 h 88296"/>
                  <a:gd name="connsiteX19" fmla="*/ 153537 w 163062"/>
                  <a:gd name="connsiteY19" fmla="*/ 12096 h 88296"/>
                  <a:gd name="connsiteX20" fmla="*/ 103531 w 163062"/>
                  <a:gd name="connsiteY20" fmla="*/ 190 h 8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3062" h="88296">
                    <a:moveTo>
                      <a:pt x="103531" y="190"/>
                    </a:moveTo>
                    <a:cubicBezTo>
                      <a:pt x="92816" y="-1001"/>
                      <a:pt x="94113" y="3734"/>
                      <a:pt x="89243" y="4952"/>
                    </a:cubicBezTo>
                    <a:cubicBezTo>
                      <a:pt x="84316" y="6184"/>
                      <a:pt x="73383" y="6620"/>
                      <a:pt x="67812" y="9715"/>
                    </a:cubicBezTo>
                    <a:cubicBezTo>
                      <a:pt x="43248" y="23361"/>
                      <a:pt x="62546" y="16233"/>
                      <a:pt x="46381" y="21621"/>
                    </a:cubicBezTo>
                    <a:cubicBezTo>
                      <a:pt x="44000" y="20827"/>
                      <a:pt x="41747" y="19240"/>
                      <a:pt x="39237" y="19240"/>
                    </a:cubicBezTo>
                    <a:cubicBezTo>
                      <a:pt x="18368" y="19240"/>
                      <a:pt x="19120" y="19595"/>
                      <a:pt x="5900" y="24002"/>
                    </a:cubicBezTo>
                    <a:cubicBezTo>
                      <a:pt x="669" y="31847"/>
                      <a:pt x="-3063" y="33917"/>
                      <a:pt x="3518" y="45434"/>
                    </a:cubicBezTo>
                    <a:cubicBezTo>
                      <a:pt x="4763" y="47613"/>
                      <a:pt x="8417" y="46693"/>
                      <a:pt x="10662" y="47815"/>
                    </a:cubicBezTo>
                    <a:cubicBezTo>
                      <a:pt x="13222" y="49095"/>
                      <a:pt x="15246" y="51297"/>
                      <a:pt x="17806" y="52577"/>
                    </a:cubicBezTo>
                    <a:cubicBezTo>
                      <a:pt x="23591" y="55470"/>
                      <a:pt x="30870" y="55707"/>
                      <a:pt x="36856" y="57340"/>
                    </a:cubicBezTo>
                    <a:cubicBezTo>
                      <a:pt x="41699" y="58661"/>
                      <a:pt x="46381" y="60515"/>
                      <a:pt x="51143" y="62102"/>
                    </a:cubicBezTo>
                    <a:lnTo>
                      <a:pt x="72575" y="69246"/>
                    </a:lnTo>
                    <a:lnTo>
                      <a:pt x="79718" y="71627"/>
                    </a:lnTo>
                    <a:cubicBezTo>
                      <a:pt x="98181" y="83935"/>
                      <a:pt x="88578" y="79343"/>
                      <a:pt x="108293" y="85915"/>
                    </a:cubicBezTo>
                    <a:lnTo>
                      <a:pt x="115437" y="88296"/>
                    </a:lnTo>
                    <a:cubicBezTo>
                      <a:pt x="125756" y="87502"/>
                      <a:pt x="136221" y="87822"/>
                      <a:pt x="146393" y="85915"/>
                    </a:cubicBezTo>
                    <a:cubicBezTo>
                      <a:pt x="149206" y="85388"/>
                      <a:pt x="151652" y="83306"/>
                      <a:pt x="153537" y="81152"/>
                    </a:cubicBezTo>
                    <a:cubicBezTo>
                      <a:pt x="157306" y="76845"/>
                      <a:pt x="163062" y="66865"/>
                      <a:pt x="163062" y="66865"/>
                    </a:cubicBezTo>
                    <a:cubicBezTo>
                      <a:pt x="162268" y="55752"/>
                      <a:pt x="161789" y="44613"/>
                      <a:pt x="160681" y="33527"/>
                    </a:cubicBezTo>
                    <a:cubicBezTo>
                      <a:pt x="160456" y="31274"/>
                      <a:pt x="159421" y="14450"/>
                      <a:pt x="153537" y="12096"/>
                    </a:cubicBezTo>
                    <a:cubicBezTo>
                      <a:pt x="146600" y="9321"/>
                      <a:pt x="114246" y="1381"/>
                      <a:pt x="103531" y="19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4" name="Freeform 283"/>
              <p:cNvSpPr/>
              <p:nvPr/>
            </p:nvSpPr>
            <p:spPr>
              <a:xfrm>
                <a:off x="8558613" y="3830452"/>
                <a:ext cx="716803" cy="288131"/>
              </a:xfrm>
              <a:custGeom>
                <a:avLst/>
                <a:gdLst>
                  <a:gd name="connsiteX0" fmla="*/ 9525 w 716803"/>
                  <a:gd name="connsiteY0" fmla="*/ 33337 h 288131"/>
                  <a:gd name="connsiteX1" fmla="*/ 7143 w 716803"/>
                  <a:gd name="connsiteY1" fmla="*/ 45243 h 288131"/>
                  <a:gd name="connsiteX2" fmla="*/ 2381 w 716803"/>
                  <a:gd name="connsiteY2" fmla="*/ 52387 h 288131"/>
                  <a:gd name="connsiteX3" fmla="*/ 0 w 716803"/>
                  <a:gd name="connsiteY3" fmla="*/ 59531 h 288131"/>
                  <a:gd name="connsiteX4" fmla="*/ 2381 w 716803"/>
                  <a:gd name="connsiteY4" fmla="*/ 66675 h 288131"/>
                  <a:gd name="connsiteX5" fmla="*/ 9525 w 716803"/>
                  <a:gd name="connsiteY5" fmla="*/ 69056 h 288131"/>
                  <a:gd name="connsiteX6" fmla="*/ 21431 w 716803"/>
                  <a:gd name="connsiteY6" fmla="*/ 71437 h 288131"/>
                  <a:gd name="connsiteX7" fmla="*/ 30956 w 716803"/>
                  <a:gd name="connsiteY7" fmla="*/ 73818 h 288131"/>
                  <a:gd name="connsiteX8" fmla="*/ 40481 w 716803"/>
                  <a:gd name="connsiteY8" fmla="*/ 95250 h 288131"/>
                  <a:gd name="connsiteX9" fmla="*/ 42862 w 716803"/>
                  <a:gd name="connsiteY9" fmla="*/ 102393 h 288131"/>
                  <a:gd name="connsiteX10" fmla="*/ 52387 w 716803"/>
                  <a:gd name="connsiteY10" fmla="*/ 116681 h 288131"/>
                  <a:gd name="connsiteX11" fmla="*/ 54768 w 716803"/>
                  <a:gd name="connsiteY11" fmla="*/ 123825 h 288131"/>
                  <a:gd name="connsiteX12" fmla="*/ 64293 w 716803"/>
                  <a:gd name="connsiteY12" fmla="*/ 138112 h 288131"/>
                  <a:gd name="connsiteX13" fmla="*/ 66675 w 716803"/>
                  <a:gd name="connsiteY13" fmla="*/ 145256 h 288131"/>
                  <a:gd name="connsiteX14" fmla="*/ 76200 w 716803"/>
                  <a:gd name="connsiteY14" fmla="*/ 159543 h 288131"/>
                  <a:gd name="connsiteX15" fmla="*/ 80962 w 716803"/>
                  <a:gd name="connsiteY15" fmla="*/ 166687 h 288131"/>
                  <a:gd name="connsiteX16" fmla="*/ 83343 w 716803"/>
                  <a:gd name="connsiteY16" fmla="*/ 176212 h 288131"/>
                  <a:gd name="connsiteX17" fmla="*/ 157162 w 716803"/>
                  <a:gd name="connsiteY17" fmla="*/ 169068 h 288131"/>
                  <a:gd name="connsiteX18" fmla="*/ 161925 w 716803"/>
                  <a:gd name="connsiteY18" fmla="*/ 145256 h 288131"/>
                  <a:gd name="connsiteX19" fmla="*/ 169068 w 716803"/>
                  <a:gd name="connsiteY19" fmla="*/ 140493 h 288131"/>
                  <a:gd name="connsiteX20" fmla="*/ 190500 w 716803"/>
                  <a:gd name="connsiteY20" fmla="*/ 133350 h 288131"/>
                  <a:gd name="connsiteX21" fmla="*/ 197643 w 716803"/>
                  <a:gd name="connsiteY21" fmla="*/ 130968 h 288131"/>
                  <a:gd name="connsiteX22" fmla="*/ 204787 w 716803"/>
                  <a:gd name="connsiteY22" fmla="*/ 133350 h 288131"/>
                  <a:gd name="connsiteX23" fmla="*/ 207168 w 716803"/>
                  <a:gd name="connsiteY23" fmla="*/ 140493 h 288131"/>
                  <a:gd name="connsiteX24" fmla="*/ 209550 w 716803"/>
                  <a:gd name="connsiteY24" fmla="*/ 154781 h 288131"/>
                  <a:gd name="connsiteX25" fmla="*/ 223837 w 716803"/>
                  <a:gd name="connsiteY25" fmla="*/ 159543 h 288131"/>
                  <a:gd name="connsiteX26" fmla="*/ 271462 w 716803"/>
                  <a:gd name="connsiteY26" fmla="*/ 161925 h 288131"/>
                  <a:gd name="connsiteX27" fmla="*/ 276225 w 716803"/>
                  <a:gd name="connsiteY27" fmla="*/ 169068 h 288131"/>
                  <a:gd name="connsiteX28" fmla="*/ 278606 w 716803"/>
                  <a:gd name="connsiteY28" fmla="*/ 176212 h 288131"/>
                  <a:gd name="connsiteX29" fmla="*/ 292893 w 716803"/>
                  <a:gd name="connsiteY29" fmla="*/ 183356 h 288131"/>
                  <a:gd name="connsiteX30" fmla="*/ 364331 w 716803"/>
                  <a:gd name="connsiteY30" fmla="*/ 180975 h 288131"/>
                  <a:gd name="connsiteX31" fmla="*/ 371475 w 716803"/>
                  <a:gd name="connsiteY31" fmla="*/ 176212 h 288131"/>
                  <a:gd name="connsiteX32" fmla="*/ 366712 w 716803"/>
                  <a:gd name="connsiteY32" fmla="*/ 152400 h 288131"/>
                  <a:gd name="connsiteX33" fmla="*/ 373856 w 716803"/>
                  <a:gd name="connsiteY33" fmla="*/ 145256 h 288131"/>
                  <a:gd name="connsiteX34" fmla="*/ 409575 w 716803"/>
                  <a:gd name="connsiteY34" fmla="*/ 147637 h 288131"/>
                  <a:gd name="connsiteX35" fmla="*/ 426243 w 716803"/>
                  <a:gd name="connsiteY35" fmla="*/ 150018 h 288131"/>
                  <a:gd name="connsiteX36" fmla="*/ 447675 w 716803"/>
                  <a:gd name="connsiteY36" fmla="*/ 154781 h 288131"/>
                  <a:gd name="connsiteX37" fmla="*/ 454818 w 716803"/>
                  <a:gd name="connsiteY37" fmla="*/ 161925 h 288131"/>
                  <a:gd name="connsiteX38" fmla="*/ 457200 w 716803"/>
                  <a:gd name="connsiteY38" fmla="*/ 183356 h 288131"/>
                  <a:gd name="connsiteX39" fmla="*/ 459581 w 716803"/>
                  <a:gd name="connsiteY39" fmla="*/ 190500 h 288131"/>
                  <a:gd name="connsiteX40" fmla="*/ 478631 w 716803"/>
                  <a:gd name="connsiteY40" fmla="*/ 197643 h 288131"/>
                  <a:gd name="connsiteX41" fmla="*/ 488156 w 716803"/>
                  <a:gd name="connsiteY41" fmla="*/ 200025 h 288131"/>
                  <a:gd name="connsiteX42" fmla="*/ 495300 w 716803"/>
                  <a:gd name="connsiteY42" fmla="*/ 202406 h 288131"/>
                  <a:gd name="connsiteX43" fmla="*/ 526256 w 716803"/>
                  <a:gd name="connsiteY43" fmla="*/ 207168 h 288131"/>
                  <a:gd name="connsiteX44" fmla="*/ 535781 w 716803"/>
                  <a:gd name="connsiteY44" fmla="*/ 209550 h 288131"/>
                  <a:gd name="connsiteX45" fmla="*/ 552450 w 716803"/>
                  <a:gd name="connsiteY45" fmla="*/ 214312 h 288131"/>
                  <a:gd name="connsiteX46" fmla="*/ 576262 w 716803"/>
                  <a:gd name="connsiteY46" fmla="*/ 216693 h 288131"/>
                  <a:gd name="connsiteX47" fmla="*/ 583406 w 716803"/>
                  <a:gd name="connsiteY47" fmla="*/ 219075 h 288131"/>
                  <a:gd name="connsiteX48" fmla="*/ 597693 w 716803"/>
                  <a:gd name="connsiteY48" fmla="*/ 228600 h 288131"/>
                  <a:gd name="connsiteX49" fmla="*/ 609600 w 716803"/>
                  <a:gd name="connsiteY49" fmla="*/ 242887 h 288131"/>
                  <a:gd name="connsiteX50" fmla="*/ 614362 w 716803"/>
                  <a:gd name="connsiteY50" fmla="*/ 250031 h 288131"/>
                  <a:gd name="connsiteX51" fmla="*/ 621506 w 716803"/>
                  <a:gd name="connsiteY51" fmla="*/ 252412 h 288131"/>
                  <a:gd name="connsiteX52" fmla="*/ 626268 w 716803"/>
                  <a:gd name="connsiteY52" fmla="*/ 259556 h 288131"/>
                  <a:gd name="connsiteX53" fmla="*/ 633412 w 716803"/>
                  <a:gd name="connsiteY53" fmla="*/ 261937 h 288131"/>
                  <a:gd name="connsiteX54" fmla="*/ 640556 w 716803"/>
                  <a:gd name="connsiteY54" fmla="*/ 266700 h 288131"/>
                  <a:gd name="connsiteX55" fmla="*/ 654843 w 716803"/>
                  <a:gd name="connsiteY55" fmla="*/ 276225 h 288131"/>
                  <a:gd name="connsiteX56" fmla="*/ 659606 w 716803"/>
                  <a:gd name="connsiteY56" fmla="*/ 283368 h 288131"/>
                  <a:gd name="connsiteX57" fmla="*/ 673893 w 716803"/>
                  <a:gd name="connsiteY57" fmla="*/ 288131 h 288131"/>
                  <a:gd name="connsiteX58" fmla="*/ 681037 w 716803"/>
                  <a:gd name="connsiteY58" fmla="*/ 285750 h 288131"/>
                  <a:gd name="connsiteX59" fmla="*/ 695325 w 716803"/>
                  <a:gd name="connsiteY59" fmla="*/ 273843 h 288131"/>
                  <a:gd name="connsiteX60" fmla="*/ 702468 w 716803"/>
                  <a:gd name="connsiteY60" fmla="*/ 228600 h 288131"/>
                  <a:gd name="connsiteX61" fmla="*/ 709612 w 716803"/>
                  <a:gd name="connsiteY61" fmla="*/ 223837 h 288131"/>
                  <a:gd name="connsiteX62" fmla="*/ 716756 w 716803"/>
                  <a:gd name="connsiteY62" fmla="*/ 192881 h 288131"/>
                  <a:gd name="connsiteX63" fmla="*/ 714375 w 716803"/>
                  <a:gd name="connsiteY63" fmla="*/ 180975 h 288131"/>
                  <a:gd name="connsiteX64" fmla="*/ 707231 w 716803"/>
                  <a:gd name="connsiteY64" fmla="*/ 178593 h 288131"/>
                  <a:gd name="connsiteX65" fmla="*/ 697706 w 716803"/>
                  <a:gd name="connsiteY65" fmla="*/ 176212 h 288131"/>
                  <a:gd name="connsiteX66" fmla="*/ 683418 w 716803"/>
                  <a:gd name="connsiteY66" fmla="*/ 171450 h 288131"/>
                  <a:gd name="connsiteX67" fmla="*/ 678656 w 716803"/>
                  <a:gd name="connsiteY67" fmla="*/ 164306 h 288131"/>
                  <a:gd name="connsiteX68" fmla="*/ 676275 w 716803"/>
                  <a:gd name="connsiteY68" fmla="*/ 157162 h 288131"/>
                  <a:gd name="connsiteX69" fmla="*/ 659606 w 716803"/>
                  <a:gd name="connsiteY69" fmla="*/ 154781 h 288131"/>
                  <a:gd name="connsiteX70" fmla="*/ 645318 w 716803"/>
                  <a:gd name="connsiteY70" fmla="*/ 152400 h 288131"/>
                  <a:gd name="connsiteX71" fmla="*/ 638175 w 716803"/>
                  <a:gd name="connsiteY71" fmla="*/ 150018 h 288131"/>
                  <a:gd name="connsiteX72" fmla="*/ 628650 w 716803"/>
                  <a:gd name="connsiteY72" fmla="*/ 116681 h 288131"/>
                  <a:gd name="connsiteX73" fmla="*/ 623887 w 716803"/>
                  <a:gd name="connsiteY73" fmla="*/ 100012 h 288131"/>
                  <a:gd name="connsiteX74" fmla="*/ 607218 w 716803"/>
                  <a:gd name="connsiteY74" fmla="*/ 76200 h 288131"/>
                  <a:gd name="connsiteX75" fmla="*/ 585787 w 716803"/>
                  <a:gd name="connsiteY75" fmla="*/ 66675 h 288131"/>
                  <a:gd name="connsiteX76" fmla="*/ 571500 w 716803"/>
                  <a:gd name="connsiteY76" fmla="*/ 64293 h 288131"/>
                  <a:gd name="connsiteX77" fmla="*/ 561975 w 716803"/>
                  <a:gd name="connsiteY77" fmla="*/ 61912 h 288131"/>
                  <a:gd name="connsiteX78" fmla="*/ 535781 w 716803"/>
                  <a:gd name="connsiteY78" fmla="*/ 59531 h 288131"/>
                  <a:gd name="connsiteX79" fmla="*/ 495300 w 716803"/>
                  <a:gd name="connsiteY79" fmla="*/ 54768 h 288131"/>
                  <a:gd name="connsiteX80" fmla="*/ 461962 w 716803"/>
                  <a:gd name="connsiteY80" fmla="*/ 45243 h 288131"/>
                  <a:gd name="connsiteX81" fmla="*/ 445293 w 716803"/>
                  <a:gd name="connsiteY81" fmla="*/ 38100 h 288131"/>
                  <a:gd name="connsiteX82" fmla="*/ 431006 w 716803"/>
                  <a:gd name="connsiteY82" fmla="*/ 33337 h 288131"/>
                  <a:gd name="connsiteX83" fmla="*/ 423862 w 716803"/>
                  <a:gd name="connsiteY83" fmla="*/ 30956 h 288131"/>
                  <a:gd name="connsiteX84" fmla="*/ 407193 w 716803"/>
                  <a:gd name="connsiteY84" fmla="*/ 21431 h 288131"/>
                  <a:gd name="connsiteX85" fmla="*/ 400050 w 716803"/>
                  <a:gd name="connsiteY85" fmla="*/ 19050 h 288131"/>
                  <a:gd name="connsiteX86" fmla="*/ 376237 w 716803"/>
                  <a:gd name="connsiteY86" fmla="*/ 4762 h 288131"/>
                  <a:gd name="connsiteX87" fmla="*/ 361950 w 716803"/>
                  <a:gd name="connsiteY87" fmla="*/ 0 h 288131"/>
                  <a:gd name="connsiteX88" fmla="*/ 314325 w 716803"/>
                  <a:gd name="connsiteY88" fmla="*/ 2381 h 288131"/>
                  <a:gd name="connsiteX89" fmla="*/ 307181 w 716803"/>
                  <a:gd name="connsiteY89" fmla="*/ 4762 h 288131"/>
                  <a:gd name="connsiteX90" fmla="*/ 300037 w 716803"/>
                  <a:gd name="connsiteY90" fmla="*/ 14287 h 288131"/>
                  <a:gd name="connsiteX91" fmla="*/ 292893 w 716803"/>
                  <a:gd name="connsiteY91" fmla="*/ 28575 h 288131"/>
                  <a:gd name="connsiteX92" fmla="*/ 280987 w 716803"/>
                  <a:gd name="connsiteY92" fmla="*/ 35718 h 288131"/>
                  <a:gd name="connsiteX93" fmla="*/ 273843 w 716803"/>
                  <a:gd name="connsiteY93" fmla="*/ 40481 h 288131"/>
                  <a:gd name="connsiteX94" fmla="*/ 264318 w 716803"/>
                  <a:gd name="connsiteY94" fmla="*/ 42862 h 288131"/>
                  <a:gd name="connsiteX95" fmla="*/ 250031 w 716803"/>
                  <a:gd name="connsiteY95" fmla="*/ 47625 h 288131"/>
                  <a:gd name="connsiteX96" fmla="*/ 252412 w 716803"/>
                  <a:gd name="connsiteY96" fmla="*/ 40481 h 288131"/>
                  <a:gd name="connsiteX97" fmla="*/ 257175 w 716803"/>
                  <a:gd name="connsiteY97" fmla="*/ 30956 h 288131"/>
                  <a:gd name="connsiteX98" fmla="*/ 250031 w 716803"/>
                  <a:gd name="connsiteY98" fmla="*/ 9525 h 288131"/>
                  <a:gd name="connsiteX99" fmla="*/ 223837 w 716803"/>
                  <a:gd name="connsiteY99" fmla="*/ 11906 h 288131"/>
                  <a:gd name="connsiteX100" fmla="*/ 200025 w 716803"/>
                  <a:gd name="connsiteY100" fmla="*/ 16668 h 288131"/>
                  <a:gd name="connsiteX101" fmla="*/ 192881 w 716803"/>
                  <a:gd name="connsiteY101" fmla="*/ 21431 h 288131"/>
                  <a:gd name="connsiteX102" fmla="*/ 128587 w 716803"/>
                  <a:gd name="connsiteY102" fmla="*/ 21431 h 288131"/>
                  <a:gd name="connsiteX103" fmla="*/ 114300 w 716803"/>
                  <a:gd name="connsiteY103" fmla="*/ 19050 h 288131"/>
                  <a:gd name="connsiteX104" fmla="*/ 107156 w 716803"/>
                  <a:gd name="connsiteY104" fmla="*/ 16668 h 288131"/>
                  <a:gd name="connsiteX105" fmla="*/ 64293 w 716803"/>
                  <a:gd name="connsiteY105" fmla="*/ 19050 h 288131"/>
                  <a:gd name="connsiteX106" fmla="*/ 23812 w 716803"/>
                  <a:gd name="connsiteY106" fmla="*/ 23812 h 288131"/>
                  <a:gd name="connsiteX107" fmla="*/ 9525 w 716803"/>
                  <a:gd name="connsiteY107" fmla="*/ 33337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716803" h="288131">
                    <a:moveTo>
                      <a:pt x="9525" y="33337"/>
                    </a:moveTo>
                    <a:cubicBezTo>
                      <a:pt x="8731" y="37306"/>
                      <a:pt x="8564" y="41453"/>
                      <a:pt x="7143" y="45243"/>
                    </a:cubicBezTo>
                    <a:cubicBezTo>
                      <a:pt x="6138" y="47923"/>
                      <a:pt x="3661" y="49827"/>
                      <a:pt x="2381" y="52387"/>
                    </a:cubicBezTo>
                    <a:cubicBezTo>
                      <a:pt x="1259" y="54632"/>
                      <a:pt x="794" y="57150"/>
                      <a:pt x="0" y="59531"/>
                    </a:cubicBezTo>
                    <a:cubicBezTo>
                      <a:pt x="794" y="61912"/>
                      <a:pt x="606" y="64900"/>
                      <a:pt x="2381" y="66675"/>
                    </a:cubicBezTo>
                    <a:cubicBezTo>
                      <a:pt x="4156" y="68450"/>
                      <a:pt x="7090" y="68447"/>
                      <a:pt x="9525" y="69056"/>
                    </a:cubicBezTo>
                    <a:cubicBezTo>
                      <a:pt x="13451" y="70038"/>
                      <a:pt x="17480" y="70559"/>
                      <a:pt x="21431" y="71437"/>
                    </a:cubicBezTo>
                    <a:cubicBezTo>
                      <a:pt x="24626" y="72147"/>
                      <a:pt x="27781" y="73024"/>
                      <a:pt x="30956" y="73818"/>
                    </a:cubicBezTo>
                    <a:cubicBezTo>
                      <a:pt x="36623" y="90821"/>
                      <a:pt x="32933" y="83929"/>
                      <a:pt x="40481" y="95250"/>
                    </a:cubicBezTo>
                    <a:cubicBezTo>
                      <a:pt x="41275" y="97631"/>
                      <a:pt x="41643" y="100199"/>
                      <a:pt x="42862" y="102393"/>
                    </a:cubicBezTo>
                    <a:cubicBezTo>
                      <a:pt x="45642" y="107397"/>
                      <a:pt x="50577" y="111251"/>
                      <a:pt x="52387" y="116681"/>
                    </a:cubicBezTo>
                    <a:cubicBezTo>
                      <a:pt x="53181" y="119062"/>
                      <a:pt x="53549" y="121631"/>
                      <a:pt x="54768" y="123825"/>
                    </a:cubicBezTo>
                    <a:cubicBezTo>
                      <a:pt x="57548" y="128828"/>
                      <a:pt x="62483" y="132682"/>
                      <a:pt x="64293" y="138112"/>
                    </a:cubicBezTo>
                    <a:cubicBezTo>
                      <a:pt x="65087" y="140493"/>
                      <a:pt x="65456" y="143062"/>
                      <a:pt x="66675" y="145256"/>
                    </a:cubicBezTo>
                    <a:cubicBezTo>
                      <a:pt x="69455" y="150259"/>
                      <a:pt x="73025" y="154781"/>
                      <a:pt x="76200" y="159543"/>
                    </a:cubicBezTo>
                    <a:lnTo>
                      <a:pt x="80962" y="166687"/>
                    </a:lnTo>
                    <a:cubicBezTo>
                      <a:pt x="81756" y="169862"/>
                      <a:pt x="80088" y="175875"/>
                      <a:pt x="83343" y="176212"/>
                    </a:cubicBezTo>
                    <a:cubicBezTo>
                      <a:pt x="140314" y="182106"/>
                      <a:pt x="133131" y="185090"/>
                      <a:pt x="157162" y="169068"/>
                    </a:cubicBezTo>
                    <a:cubicBezTo>
                      <a:pt x="157171" y="169016"/>
                      <a:pt x="160345" y="147627"/>
                      <a:pt x="161925" y="145256"/>
                    </a:cubicBezTo>
                    <a:cubicBezTo>
                      <a:pt x="163512" y="142875"/>
                      <a:pt x="166453" y="141655"/>
                      <a:pt x="169068" y="140493"/>
                    </a:cubicBezTo>
                    <a:cubicBezTo>
                      <a:pt x="169074" y="140490"/>
                      <a:pt x="186925" y="134542"/>
                      <a:pt x="190500" y="133350"/>
                    </a:cubicBezTo>
                    <a:lnTo>
                      <a:pt x="197643" y="130968"/>
                    </a:lnTo>
                    <a:cubicBezTo>
                      <a:pt x="200024" y="131762"/>
                      <a:pt x="203012" y="131575"/>
                      <a:pt x="204787" y="133350"/>
                    </a:cubicBezTo>
                    <a:cubicBezTo>
                      <a:pt x="206562" y="135125"/>
                      <a:pt x="206623" y="138043"/>
                      <a:pt x="207168" y="140493"/>
                    </a:cubicBezTo>
                    <a:cubicBezTo>
                      <a:pt x="208216" y="145206"/>
                      <a:pt x="206370" y="151147"/>
                      <a:pt x="209550" y="154781"/>
                    </a:cubicBezTo>
                    <a:cubicBezTo>
                      <a:pt x="212856" y="158559"/>
                      <a:pt x="218823" y="159292"/>
                      <a:pt x="223837" y="159543"/>
                    </a:cubicBezTo>
                    <a:lnTo>
                      <a:pt x="271462" y="161925"/>
                    </a:lnTo>
                    <a:cubicBezTo>
                      <a:pt x="273050" y="164306"/>
                      <a:pt x="274945" y="166508"/>
                      <a:pt x="276225" y="169068"/>
                    </a:cubicBezTo>
                    <a:cubicBezTo>
                      <a:pt x="277348" y="171313"/>
                      <a:pt x="277038" y="174252"/>
                      <a:pt x="278606" y="176212"/>
                    </a:cubicBezTo>
                    <a:cubicBezTo>
                      <a:pt x="281963" y="180409"/>
                      <a:pt x="288187" y="181787"/>
                      <a:pt x="292893" y="183356"/>
                    </a:cubicBezTo>
                    <a:cubicBezTo>
                      <a:pt x="316706" y="182562"/>
                      <a:pt x="340603" y="183132"/>
                      <a:pt x="364331" y="180975"/>
                    </a:cubicBezTo>
                    <a:cubicBezTo>
                      <a:pt x="367181" y="180716"/>
                      <a:pt x="370854" y="179006"/>
                      <a:pt x="371475" y="176212"/>
                    </a:cubicBezTo>
                    <a:cubicBezTo>
                      <a:pt x="372934" y="169646"/>
                      <a:pt x="368992" y="159239"/>
                      <a:pt x="366712" y="152400"/>
                    </a:cubicBezTo>
                    <a:cubicBezTo>
                      <a:pt x="369093" y="150019"/>
                      <a:pt x="370509" y="145628"/>
                      <a:pt x="373856" y="145256"/>
                    </a:cubicBezTo>
                    <a:cubicBezTo>
                      <a:pt x="385716" y="143938"/>
                      <a:pt x="397691" y="146557"/>
                      <a:pt x="409575" y="147637"/>
                    </a:cubicBezTo>
                    <a:cubicBezTo>
                      <a:pt x="415164" y="148145"/>
                      <a:pt x="420696" y="149164"/>
                      <a:pt x="426243" y="150018"/>
                    </a:cubicBezTo>
                    <a:cubicBezTo>
                      <a:pt x="441806" y="152413"/>
                      <a:pt x="436574" y="151081"/>
                      <a:pt x="447675" y="154781"/>
                    </a:cubicBezTo>
                    <a:cubicBezTo>
                      <a:pt x="450056" y="157162"/>
                      <a:pt x="453753" y="158730"/>
                      <a:pt x="454818" y="161925"/>
                    </a:cubicBezTo>
                    <a:cubicBezTo>
                      <a:pt x="457091" y="168744"/>
                      <a:pt x="456018" y="176266"/>
                      <a:pt x="457200" y="183356"/>
                    </a:cubicBezTo>
                    <a:cubicBezTo>
                      <a:pt x="457613" y="185832"/>
                      <a:pt x="458013" y="188540"/>
                      <a:pt x="459581" y="190500"/>
                    </a:cubicBezTo>
                    <a:cubicBezTo>
                      <a:pt x="464351" y="196462"/>
                      <a:pt x="472039" y="196178"/>
                      <a:pt x="478631" y="197643"/>
                    </a:cubicBezTo>
                    <a:cubicBezTo>
                      <a:pt x="481826" y="198353"/>
                      <a:pt x="485009" y="199126"/>
                      <a:pt x="488156" y="200025"/>
                    </a:cubicBezTo>
                    <a:cubicBezTo>
                      <a:pt x="490570" y="200715"/>
                      <a:pt x="492850" y="201862"/>
                      <a:pt x="495300" y="202406"/>
                    </a:cubicBezTo>
                    <a:cubicBezTo>
                      <a:pt x="505668" y="204710"/>
                      <a:pt x="515799" y="205267"/>
                      <a:pt x="526256" y="207168"/>
                    </a:cubicBezTo>
                    <a:cubicBezTo>
                      <a:pt x="529476" y="207754"/>
                      <a:pt x="532634" y="208651"/>
                      <a:pt x="535781" y="209550"/>
                    </a:cubicBezTo>
                    <a:cubicBezTo>
                      <a:pt x="542563" y="211488"/>
                      <a:pt x="545010" y="213249"/>
                      <a:pt x="552450" y="214312"/>
                    </a:cubicBezTo>
                    <a:cubicBezTo>
                      <a:pt x="560347" y="215440"/>
                      <a:pt x="568325" y="215899"/>
                      <a:pt x="576262" y="216693"/>
                    </a:cubicBezTo>
                    <a:cubicBezTo>
                      <a:pt x="578643" y="217487"/>
                      <a:pt x="581212" y="217856"/>
                      <a:pt x="583406" y="219075"/>
                    </a:cubicBezTo>
                    <a:cubicBezTo>
                      <a:pt x="588409" y="221855"/>
                      <a:pt x="597693" y="228600"/>
                      <a:pt x="597693" y="228600"/>
                    </a:cubicBezTo>
                    <a:cubicBezTo>
                      <a:pt x="609526" y="246346"/>
                      <a:pt x="594311" y="224539"/>
                      <a:pt x="609600" y="242887"/>
                    </a:cubicBezTo>
                    <a:cubicBezTo>
                      <a:pt x="611432" y="245086"/>
                      <a:pt x="612127" y="248243"/>
                      <a:pt x="614362" y="250031"/>
                    </a:cubicBezTo>
                    <a:cubicBezTo>
                      <a:pt x="616322" y="251599"/>
                      <a:pt x="619125" y="251618"/>
                      <a:pt x="621506" y="252412"/>
                    </a:cubicBezTo>
                    <a:cubicBezTo>
                      <a:pt x="623093" y="254793"/>
                      <a:pt x="624033" y="257768"/>
                      <a:pt x="626268" y="259556"/>
                    </a:cubicBezTo>
                    <a:cubicBezTo>
                      <a:pt x="628228" y="261124"/>
                      <a:pt x="631167" y="260814"/>
                      <a:pt x="633412" y="261937"/>
                    </a:cubicBezTo>
                    <a:cubicBezTo>
                      <a:pt x="635972" y="263217"/>
                      <a:pt x="638357" y="264868"/>
                      <a:pt x="640556" y="266700"/>
                    </a:cubicBezTo>
                    <a:cubicBezTo>
                      <a:pt x="652447" y="276609"/>
                      <a:pt x="642290" y="272039"/>
                      <a:pt x="654843" y="276225"/>
                    </a:cubicBezTo>
                    <a:cubicBezTo>
                      <a:pt x="656431" y="278606"/>
                      <a:pt x="657179" y="281851"/>
                      <a:pt x="659606" y="283368"/>
                    </a:cubicBezTo>
                    <a:cubicBezTo>
                      <a:pt x="663863" y="286029"/>
                      <a:pt x="673893" y="288131"/>
                      <a:pt x="673893" y="288131"/>
                    </a:cubicBezTo>
                    <a:cubicBezTo>
                      <a:pt x="676274" y="287337"/>
                      <a:pt x="678792" y="286873"/>
                      <a:pt x="681037" y="285750"/>
                    </a:cubicBezTo>
                    <a:cubicBezTo>
                      <a:pt x="687667" y="282435"/>
                      <a:pt x="690059" y="279109"/>
                      <a:pt x="695325" y="273843"/>
                    </a:cubicBezTo>
                    <a:cubicBezTo>
                      <a:pt x="696133" y="260920"/>
                      <a:pt x="691042" y="240026"/>
                      <a:pt x="702468" y="228600"/>
                    </a:cubicBezTo>
                    <a:cubicBezTo>
                      <a:pt x="704492" y="226576"/>
                      <a:pt x="707231" y="225425"/>
                      <a:pt x="709612" y="223837"/>
                    </a:cubicBezTo>
                    <a:cubicBezTo>
                      <a:pt x="717844" y="211491"/>
                      <a:pt x="716756" y="215543"/>
                      <a:pt x="716756" y="192881"/>
                    </a:cubicBezTo>
                    <a:cubicBezTo>
                      <a:pt x="716756" y="188834"/>
                      <a:pt x="716620" y="184343"/>
                      <a:pt x="714375" y="180975"/>
                    </a:cubicBezTo>
                    <a:cubicBezTo>
                      <a:pt x="712983" y="178886"/>
                      <a:pt x="709645" y="179283"/>
                      <a:pt x="707231" y="178593"/>
                    </a:cubicBezTo>
                    <a:cubicBezTo>
                      <a:pt x="704084" y="177694"/>
                      <a:pt x="700841" y="177152"/>
                      <a:pt x="697706" y="176212"/>
                    </a:cubicBezTo>
                    <a:cubicBezTo>
                      <a:pt x="692897" y="174770"/>
                      <a:pt x="683418" y="171450"/>
                      <a:pt x="683418" y="171450"/>
                    </a:cubicBezTo>
                    <a:cubicBezTo>
                      <a:pt x="681831" y="169069"/>
                      <a:pt x="679936" y="166866"/>
                      <a:pt x="678656" y="164306"/>
                    </a:cubicBezTo>
                    <a:cubicBezTo>
                      <a:pt x="677534" y="162061"/>
                      <a:pt x="678520" y="158285"/>
                      <a:pt x="676275" y="157162"/>
                    </a:cubicBezTo>
                    <a:cubicBezTo>
                      <a:pt x="671255" y="154652"/>
                      <a:pt x="665153" y="155634"/>
                      <a:pt x="659606" y="154781"/>
                    </a:cubicBezTo>
                    <a:cubicBezTo>
                      <a:pt x="654834" y="154047"/>
                      <a:pt x="650081" y="153194"/>
                      <a:pt x="645318" y="152400"/>
                    </a:cubicBezTo>
                    <a:cubicBezTo>
                      <a:pt x="642937" y="151606"/>
                      <a:pt x="639634" y="152060"/>
                      <a:pt x="638175" y="150018"/>
                    </a:cubicBezTo>
                    <a:cubicBezTo>
                      <a:pt x="635545" y="146336"/>
                      <a:pt x="629149" y="118678"/>
                      <a:pt x="628650" y="116681"/>
                    </a:cubicBezTo>
                    <a:cubicBezTo>
                      <a:pt x="628091" y="114444"/>
                      <a:pt x="625438" y="102803"/>
                      <a:pt x="623887" y="100012"/>
                    </a:cubicBezTo>
                    <a:cubicBezTo>
                      <a:pt x="622914" y="98260"/>
                      <a:pt x="610340" y="79322"/>
                      <a:pt x="607218" y="76200"/>
                    </a:cubicBezTo>
                    <a:cubicBezTo>
                      <a:pt x="602362" y="71344"/>
                      <a:pt x="591450" y="67619"/>
                      <a:pt x="585787" y="66675"/>
                    </a:cubicBezTo>
                    <a:cubicBezTo>
                      <a:pt x="581025" y="65881"/>
                      <a:pt x="576234" y="65240"/>
                      <a:pt x="571500" y="64293"/>
                    </a:cubicBezTo>
                    <a:cubicBezTo>
                      <a:pt x="568291" y="63651"/>
                      <a:pt x="565219" y="62344"/>
                      <a:pt x="561975" y="61912"/>
                    </a:cubicBezTo>
                    <a:cubicBezTo>
                      <a:pt x="553285" y="60753"/>
                      <a:pt x="544512" y="60325"/>
                      <a:pt x="535781" y="59531"/>
                    </a:cubicBezTo>
                    <a:cubicBezTo>
                      <a:pt x="508750" y="54125"/>
                      <a:pt x="541493" y="60203"/>
                      <a:pt x="495300" y="54768"/>
                    </a:cubicBezTo>
                    <a:cubicBezTo>
                      <a:pt x="483710" y="53404"/>
                      <a:pt x="472937" y="48901"/>
                      <a:pt x="461962" y="45243"/>
                    </a:cubicBezTo>
                    <a:cubicBezTo>
                      <a:pt x="438960" y="37575"/>
                      <a:pt x="474727" y="49874"/>
                      <a:pt x="445293" y="38100"/>
                    </a:cubicBezTo>
                    <a:cubicBezTo>
                      <a:pt x="440632" y="36236"/>
                      <a:pt x="435768" y="34925"/>
                      <a:pt x="431006" y="33337"/>
                    </a:cubicBezTo>
                    <a:lnTo>
                      <a:pt x="423862" y="30956"/>
                    </a:lnTo>
                    <a:cubicBezTo>
                      <a:pt x="416686" y="26172"/>
                      <a:pt x="415655" y="25057"/>
                      <a:pt x="407193" y="21431"/>
                    </a:cubicBezTo>
                    <a:cubicBezTo>
                      <a:pt x="404886" y="20442"/>
                      <a:pt x="402431" y="19844"/>
                      <a:pt x="400050" y="19050"/>
                    </a:cubicBezTo>
                    <a:cubicBezTo>
                      <a:pt x="389589" y="11204"/>
                      <a:pt x="389615" y="10336"/>
                      <a:pt x="376237" y="4762"/>
                    </a:cubicBezTo>
                    <a:cubicBezTo>
                      <a:pt x="371603" y="2831"/>
                      <a:pt x="361950" y="0"/>
                      <a:pt x="361950" y="0"/>
                    </a:cubicBezTo>
                    <a:cubicBezTo>
                      <a:pt x="346075" y="794"/>
                      <a:pt x="330160" y="1004"/>
                      <a:pt x="314325" y="2381"/>
                    </a:cubicBezTo>
                    <a:cubicBezTo>
                      <a:pt x="311824" y="2598"/>
                      <a:pt x="309109" y="3155"/>
                      <a:pt x="307181" y="4762"/>
                    </a:cubicBezTo>
                    <a:cubicBezTo>
                      <a:pt x="304132" y="7303"/>
                      <a:pt x="302418" y="11112"/>
                      <a:pt x="300037" y="14287"/>
                    </a:cubicBezTo>
                    <a:cubicBezTo>
                      <a:pt x="298370" y="19288"/>
                      <a:pt x="297202" y="24881"/>
                      <a:pt x="292893" y="28575"/>
                    </a:cubicBezTo>
                    <a:cubicBezTo>
                      <a:pt x="289379" y="31587"/>
                      <a:pt x="284912" y="33265"/>
                      <a:pt x="280987" y="35718"/>
                    </a:cubicBezTo>
                    <a:cubicBezTo>
                      <a:pt x="278560" y="37235"/>
                      <a:pt x="276474" y="39354"/>
                      <a:pt x="273843" y="40481"/>
                    </a:cubicBezTo>
                    <a:cubicBezTo>
                      <a:pt x="270835" y="41770"/>
                      <a:pt x="267453" y="41922"/>
                      <a:pt x="264318" y="42862"/>
                    </a:cubicBezTo>
                    <a:cubicBezTo>
                      <a:pt x="259510" y="44305"/>
                      <a:pt x="250031" y="47625"/>
                      <a:pt x="250031" y="47625"/>
                    </a:cubicBezTo>
                    <a:cubicBezTo>
                      <a:pt x="250825" y="45244"/>
                      <a:pt x="251423" y="42788"/>
                      <a:pt x="252412" y="40481"/>
                    </a:cubicBezTo>
                    <a:cubicBezTo>
                      <a:pt x="253810" y="37218"/>
                      <a:pt x="256822" y="34488"/>
                      <a:pt x="257175" y="30956"/>
                    </a:cubicBezTo>
                    <a:cubicBezTo>
                      <a:pt x="258291" y="19798"/>
                      <a:pt x="255119" y="17158"/>
                      <a:pt x="250031" y="9525"/>
                    </a:cubicBezTo>
                    <a:cubicBezTo>
                      <a:pt x="241300" y="10319"/>
                      <a:pt x="232516" y="10666"/>
                      <a:pt x="223837" y="11906"/>
                    </a:cubicBezTo>
                    <a:cubicBezTo>
                      <a:pt x="215824" y="13051"/>
                      <a:pt x="200025" y="16668"/>
                      <a:pt x="200025" y="16668"/>
                    </a:cubicBezTo>
                    <a:cubicBezTo>
                      <a:pt x="197644" y="18256"/>
                      <a:pt x="195441" y="20151"/>
                      <a:pt x="192881" y="21431"/>
                    </a:cubicBezTo>
                    <a:cubicBezTo>
                      <a:pt x="175415" y="30164"/>
                      <a:pt x="129255" y="21459"/>
                      <a:pt x="128587" y="21431"/>
                    </a:cubicBezTo>
                    <a:cubicBezTo>
                      <a:pt x="123825" y="20637"/>
                      <a:pt x="119013" y="20097"/>
                      <a:pt x="114300" y="19050"/>
                    </a:cubicBezTo>
                    <a:cubicBezTo>
                      <a:pt x="111850" y="18505"/>
                      <a:pt x="109666" y="16668"/>
                      <a:pt x="107156" y="16668"/>
                    </a:cubicBezTo>
                    <a:cubicBezTo>
                      <a:pt x="92846" y="16668"/>
                      <a:pt x="78566" y="18030"/>
                      <a:pt x="64293" y="19050"/>
                    </a:cubicBezTo>
                    <a:cubicBezTo>
                      <a:pt x="46652" y="20310"/>
                      <a:pt x="40106" y="21485"/>
                      <a:pt x="23812" y="23812"/>
                    </a:cubicBezTo>
                    <a:lnTo>
                      <a:pt x="9525" y="33337"/>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5" name="Freeform 284"/>
              <p:cNvSpPr/>
              <p:nvPr/>
            </p:nvSpPr>
            <p:spPr>
              <a:xfrm>
                <a:off x="10191719" y="3514539"/>
                <a:ext cx="1601736" cy="1908175"/>
              </a:xfrm>
              <a:custGeom>
                <a:avLst/>
                <a:gdLst>
                  <a:gd name="connsiteX0" fmla="*/ 22656 w 1601736"/>
                  <a:gd name="connsiteY0" fmla="*/ 349250 h 1908175"/>
                  <a:gd name="connsiteX1" fmla="*/ 38531 w 1601736"/>
                  <a:gd name="connsiteY1" fmla="*/ 355600 h 1908175"/>
                  <a:gd name="connsiteX2" fmla="*/ 48056 w 1601736"/>
                  <a:gd name="connsiteY2" fmla="*/ 358775 h 1908175"/>
                  <a:gd name="connsiteX3" fmla="*/ 54406 w 1601736"/>
                  <a:gd name="connsiteY3" fmla="*/ 377825 h 1908175"/>
                  <a:gd name="connsiteX4" fmla="*/ 57581 w 1601736"/>
                  <a:gd name="connsiteY4" fmla="*/ 387350 h 1908175"/>
                  <a:gd name="connsiteX5" fmla="*/ 70281 w 1601736"/>
                  <a:gd name="connsiteY5" fmla="*/ 406400 h 1908175"/>
                  <a:gd name="connsiteX6" fmla="*/ 76631 w 1601736"/>
                  <a:gd name="connsiteY6" fmla="*/ 415925 h 1908175"/>
                  <a:gd name="connsiteX7" fmla="*/ 82981 w 1601736"/>
                  <a:gd name="connsiteY7" fmla="*/ 434975 h 1908175"/>
                  <a:gd name="connsiteX8" fmla="*/ 102031 w 1601736"/>
                  <a:gd name="connsiteY8" fmla="*/ 454025 h 1908175"/>
                  <a:gd name="connsiteX9" fmla="*/ 111556 w 1601736"/>
                  <a:gd name="connsiteY9" fmla="*/ 463550 h 1908175"/>
                  <a:gd name="connsiteX10" fmla="*/ 178231 w 1601736"/>
                  <a:gd name="connsiteY10" fmla="*/ 460375 h 1908175"/>
                  <a:gd name="connsiteX11" fmla="*/ 209981 w 1601736"/>
                  <a:gd name="connsiteY11" fmla="*/ 454025 h 1908175"/>
                  <a:gd name="connsiteX12" fmla="*/ 229031 w 1601736"/>
                  <a:gd name="connsiteY12" fmla="*/ 447675 h 1908175"/>
                  <a:gd name="connsiteX13" fmla="*/ 238556 w 1601736"/>
                  <a:gd name="connsiteY13" fmla="*/ 428625 h 1908175"/>
                  <a:gd name="connsiteX14" fmla="*/ 248081 w 1601736"/>
                  <a:gd name="connsiteY14" fmla="*/ 400050 h 1908175"/>
                  <a:gd name="connsiteX15" fmla="*/ 267131 w 1601736"/>
                  <a:gd name="connsiteY15" fmla="*/ 393700 h 1908175"/>
                  <a:gd name="connsiteX16" fmla="*/ 286181 w 1601736"/>
                  <a:gd name="connsiteY16" fmla="*/ 384175 h 1908175"/>
                  <a:gd name="connsiteX17" fmla="*/ 305231 w 1601736"/>
                  <a:gd name="connsiteY17" fmla="*/ 365125 h 1908175"/>
                  <a:gd name="connsiteX18" fmla="*/ 311581 w 1601736"/>
                  <a:gd name="connsiteY18" fmla="*/ 346075 h 1908175"/>
                  <a:gd name="connsiteX19" fmla="*/ 314756 w 1601736"/>
                  <a:gd name="connsiteY19" fmla="*/ 336550 h 1908175"/>
                  <a:gd name="connsiteX20" fmla="*/ 317931 w 1601736"/>
                  <a:gd name="connsiteY20" fmla="*/ 327025 h 1908175"/>
                  <a:gd name="connsiteX21" fmla="*/ 330631 w 1601736"/>
                  <a:gd name="connsiteY21" fmla="*/ 301625 h 1908175"/>
                  <a:gd name="connsiteX22" fmla="*/ 340156 w 1601736"/>
                  <a:gd name="connsiteY22" fmla="*/ 282575 h 1908175"/>
                  <a:gd name="connsiteX23" fmla="*/ 349681 w 1601736"/>
                  <a:gd name="connsiteY23" fmla="*/ 273050 h 1908175"/>
                  <a:gd name="connsiteX24" fmla="*/ 381431 w 1601736"/>
                  <a:gd name="connsiteY24" fmla="*/ 263525 h 1908175"/>
                  <a:gd name="connsiteX25" fmla="*/ 390956 w 1601736"/>
                  <a:gd name="connsiteY25" fmla="*/ 260350 h 1908175"/>
                  <a:gd name="connsiteX26" fmla="*/ 400481 w 1601736"/>
                  <a:gd name="connsiteY26" fmla="*/ 254000 h 1908175"/>
                  <a:gd name="connsiteX27" fmla="*/ 416356 w 1601736"/>
                  <a:gd name="connsiteY27" fmla="*/ 228600 h 1908175"/>
                  <a:gd name="connsiteX28" fmla="*/ 419531 w 1601736"/>
                  <a:gd name="connsiteY28" fmla="*/ 219075 h 1908175"/>
                  <a:gd name="connsiteX29" fmla="*/ 425881 w 1601736"/>
                  <a:gd name="connsiteY29" fmla="*/ 209550 h 1908175"/>
                  <a:gd name="connsiteX30" fmla="*/ 432231 w 1601736"/>
                  <a:gd name="connsiteY30" fmla="*/ 190500 h 1908175"/>
                  <a:gd name="connsiteX31" fmla="*/ 435406 w 1601736"/>
                  <a:gd name="connsiteY31" fmla="*/ 180975 h 1908175"/>
                  <a:gd name="connsiteX32" fmla="*/ 441756 w 1601736"/>
                  <a:gd name="connsiteY32" fmla="*/ 171450 h 1908175"/>
                  <a:gd name="connsiteX33" fmla="*/ 470331 w 1601736"/>
                  <a:gd name="connsiteY33" fmla="*/ 174625 h 1908175"/>
                  <a:gd name="connsiteX34" fmla="*/ 479856 w 1601736"/>
                  <a:gd name="connsiteY34" fmla="*/ 171450 h 1908175"/>
                  <a:gd name="connsiteX35" fmla="*/ 527481 w 1601736"/>
                  <a:gd name="connsiteY35" fmla="*/ 168275 h 1908175"/>
                  <a:gd name="connsiteX36" fmla="*/ 562406 w 1601736"/>
                  <a:gd name="connsiteY36" fmla="*/ 165100 h 1908175"/>
                  <a:gd name="connsiteX37" fmla="*/ 565581 w 1601736"/>
                  <a:gd name="connsiteY37" fmla="*/ 155575 h 1908175"/>
                  <a:gd name="connsiteX38" fmla="*/ 587806 w 1601736"/>
                  <a:gd name="connsiteY38" fmla="*/ 149225 h 1908175"/>
                  <a:gd name="connsiteX39" fmla="*/ 657656 w 1601736"/>
                  <a:gd name="connsiteY39" fmla="*/ 146050 h 1908175"/>
                  <a:gd name="connsiteX40" fmla="*/ 641781 w 1601736"/>
                  <a:gd name="connsiteY40" fmla="*/ 130175 h 1908175"/>
                  <a:gd name="connsiteX41" fmla="*/ 629081 w 1601736"/>
                  <a:gd name="connsiteY41" fmla="*/ 107950 h 1908175"/>
                  <a:gd name="connsiteX42" fmla="*/ 632256 w 1601736"/>
                  <a:gd name="connsiteY42" fmla="*/ 76200 h 1908175"/>
                  <a:gd name="connsiteX43" fmla="*/ 660831 w 1601736"/>
                  <a:gd name="connsiteY43" fmla="*/ 66675 h 1908175"/>
                  <a:gd name="connsiteX44" fmla="*/ 689406 w 1601736"/>
                  <a:gd name="connsiteY44" fmla="*/ 53975 h 1908175"/>
                  <a:gd name="connsiteX45" fmla="*/ 705281 w 1601736"/>
                  <a:gd name="connsiteY45" fmla="*/ 41275 h 1908175"/>
                  <a:gd name="connsiteX46" fmla="*/ 714806 w 1601736"/>
                  <a:gd name="connsiteY46" fmla="*/ 34925 h 1908175"/>
                  <a:gd name="connsiteX47" fmla="*/ 733856 w 1601736"/>
                  <a:gd name="connsiteY47" fmla="*/ 28575 h 1908175"/>
                  <a:gd name="connsiteX48" fmla="*/ 752906 w 1601736"/>
                  <a:gd name="connsiteY48" fmla="*/ 15875 h 1908175"/>
                  <a:gd name="connsiteX49" fmla="*/ 781481 w 1601736"/>
                  <a:gd name="connsiteY49" fmla="*/ 6350 h 1908175"/>
                  <a:gd name="connsiteX50" fmla="*/ 791006 w 1601736"/>
                  <a:gd name="connsiteY50" fmla="*/ 3175 h 1908175"/>
                  <a:gd name="connsiteX51" fmla="*/ 800531 w 1601736"/>
                  <a:gd name="connsiteY51" fmla="*/ 0 h 1908175"/>
                  <a:gd name="connsiteX52" fmla="*/ 832281 w 1601736"/>
                  <a:gd name="connsiteY52" fmla="*/ 3175 h 1908175"/>
                  <a:gd name="connsiteX53" fmla="*/ 851331 w 1601736"/>
                  <a:gd name="connsiteY53" fmla="*/ 12700 h 1908175"/>
                  <a:gd name="connsiteX54" fmla="*/ 860856 w 1601736"/>
                  <a:gd name="connsiteY54" fmla="*/ 15875 h 1908175"/>
                  <a:gd name="connsiteX55" fmla="*/ 889431 w 1601736"/>
                  <a:gd name="connsiteY55" fmla="*/ 38100 h 1908175"/>
                  <a:gd name="connsiteX56" fmla="*/ 908481 w 1601736"/>
                  <a:gd name="connsiteY56" fmla="*/ 44450 h 1908175"/>
                  <a:gd name="connsiteX57" fmla="*/ 921181 w 1601736"/>
                  <a:gd name="connsiteY57" fmla="*/ 47625 h 1908175"/>
                  <a:gd name="connsiteX58" fmla="*/ 956106 w 1601736"/>
                  <a:gd name="connsiteY58" fmla="*/ 57150 h 1908175"/>
                  <a:gd name="connsiteX59" fmla="*/ 1003731 w 1601736"/>
                  <a:gd name="connsiteY59" fmla="*/ 60325 h 1908175"/>
                  <a:gd name="connsiteX60" fmla="*/ 1013256 w 1601736"/>
                  <a:gd name="connsiteY60" fmla="*/ 63500 h 1908175"/>
                  <a:gd name="connsiteX61" fmla="*/ 1032306 w 1601736"/>
                  <a:gd name="connsiteY61" fmla="*/ 73025 h 1908175"/>
                  <a:gd name="connsiteX62" fmla="*/ 1041831 w 1601736"/>
                  <a:gd name="connsiteY62" fmla="*/ 82550 h 1908175"/>
                  <a:gd name="connsiteX63" fmla="*/ 1057706 w 1601736"/>
                  <a:gd name="connsiteY63" fmla="*/ 98425 h 1908175"/>
                  <a:gd name="connsiteX64" fmla="*/ 1124381 w 1601736"/>
                  <a:gd name="connsiteY64" fmla="*/ 101600 h 1908175"/>
                  <a:gd name="connsiteX65" fmla="*/ 1143431 w 1601736"/>
                  <a:gd name="connsiteY65" fmla="*/ 114300 h 1908175"/>
                  <a:gd name="connsiteX66" fmla="*/ 1162481 w 1601736"/>
                  <a:gd name="connsiteY66" fmla="*/ 123825 h 1908175"/>
                  <a:gd name="connsiteX67" fmla="*/ 1168831 w 1601736"/>
                  <a:gd name="connsiteY67" fmla="*/ 133350 h 1908175"/>
                  <a:gd name="connsiteX68" fmla="*/ 1197406 w 1601736"/>
                  <a:gd name="connsiteY68" fmla="*/ 152400 h 1908175"/>
                  <a:gd name="connsiteX69" fmla="*/ 1210106 w 1601736"/>
                  <a:gd name="connsiteY69" fmla="*/ 161925 h 1908175"/>
                  <a:gd name="connsiteX70" fmla="*/ 1222806 w 1601736"/>
                  <a:gd name="connsiteY70" fmla="*/ 168275 h 1908175"/>
                  <a:gd name="connsiteX71" fmla="*/ 1241856 w 1601736"/>
                  <a:gd name="connsiteY71" fmla="*/ 187325 h 1908175"/>
                  <a:gd name="connsiteX72" fmla="*/ 1264081 w 1601736"/>
                  <a:gd name="connsiteY72" fmla="*/ 196850 h 1908175"/>
                  <a:gd name="connsiteX73" fmla="*/ 1286306 w 1601736"/>
                  <a:gd name="connsiteY73" fmla="*/ 206375 h 1908175"/>
                  <a:gd name="connsiteX74" fmla="*/ 1318056 w 1601736"/>
                  <a:gd name="connsiteY74" fmla="*/ 209550 h 1908175"/>
                  <a:gd name="connsiteX75" fmla="*/ 1337106 w 1601736"/>
                  <a:gd name="connsiteY75" fmla="*/ 212725 h 1908175"/>
                  <a:gd name="connsiteX76" fmla="*/ 1410131 w 1601736"/>
                  <a:gd name="connsiteY76" fmla="*/ 215900 h 1908175"/>
                  <a:gd name="connsiteX77" fmla="*/ 1413306 w 1601736"/>
                  <a:gd name="connsiteY77" fmla="*/ 238125 h 1908175"/>
                  <a:gd name="connsiteX78" fmla="*/ 1429181 w 1601736"/>
                  <a:gd name="connsiteY78" fmla="*/ 241300 h 1908175"/>
                  <a:gd name="connsiteX79" fmla="*/ 1441881 w 1601736"/>
                  <a:gd name="connsiteY79" fmla="*/ 244475 h 1908175"/>
                  <a:gd name="connsiteX80" fmla="*/ 1546656 w 1601736"/>
                  <a:gd name="connsiteY80" fmla="*/ 247650 h 1908175"/>
                  <a:gd name="connsiteX81" fmla="*/ 1565706 w 1601736"/>
                  <a:gd name="connsiteY81" fmla="*/ 260350 h 1908175"/>
                  <a:gd name="connsiteX82" fmla="*/ 1578406 w 1601736"/>
                  <a:gd name="connsiteY82" fmla="*/ 276225 h 1908175"/>
                  <a:gd name="connsiteX83" fmla="*/ 1584756 w 1601736"/>
                  <a:gd name="connsiteY83" fmla="*/ 285750 h 1908175"/>
                  <a:gd name="connsiteX84" fmla="*/ 1584756 w 1601736"/>
                  <a:gd name="connsiteY84" fmla="*/ 361950 h 1908175"/>
                  <a:gd name="connsiteX85" fmla="*/ 1578406 w 1601736"/>
                  <a:gd name="connsiteY85" fmla="*/ 381000 h 1908175"/>
                  <a:gd name="connsiteX86" fmla="*/ 1575231 w 1601736"/>
                  <a:gd name="connsiteY86" fmla="*/ 396875 h 1908175"/>
                  <a:gd name="connsiteX87" fmla="*/ 1578406 w 1601736"/>
                  <a:gd name="connsiteY87" fmla="*/ 434975 h 1908175"/>
                  <a:gd name="connsiteX88" fmla="*/ 1584756 w 1601736"/>
                  <a:gd name="connsiteY88" fmla="*/ 454025 h 1908175"/>
                  <a:gd name="connsiteX89" fmla="*/ 1581581 w 1601736"/>
                  <a:gd name="connsiteY89" fmla="*/ 523875 h 1908175"/>
                  <a:gd name="connsiteX90" fmla="*/ 1584756 w 1601736"/>
                  <a:gd name="connsiteY90" fmla="*/ 612775 h 1908175"/>
                  <a:gd name="connsiteX91" fmla="*/ 1578406 w 1601736"/>
                  <a:gd name="connsiteY91" fmla="*/ 781050 h 1908175"/>
                  <a:gd name="connsiteX92" fmla="*/ 1581581 w 1601736"/>
                  <a:gd name="connsiteY92" fmla="*/ 812800 h 1908175"/>
                  <a:gd name="connsiteX93" fmla="*/ 1584756 w 1601736"/>
                  <a:gd name="connsiteY93" fmla="*/ 825500 h 1908175"/>
                  <a:gd name="connsiteX94" fmla="*/ 1587931 w 1601736"/>
                  <a:gd name="connsiteY94" fmla="*/ 927100 h 1908175"/>
                  <a:gd name="connsiteX95" fmla="*/ 1591106 w 1601736"/>
                  <a:gd name="connsiteY95" fmla="*/ 946150 h 1908175"/>
                  <a:gd name="connsiteX96" fmla="*/ 1597456 w 1601736"/>
                  <a:gd name="connsiteY96" fmla="*/ 971550 h 1908175"/>
                  <a:gd name="connsiteX97" fmla="*/ 1600631 w 1601736"/>
                  <a:gd name="connsiteY97" fmla="*/ 1123950 h 1908175"/>
                  <a:gd name="connsiteX98" fmla="*/ 1597456 w 1601736"/>
                  <a:gd name="connsiteY98" fmla="*/ 1187450 h 1908175"/>
                  <a:gd name="connsiteX99" fmla="*/ 1594281 w 1601736"/>
                  <a:gd name="connsiteY99" fmla="*/ 1200150 h 1908175"/>
                  <a:gd name="connsiteX100" fmla="*/ 1572056 w 1601736"/>
                  <a:gd name="connsiteY100" fmla="*/ 1228725 h 1908175"/>
                  <a:gd name="connsiteX101" fmla="*/ 1568881 w 1601736"/>
                  <a:gd name="connsiteY101" fmla="*/ 1238250 h 1908175"/>
                  <a:gd name="connsiteX102" fmla="*/ 1562531 w 1601736"/>
                  <a:gd name="connsiteY102" fmla="*/ 1247775 h 1908175"/>
                  <a:gd name="connsiteX103" fmla="*/ 1556181 w 1601736"/>
                  <a:gd name="connsiteY103" fmla="*/ 1266825 h 1908175"/>
                  <a:gd name="connsiteX104" fmla="*/ 1553006 w 1601736"/>
                  <a:gd name="connsiteY104" fmla="*/ 1276350 h 1908175"/>
                  <a:gd name="connsiteX105" fmla="*/ 1556181 w 1601736"/>
                  <a:gd name="connsiteY105" fmla="*/ 1336675 h 1908175"/>
                  <a:gd name="connsiteX106" fmla="*/ 1559356 w 1601736"/>
                  <a:gd name="connsiteY106" fmla="*/ 1346200 h 1908175"/>
                  <a:gd name="connsiteX107" fmla="*/ 1572056 w 1601736"/>
                  <a:gd name="connsiteY107" fmla="*/ 1365250 h 1908175"/>
                  <a:gd name="connsiteX108" fmla="*/ 1591106 w 1601736"/>
                  <a:gd name="connsiteY108" fmla="*/ 1374775 h 1908175"/>
                  <a:gd name="connsiteX109" fmla="*/ 1597456 w 1601736"/>
                  <a:gd name="connsiteY109" fmla="*/ 1539875 h 1908175"/>
                  <a:gd name="connsiteX110" fmla="*/ 1594281 w 1601736"/>
                  <a:gd name="connsiteY110" fmla="*/ 1797050 h 1908175"/>
                  <a:gd name="connsiteX111" fmla="*/ 1587931 w 1601736"/>
                  <a:gd name="connsiteY111" fmla="*/ 1828800 h 1908175"/>
                  <a:gd name="connsiteX112" fmla="*/ 1591106 w 1601736"/>
                  <a:gd name="connsiteY112" fmla="*/ 1866900 h 1908175"/>
                  <a:gd name="connsiteX113" fmla="*/ 1594281 w 1601736"/>
                  <a:gd name="connsiteY113" fmla="*/ 1876425 h 1908175"/>
                  <a:gd name="connsiteX114" fmla="*/ 1591106 w 1601736"/>
                  <a:gd name="connsiteY114" fmla="*/ 1908175 h 1908175"/>
                  <a:gd name="connsiteX115" fmla="*/ 1572056 w 1601736"/>
                  <a:gd name="connsiteY115" fmla="*/ 1905000 h 1908175"/>
                  <a:gd name="connsiteX116" fmla="*/ 1562531 w 1601736"/>
                  <a:gd name="connsiteY116" fmla="*/ 1901825 h 1908175"/>
                  <a:gd name="connsiteX117" fmla="*/ 1543481 w 1601736"/>
                  <a:gd name="connsiteY117" fmla="*/ 1863725 h 1908175"/>
                  <a:gd name="connsiteX118" fmla="*/ 1540306 w 1601736"/>
                  <a:gd name="connsiteY118" fmla="*/ 1854200 h 1908175"/>
                  <a:gd name="connsiteX119" fmla="*/ 1527606 w 1601736"/>
                  <a:gd name="connsiteY119" fmla="*/ 1835150 h 1908175"/>
                  <a:gd name="connsiteX120" fmla="*/ 1511731 w 1601736"/>
                  <a:gd name="connsiteY120" fmla="*/ 1806575 h 1908175"/>
                  <a:gd name="connsiteX121" fmla="*/ 1489506 w 1601736"/>
                  <a:gd name="connsiteY121" fmla="*/ 1793875 h 1908175"/>
                  <a:gd name="connsiteX122" fmla="*/ 1470456 w 1601736"/>
                  <a:gd name="connsiteY122" fmla="*/ 1781175 h 1908175"/>
                  <a:gd name="connsiteX123" fmla="*/ 1460931 w 1601736"/>
                  <a:gd name="connsiteY123" fmla="*/ 1774825 h 1908175"/>
                  <a:gd name="connsiteX124" fmla="*/ 1451406 w 1601736"/>
                  <a:gd name="connsiteY124" fmla="*/ 1755775 h 1908175"/>
                  <a:gd name="connsiteX125" fmla="*/ 1441881 w 1601736"/>
                  <a:gd name="connsiteY125" fmla="*/ 1752600 h 1908175"/>
                  <a:gd name="connsiteX126" fmla="*/ 1422831 w 1601736"/>
                  <a:gd name="connsiteY126" fmla="*/ 1739900 h 1908175"/>
                  <a:gd name="connsiteX127" fmla="*/ 1403781 w 1601736"/>
                  <a:gd name="connsiteY127" fmla="*/ 1730375 h 1908175"/>
                  <a:gd name="connsiteX128" fmla="*/ 1384731 w 1601736"/>
                  <a:gd name="connsiteY128" fmla="*/ 1724025 h 1908175"/>
                  <a:gd name="connsiteX129" fmla="*/ 1362506 w 1601736"/>
                  <a:gd name="connsiteY129" fmla="*/ 1717675 h 1908175"/>
                  <a:gd name="connsiteX130" fmla="*/ 1343456 w 1601736"/>
                  <a:gd name="connsiteY130" fmla="*/ 1711325 h 1908175"/>
                  <a:gd name="connsiteX131" fmla="*/ 1330756 w 1601736"/>
                  <a:gd name="connsiteY131" fmla="*/ 1701800 h 1908175"/>
                  <a:gd name="connsiteX132" fmla="*/ 1324406 w 1601736"/>
                  <a:gd name="connsiteY132" fmla="*/ 1682750 h 1908175"/>
                  <a:gd name="connsiteX133" fmla="*/ 1318056 w 1601736"/>
                  <a:gd name="connsiteY133" fmla="*/ 1663700 h 1908175"/>
                  <a:gd name="connsiteX134" fmla="*/ 1308531 w 1601736"/>
                  <a:gd name="connsiteY134" fmla="*/ 1644650 h 1908175"/>
                  <a:gd name="connsiteX135" fmla="*/ 1289481 w 1601736"/>
                  <a:gd name="connsiteY135" fmla="*/ 1641475 h 1908175"/>
                  <a:gd name="connsiteX136" fmla="*/ 1273606 w 1601736"/>
                  <a:gd name="connsiteY136" fmla="*/ 1638300 h 1908175"/>
                  <a:gd name="connsiteX137" fmla="*/ 1264081 w 1601736"/>
                  <a:gd name="connsiteY137" fmla="*/ 1641475 h 1908175"/>
                  <a:gd name="connsiteX138" fmla="*/ 1245031 w 1601736"/>
                  <a:gd name="connsiteY138" fmla="*/ 1644650 h 1908175"/>
                  <a:gd name="connsiteX139" fmla="*/ 1210106 w 1601736"/>
                  <a:gd name="connsiteY139" fmla="*/ 1654175 h 1908175"/>
                  <a:gd name="connsiteX140" fmla="*/ 1197406 w 1601736"/>
                  <a:gd name="connsiteY140" fmla="*/ 1660525 h 1908175"/>
                  <a:gd name="connsiteX141" fmla="*/ 1172006 w 1601736"/>
                  <a:gd name="connsiteY141" fmla="*/ 1666875 h 1908175"/>
                  <a:gd name="connsiteX142" fmla="*/ 1143431 w 1601736"/>
                  <a:gd name="connsiteY142" fmla="*/ 1663700 h 1908175"/>
                  <a:gd name="connsiteX143" fmla="*/ 1130731 w 1601736"/>
                  <a:gd name="connsiteY143" fmla="*/ 1660525 h 1908175"/>
                  <a:gd name="connsiteX144" fmla="*/ 1092631 w 1601736"/>
                  <a:gd name="connsiteY144" fmla="*/ 1663700 h 1908175"/>
                  <a:gd name="connsiteX145" fmla="*/ 1079931 w 1601736"/>
                  <a:gd name="connsiteY145" fmla="*/ 1666875 h 1908175"/>
                  <a:gd name="connsiteX146" fmla="*/ 1070406 w 1601736"/>
                  <a:gd name="connsiteY146" fmla="*/ 1673225 h 1908175"/>
                  <a:gd name="connsiteX147" fmla="*/ 1060881 w 1601736"/>
                  <a:gd name="connsiteY147" fmla="*/ 1676400 h 1908175"/>
                  <a:gd name="connsiteX148" fmla="*/ 1076756 w 1601736"/>
                  <a:gd name="connsiteY148" fmla="*/ 1704975 h 1908175"/>
                  <a:gd name="connsiteX149" fmla="*/ 1086281 w 1601736"/>
                  <a:gd name="connsiteY149" fmla="*/ 1714500 h 1908175"/>
                  <a:gd name="connsiteX150" fmla="*/ 1086281 w 1601736"/>
                  <a:gd name="connsiteY150" fmla="*/ 1746250 h 1908175"/>
                  <a:gd name="connsiteX151" fmla="*/ 1076756 w 1601736"/>
                  <a:gd name="connsiteY151" fmla="*/ 1752600 h 1908175"/>
                  <a:gd name="connsiteX152" fmla="*/ 997381 w 1601736"/>
                  <a:gd name="connsiteY152" fmla="*/ 1743075 h 1908175"/>
                  <a:gd name="connsiteX153" fmla="*/ 987856 w 1601736"/>
                  <a:gd name="connsiteY153" fmla="*/ 1736725 h 1908175"/>
                  <a:gd name="connsiteX154" fmla="*/ 981506 w 1601736"/>
                  <a:gd name="connsiteY154" fmla="*/ 1727200 h 1908175"/>
                  <a:gd name="connsiteX155" fmla="*/ 965631 w 1601736"/>
                  <a:gd name="connsiteY155" fmla="*/ 1708150 h 1908175"/>
                  <a:gd name="connsiteX156" fmla="*/ 962456 w 1601736"/>
                  <a:gd name="connsiteY156" fmla="*/ 1698625 h 1908175"/>
                  <a:gd name="connsiteX157" fmla="*/ 943406 w 1601736"/>
                  <a:gd name="connsiteY157" fmla="*/ 1708150 h 1908175"/>
                  <a:gd name="connsiteX158" fmla="*/ 937056 w 1601736"/>
                  <a:gd name="connsiteY158" fmla="*/ 1730375 h 1908175"/>
                  <a:gd name="connsiteX159" fmla="*/ 775131 w 1601736"/>
                  <a:gd name="connsiteY159" fmla="*/ 1727200 h 1908175"/>
                  <a:gd name="connsiteX160" fmla="*/ 752906 w 1601736"/>
                  <a:gd name="connsiteY160" fmla="*/ 1724025 h 1908175"/>
                  <a:gd name="connsiteX161" fmla="*/ 759256 w 1601736"/>
                  <a:gd name="connsiteY161" fmla="*/ 1689100 h 1908175"/>
                  <a:gd name="connsiteX162" fmla="*/ 768781 w 1601736"/>
                  <a:gd name="connsiteY162" fmla="*/ 1635125 h 1908175"/>
                  <a:gd name="connsiteX163" fmla="*/ 778306 w 1601736"/>
                  <a:gd name="connsiteY163" fmla="*/ 1631950 h 1908175"/>
                  <a:gd name="connsiteX164" fmla="*/ 784656 w 1601736"/>
                  <a:gd name="connsiteY164" fmla="*/ 1622425 h 1908175"/>
                  <a:gd name="connsiteX165" fmla="*/ 800531 w 1601736"/>
                  <a:gd name="connsiteY165" fmla="*/ 1606550 h 1908175"/>
                  <a:gd name="connsiteX166" fmla="*/ 806881 w 1601736"/>
                  <a:gd name="connsiteY166" fmla="*/ 1587500 h 1908175"/>
                  <a:gd name="connsiteX167" fmla="*/ 813231 w 1601736"/>
                  <a:gd name="connsiteY167" fmla="*/ 1574800 h 1908175"/>
                  <a:gd name="connsiteX168" fmla="*/ 816406 w 1601736"/>
                  <a:gd name="connsiteY168" fmla="*/ 1565275 h 1908175"/>
                  <a:gd name="connsiteX169" fmla="*/ 822756 w 1601736"/>
                  <a:gd name="connsiteY169" fmla="*/ 1555750 h 1908175"/>
                  <a:gd name="connsiteX170" fmla="*/ 825931 w 1601736"/>
                  <a:gd name="connsiteY170" fmla="*/ 1546225 h 1908175"/>
                  <a:gd name="connsiteX171" fmla="*/ 835456 w 1601736"/>
                  <a:gd name="connsiteY171" fmla="*/ 1539875 h 1908175"/>
                  <a:gd name="connsiteX172" fmla="*/ 851331 w 1601736"/>
                  <a:gd name="connsiteY172" fmla="*/ 1520825 h 1908175"/>
                  <a:gd name="connsiteX173" fmla="*/ 879906 w 1601736"/>
                  <a:gd name="connsiteY173" fmla="*/ 1501775 h 1908175"/>
                  <a:gd name="connsiteX174" fmla="*/ 889431 w 1601736"/>
                  <a:gd name="connsiteY174" fmla="*/ 1495425 h 1908175"/>
                  <a:gd name="connsiteX175" fmla="*/ 898956 w 1601736"/>
                  <a:gd name="connsiteY175" fmla="*/ 1489075 h 1908175"/>
                  <a:gd name="connsiteX176" fmla="*/ 918006 w 1601736"/>
                  <a:gd name="connsiteY176" fmla="*/ 1473200 h 1908175"/>
                  <a:gd name="connsiteX177" fmla="*/ 927531 w 1601736"/>
                  <a:gd name="connsiteY177" fmla="*/ 1470025 h 1908175"/>
                  <a:gd name="connsiteX178" fmla="*/ 965631 w 1601736"/>
                  <a:gd name="connsiteY178" fmla="*/ 1463675 h 1908175"/>
                  <a:gd name="connsiteX179" fmla="*/ 1025956 w 1601736"/>
                  <a:gd name="connsiteY179" fmla="*/ 1466850 h 1908175"/>
                  <a:gd name="connsiteX180" fmla="*/ 1035481 w 1601736"/>
                  <a:gd name="connsiteY180" fmla="*/ 1470025 h 1908175"/>
                  <a:gd name="connsiteX181" fmla="*/ 1051356 w 1601736"/>
                  <a:gd name="connsiteY181" fmla="*/ 1473200 h 1908175"/>
                  <a:gd name="connsiteX182" fmla="*/ 1022781 w 1601736"/>
                  <a:gd name="connsiteY182" fmla="*/ 1454150 h 1908175"/>
                  <a:gd name="connsiteX183" fmla="*/ 1013256 w 1601736"/>
                  <a:gd name="connsiteY183" fmla="*/ 1447800 h 1908175"/>
                  <a:gd name="connsiteX184" fmla="*/ 1003731 w 1601736"/>
                  <a:gd name="connsiteY184" fmla="*/ 1441450 h 1908175"/>
                  <a:gd name="connsiteX185" fmla="*/ 1032306 w 1601736"/>
                  <a:gd name="connsiteY185" fmla="*/ 1425575 h 1908175"/>
                  <a:gd name="connsiteX186" fmla="*/ 1057706 w 1601736"/>
                  <a:gd name="connsiteY186" fmla="*/ 1422400 h 1908175"/>
                  <a:gd name="connsiteX187" fmla="*/ 1060881 w 1601736"/>
                  <a:gd name="connsiteY187" fmla="*/ 1412875 h 1908175"/>
                  <a:gd name="connsiteX188" fmla="*/ 1057706 w 1601736"/>
                  <a:gd name="connsiteY188" fmla="*/ 1393825 h 1908175"/>
                  <a:gd name="connsiteX189" fmla="*/ 1038656 w 1601736"/>
                  <a:gd name="connsiteY189" fmla="*/ 1390650 h 1908175"/>
                  <a:gd name="connsiteX190" fmla="*/ 1013256 w 1601736"/>
                  <a:gd name="connsiteY190" fmla="*/ 1387475 h 1908175"/>
                  <a:gd name="connsiteX191" fmla="*/ 975156 w 1601736"/>
                  <a:gd name="connsiteY191" fmla="*/ 1377950 h 1908175"/>
                  <a:gd name="connsiteX192" fmla="*/ 971981 w 1601736"/>
                  <a:gd name="connsiteY192" fmla="*/ 1368425 h 1908175"/>
                  <a:gd name="connsiteX193" fmla="*/ 991031 w 1601736"/>
                  <a:gd name="connsiteY193" fmla="*/ 1355725 h 1908175"/>
                  <a:gd name="connsiteX194" fmla="*/ 1022781 w 1601736"/>
                  <a:gd name="connsiteY194" fmla="*/ 1346200 h 1908175"/>
                  <a:gd name="connsiteX195" fmla="*/ 1108506 w 1601736"/>
                  <a:gd name="connsiteY195" fmla="*/ 1343025 h 1908175"/>
                  <a:gd name="connsiteX196" fmla="*/ 1089456 w 1601736"/>
                  <a:gd name="connsiteY196" fmla="*/ 1333500 h 1908175"/>
                  <a:gd name="connsiteX197" fmla="*/ 1079931 w 1601736"/>
                  <a:gd name="connsiteY197" fmla="*/ 1327150 h 1908175"/>
                  <a:gd name="connsiteX198" fmla="*/ 1067231 w 1601736"/>
                  <a:gd name="connsiteY198" fmla="*/ 1320800 h 1908175"/>
                  <a:gd name="connsiteX199" fmla="*/ 1048181 w 1601736"/>
                  <a:gd name="connsiteY199" fmla="*/ 1301750 h 1908175"/>
                  <a:gd name="connsiteX200" fmla="*/ 1035481 w 1601736"/>
                  <a:gd name="connsiteY200" fmla="*/ 1292225 h 1908175"/>
                  <a:gd name="connsiteX201" fmla="*/ 1032306 w 1601736"/>
                  <a:gd name="connsiteY201" fmla="*/ 1282700 h 1908175"/>
                  <a:gd name="connsiteX202" fmla="*/ 1016431 w 1601736"/>
                  <a:gd name="connsiteY202" fmla="*/ 1263650 h 1908175"/>
                  <a:gd name="connsiteX203" fmla="*/ 997381 w 1601736"/>
                  <a:gd name="connsiteY203" fmla="*/ 1250950 h 1908175"/>
                  <a:gd name="connsiteX204" fmla="*/ 981506 w 1601736"/>
                  <a:gd name="connsiteY204" fmla="*/ 1241425 h 1908175"/>
                  <a:gd name="connsiteX205" fmla="*/ 965631 w 1601736"/>
                  <a:gd name="connsiteY205" fmla="*/ 1222375 h 1908175"/>
                  <a:gd name="connsiteX206" fmla="*/ 956106 w 1601736"/>
                  <a:gd name="connsiteY206" fmla="*/ 1216025 h 1908175"/>
                  <a:gd name="connsiteX207" fmla="*/ 933881 w 1601736"/>
                  <a:gd name="connsiteY207" fmla="*/ 1200150 h 1908175"/>
                  <a:gd name="connsiteX208" fmla="*/ 924356 w 1601736"/>
                  <a:gd name="connsiteY208" fmla="*/ 1155700 h 1908175"/>
                  <a:gd name="connsiteX209" fmla="*/ 914831 w 1601736"/>
                  <a:gd name="connsiteY209" fmla="*/ 1136650 h 1908175"/>
                  <a:gd name="connsiteX210" fmla="*/ 911656 w 1601736"/>
                  <a:gd name="connsiteY210" fmla="*/ 1123950 h 1908175"/>
                  <a:gd name="connsiteX211" fmla="*/ 905306 w 1601736"/>
                  <a:gd name="connsiteY211" fmla="*/ 1073150 h 1908175"/>
                  <a:gd name="connsiteX212" fmla="*/ 895781 w 1601736"/>
                  <a:gd name="connsiteY212" fmla="*/ 1054100 h 1908175"/>
                  <a:gd name="connsiteX213" fmla="*/ 886256 w 1601736"/>
                  <a:gd name="connsiteY213" fmla="*/ 1050925 h 1908175"/>
                  <a:gd name="connsiteX214" fmla="*/ 883081 w 1601736"/>
                  <a:gd name="connsiteY214" fmla="*/ 1041400 h 1908175"/>
                  <a:gd name="connsiteX215" fmla="*/ 867206 w 1601736"/>
                  <a:gd name="connsiteY215" fmla="*/ 1028700 h 1908175"/>
                  <a:gd name="connsiteX216" fmla="*/ 864031 w 1601736"/>
                  <a:gd name="connsiteY216" fmla="*/ 1019175 h 1908175"/>
                  <a:gd name="connsiteX217" fmla="*/ 857681 w 1601736"/>
                  <a:gd name="connsiteY217" fmla="*/ 1009650 h 1908175"/>
                  <a:gd name="connsiteX218" fmla="*/ 848156 w 1601736"/>
                  <a:gd name="connsiteY218" fmla="*/ 990600 h 1908175"/>
                  <a:gd name="connsiteX219" fmla="*/ 838631 w 1601736"/>
                  <a:gd name="connsiteY219" fmla="*/ 984250 h 1908175"/>
                  <a:gd name="connsiteX220" fmla="*/ 822756 w 1601736"/>
                  <a:gd name="connsiteY220" fmla="*/ 971550 h 1908175"/>
                  <a:gd name="connsiteX221" fmla="*/ 813231 w 1601736"/>
                  <a:gd name="connsiteY221" fmla="*/ 965200 h 1908175"/>
                  <a:gd name="connsiteX222" fmla="*/ 794181 w 1601736"/>
                  <a:gd name="connsiteY222" fmla="*/ 958850 h 1908175"/>
                  <a:gd name="connsiteX223" fmla="*/ 775131 w 1601736"/>
                  <a:gd name="connsiteY223" fmla="*/ 949325 h 1908175"/>
                  <a:gd name="connsiteX224" fmla="*/ 756081 w 1601736"/>
                  <a:gd name="connsiteY224" fmla="*/ 930275 h 1908175"/>
                  <a:gd name="connsiteX225" fmla="*/ 743381 w 1601736"/>
                  <a:gd name="connsiteY225" fmla="*/ 923925 h 1908175"/>
                  <a:gd name="connsiteX226" fmla="*/ 733856 w 1601736"/>
                  <a:gd name="connsiteY226" fmla="*/ 917575 h 1908175"/>
                  <a:gd name="connsiteX227" fmla="*/ 714806 w 1601736"/>
                  <a:gd name="connsiteY227" fmla="*/ 911225 h 1908175"/>
                  <a:gd name="connsiteX228" fmla="*/ 689406 w 1601736"/>
                  <a:gd name="connsiteY228" fmla="*/ 904875 h 1908175"/>
                  <a:gd name="connsiteX229" fmla="*/ 679881 w 1601736"/>
                  <a:gd name="connsiteY229" fmla="*/ 898525 h 1908175"/>
                  <a:gd name="connsiteX230" fmla="*/ 664006 w 1601736"/>
                  <a:gd name="connsiteY230" fmla="*/ 892175 h 1908175"/>
                  <a:gd name="connsiteX231" fmla="*/ 654481 w 1601736"/>
                  <a:gd name="connsiteY231" fmla="*/ 882650 h 1908175"/>
                  <a:gd name="connsiteX232" fmla="*/ 635431 w 1601736"/>
                  <a:gd name="connsiteY232" fmla="*/ 876300 h 1908175"/>
                  <a:gd name="connsiteX233" fmla="*/ 622731 w 1601736"/>
                  <a:gd name="connsiteY233" fmla="*/ 873125 h 1908175"/>
                  <a:gd name="connsiteX234" fmla="*/ 603681 w 1601736"/>
                  <a:gd name="connsiteY234" fmla="*/ 869950 h 1908175"/>
                  <a:gd name="connsiteX235" fmla="*/ 594156 w 1601736"/>
                  <a:gd name="connsiteY235" fmla="*/ 866775 h 1908175"/>
                  <a:gd name="connsiteX236" fmla="*/ 581456 w 1601736"/>
                  <a:gd name="connsiteY236" fmla="*/ 863600 h 1908175"/>
                  <a:gd name="connsiteX237" fmla="*/ 571931 w 1601736"/>
                  <a:gd name="connsiteY237" fmla="*/ 860425 h 1908175"/>
                  <a:gd name="connsiteX238" fmla="*/ 533831 w 1601736"/>
                  <a:gd name="connsiteY238" fmla="*/ 854075 h 1908175"/>
                  <a:gd name="connsiteX239" fmla="*/ 514781 w 1601736"/>
                  <a:gd name="connsiteY239" fmla="*/ 847725 h 1908175"/>
                  <a:gd name="connsiteX240" fmla="*/ 495731 w 1601736"/>
                  <a:gd name="connsiteY240" fmla="*/ 835025 h 1908175"/>
                  <a:gd name="connsiteX241" fmla="*/ 486206 w 1601736"/>
                  <a:gd name="connsiteY241" fmla="*/ 828675 h 1908175"/>
                  <a:gd name="connsiteX242" fmla="*/ 473506 w 1601736"/>
                  <a:gd name="connsiteY242" fmla="*/ 825500 h 1908175"/>
                  <a:gd name="connsiteX243" fmla="*/ 460806 w 1601736"/>
                  <a:gd name="connsiteY243" fmla="*/ 819150 h 1908175"/>
                  <a:gd name="connsiteX244" fmla="*/ 435406 w 1601736"/>
                  <a:gd name="connsiteY244" fmla="*/ 812800 h 1908175"/>
                  <a:gd name="connsiteX245" fmla="*/ 422706 w 1601736"/>
                  <a:gd name="connsiteY245" fmla="*/ 809625 h 1908175"/>
                  <a:gd name="connsiteX246" fmla="*/ 410006 w 1601736"/>
                  <a:gd name="connsiteY246" fmla="*/ 806450 h 1908175"/>
                  <a:gd name="connsiteX247" fmla="*/ 400481 w 1601736"/>
                  <a:gd name="connsiteY247" fmla="*/ 803275 h 1908175"/>
                  <a:gd name="connsiteX248" fmla="*/ 378256 w 1601736"/>
                  <a:gd name="connsiteY248" fmla="*/ 796925 h 1908175"/>
                  <a:gd name="connsiteX249" fmla="*/ 368731 w 1601736"/>
                  <a:gd name="connsiteY249" fmla="*/ 787400 h 1908175"/>
                  <a:gd name="connsiteX250" fmla="*/ 362381 w 1601736"/>
                  <a:gd name="connsiteY250" fmla="*/ 777875 h 1908175"/>
                  <a:gd name="connsiteX251" fmla="*/ 343331 w 1601736"/>
                  <a:gd name="connsiteY251" fmla="*/ 768350 h 1908175"/>
                  <a:gd name="connsiteX252" fmla="*/ 324281 w 1601736"/>
                  <a:gd name="connsiteY252" fmla="*/ 755650 h 1908175"/>
                  <a:gd name="connsiteX253" fmla="*/ 238556 w 1601736"/>
                  <a:gd name="connsiteY253" fmla="*/ 749300 h 1908175"/>
                  <a:gd name="connsiteX254" fmla="*/ 206806 w 1601736"/>
                  <a:gd name="connsiteY254" fmla="*/ 742950 h 1908175"/>
                  <a:gd name="connsiteX255" fmla="*/ 175056 w 1601736"/>
                  <a:gd name="connsiteY255" fmla="*/ 736600 h 1908175"/>
                  <a:gd name="connsiteX256" fmla="*/ 127431 w 1601736"/>
                  <a:gd name="connsiteY256" fmla="*/ 730250 h 1908175"/>
                  <a:gd name="connsiteX257" fmla="*/ 108381 w 1601736"/>
                  <a:gd name="connsiteY257" fmla="*/ 723900 h 1908175"/>
                  <a:gd name="connsiteX258" fmla="*/ 89331 w 1601736"/>
                  <a:gd name="connsiteY258" fmla="*/ 708025 h 1908175"/>
                  <a:gd name="connsiteX259" fmla="*/ 67106 w 1601736"/>
                  <a:gd name="connsiteY259" fmla="*/ 701675 h 1908175"/>
                  <a:gd name="connsiteX260" fmla="*/ 48056 w 1601736"/>
                  <a:gd name="connsiteY260" fmla="*/ 695325 h 1908175"/>
                  <a:gd name="connsiteX261" fmla="*/ 25831 w 1601736"/>
                  <a:gd name="connsiteY261" fmla="*/ 688975 h 1908175"/>
                  <a:gd name="connsiteX262" fmla="*/ 6781 w 1601736"/>
                  <a:gd name="connsiteY262" fmla="*/ 676275 h 1908175"/>
                  <a:gd name="connsiteX263" fmla="*/ 431 w 1601736"/>
                  <a:gd name="connsiteY263" fmla="*/ 666750 h 1908175"/>
                  <a:gd name="connsiteX264" fmla="*/ 13131 w 1601736"/>
                  <a:gd name="connsiteY264" fmla="*/ 644525 h 1908175"/>
                  <a:gd name="connsiteX265" fmla="*/ 29006 w 1601736"/>
                  <a:gd name="connsiteY265" fmla="*/ 631825 h 1908175"/>
                  <a:gd name="connsiteX266" fmla="*/ 48056 w 1601736"/>
                  <a:gd name="connsiteY266" fmla="*/ 619125 h 1908175"/>
                  <a:gd name="connsiteX267" fmla="*/ 82981 w 1601736"/>
                  <a:gd name="connsiteY267" fmla="*/ 612775 h 1908175"/>
                  <a:gd name="connsiteX268" fmla="*/ 95681 w 1601736"/>
                  <a:gd name="connsiteY268" fmla="*/ 593725 h 1908175"/>
                  <a:gd name="connsiteX269" fmla="*/ 92506 w 1601736"/>
                  <a:gd name="connsiteY269" fmla="*/ 577850 h 1908175"/>
                  <a:gd name="connsiteX270" fmla="*/ 79806 w 1601736"/>
                  <a:gd name="connsiteY270" fmla="*/ 558800 h 1908175"/>
                  <a:gd name="connsiteX271" fmla="*/ 73456 w 1601736"/>
                  <a:gd name="connsiteY271" fmla="*/ 549275 h 1908175"/>
                  <a:gd name="connsiteX272" fmla="*/ 60756 w 1601736"/>
                  <a:gd name="connsiteY272" fmla="*/ 520700 h 1908175"/>
                  <a:gd name="connsiteX273" fmla="*/ 41706 w 1601736"/>
                  <a:gd name="connsiteY273" fmla="*/ 501650 h 1908175"/>
                  <a:gd name="connsiteX274" fmla="*/ 29006 w 1601736"/>
                  <a:gd name="connsiteY274" fmla="*/ 482600 h 1908175"/>
                  <a:gd name="connsiteX275" fmla="*/ 19481 w 1601736"/>
                  <a:gd name="connsiteY275" fmla="*/ 463550 h 1908175"/>
                  <a:gd name="connsiteX276" fmla="*/ 16306 w 1601736"/>
                  <a:gd name="connsiteY276" fmla="*/ 403225 h 1908175"/>
                  <a:gd name="connsiteX277" fmla="*/ 22656 w 1601736"/>
                  <a:gd name="connsiteY277" fmla="*/ 349250 h 190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1601736" h="1908175">
                    <a:moveTo>
                      <a:pt x="22656" y="349250"/>
                    </a:moveTo>
                    <a:cubicBezTo>
                      <a:pt x="26360" y="341313"/>
                      <a:pt x="33195" y="353599"/>
                      <a:pt x="38531" y="355600"/>
                    </a:cubicBezTo>
                    <a:cubicBezTo>
                      <a:pt x="41665" y="356775"/>
                      <a:pt x="46111" y="356052"/>
                      <a:pt x="48056" y="358775"/>
                    </a:cubicBezTo>
                    <a:cubicBezTo>
                      <a:pt x="51947" y="364222"/>
                      <a:pt x="52289" y="371475"/>
                      <a:pt x="54406" y="377825"/>
                    </a:cubicBezTo>
                    <a:cubicBezTo>
                      <a:pt x="55464" y="381000"/>
                      <a:pt x="55725" y="384565"/>
                      <a:pt x="57581" y="387350"/>
                    </a:cubicBezTo>
                    <a:lnTo>
                      <a:pt x="70281" y="406400"/>
                    </a:lnTo>
                    <a:cubicBezTo>
                      <a:pt x="72398" y="409575"/>
                      <a:pt x="75424" y="412305"/>
                      <a:pt x="76631" y="415925"/>
                    </a:cubicBezTo>
                    <a:cubicBezTo>
                      <a:pt x="78748" y="422275"/>
                      <a:pt x="78248" y="430242"/>
                      <a:pt x="82981" y="434975"/>
                    </a:cubicBezTo>
                    <a:lnTo>
                      <a:pt x="102031" y="454025"/>
                    </a:lnTo>
                    <a:lnTo>
                      <a:pt x="111556" y="463550"/>
                    </a:lnTo>
                    <a:cubicBezTo>
                      <a:pt x="133781" y="462492"/>
                      <a:pt x="156084" y="462518"/>
                      <a:pt x="178231" y="460375"/>
                    </a:cubicBezTo>
                    <a:cubicBezTo>
                      <a:pt x="188974" y="459335"/>
                      <a:pt x="199742" y="457438"/>
                      <a:pt x="209981" y="454025"/>
                    </a:cubicBezTo>
                    <a:lnTo>
                      <a:pt x="229031" y="447675"/>
                    </a:lnTo>
                    <a:cubicBezTo>
                      <a:pt x="234739" y="439112"/>
                      <a:pt x="236365" y="438484"/>
                      <a:pt x="238556" y="428625"/>
                    </a:cubicBezTo>
                    <a:cubicBezTo>
                      <a:pt x="240051" y="421898"/>
                      <a:pt x="239528" y="405396"/>
                      <a:pt x="248081" y="400050"/>
                    </a:cubicBezTo>
                    <a:cubicBezTo>
                      <a:pt x="253757" y="396502"/>
                      <a:pt x="261562" y="397413"/>
                      <a:pt x="267131" y="393700"/>
                    </a:cubicBezTo>
                    <a:cubicBezTo>
                      <a:pt x="279441" y="385494"/>
                      <a:pt x="273036" y="388557"/>
                      <a:pt x="286181" y="384175"/>
                    </a:cubicBezTo>
                    <a:cubicBezTo>
                      <a:pt x="295496" y="377189"/>
                      <a:pt x="300588" y="375571"/>
                      <a:pt x="305231" y="365125"/>
                    </a:cubicBezTo>
                    <a:cubicBezTo>
                      <a:pt x="307949" y="359008"/>
                      <a:pt x="309464" y="352425"/>
                      <a:pt x="311581" y="346075"/>
                    </a:cubicBezTo>
                    <a:lnTo>
                      <a:pt x="314756" y="336550"/>
                    </a:lnTo>
                    <a:cubicBezTo>
                      <a:pt x="315814" y="333375"/>
                      <a:pt x="316434" y="330018"/>
                      <a:pt x="317931" y="327025"/>
                    </a:cubicBezTo>
                    <a:cubicBezTo>
                      <a:pt x="322164" y="318558"/>
                      <a:pt x="327638" y="310605"/>
                      <a:pt x="330631" y="301625"/>
                    </a:cubicBezTo>
                    <a:cubicBezTo>
                      <a:pt x="333813" y="292079"/>
                      <a:pt x="333317" y="290781"/>
                      <a:pt x="340156" y="282575"/>
                    </a:cubicBezTo>
                    <a:cubicBezTo>
                      <a:pt x="343031" y="279126"/>
                      <a:pt x="345756" y="275231"/>
                      <a:pt x="349681" y="273050"/>
                    </a:cubicBezTo>
                    <a:cubicBezTo>
                      <a:pt x="357670" y="268612"/>
                      <a:pt x="372147" y="266178"/>
                      <a:pt x="381431" y="263525"/>
                    </a:cubicBezTo>
                    <a:cubicBezTo>
                      <a:pt x="384649" y="262606"/>
                      <a:pt x="387963" y="261847"/>
                      <a:pt x="390956" y="260350"/>
                    </a:cubicBezTo>
                    <a:cubicBezTo>
                      <a:pt x="394369" y="258643"/>
                      <a:pt x="397306" y="256117"/>
                      <a:pt x="400481" y="254000"/>
                    </a:cubicBezTo>
                    <a:cubicBezTo>
                      <a:pt x="405518" y="246444"/>
                      <a:pt x="412527" y="236259"/>
                      <a:pt x="416356" y="228600"/>
                    </a:cubicBezTo>
                    <a:cubicBezTo>
                      <a:pt x="417853" y="225607"/>
                      <a:pt x="418034" y="222068"/>
                      <a:pt x="419531" y="219075"/>
                    </a:cubicBezTo>
                    <a:cubicBezTo>
                      <a:pt x="421238" y="215662"/>
                      <a:pt x="424331" y="213037"/>
                      <a:pt x="425881" y="209550"/>
                    </a:cubicBezTo>
                    <a:cubicBezTo>
                      <a:pt x="428599" y="203433"/>
                      <a:pt x="430114" y="196850"/>
                      <a:pt x="432231" y="190500"/>
                    </a:cubicBezTo>
                    <a:cubicBezTo>
                      <a:pt x="433289" y="187325"/>
                      <a:pt x="433550" y="183760"/>
                      <a:pt x="435406" y="180975"/>
                    </a:cubicBezTo>
                    <a:lnTo>
                      <a:pt x="441756" y="171450"/>
                    </a:lnTo>
                    <a:cubicBezTo>
                      <a:pt x="451281" y="172508"/>
                      <a:pt x="460747" y="174625"/>
                      <a:pt x="470331" y="174625"/>
                    </a:cubicBezTo>
                    <a:cubicBezTo>
                      <a:pt x="473678" y="174625"/>
                      <a:pt x="476530" y="171820"/>
                      <a:pt x="479856" y="171450"/>
                    </a:cubicBezTo>
                    <a:cubicBezTo>
                      <a:pt x="495669" y="169693"/>
                      <a:pt x="511618" y="169495"/>
                      <a:pt x="527481" y="168275"/>
                    </a:cubicBezTo>
                    <a:cubicBezTo>
                      <a:pt x="539136" y="167378"/>
                      <a:pt x="550764" y="166158"/>
                      <a:pt x="562406" y="165100"/>
                    </a:cubicBezTo>
                    <a:cubicBezTo>
                      <a:pt x="563464" y="161925"/>
                      <a:pt x="563214" y="157942"/>
                      <a:pt x="565581" y="155575"/>
                    </a:cubicBezTo>
                    <a:cubicBezTo>
                      <a:pt x="567084" y="154072"/>
                      <a:pt x="587717" y="149232"/>
                      <a:pt x="587806" y="149225"/>
                    </a:cubicBezTo>
                    <a:cubicBezTo>
                      <a:pt x="611045" y="147437"/>
                      <a:pt x="634373" y="147108"/>
                      <a:pt x="657656" y="146050"/>
                    </a:cubicBezTo>
                    <a:cubicBezTo>
                      <a:pt x="640723" y="120650"/>
                      <a:pt x="662948" y="151342"/>
                      <a:pt x="641781" y="130175"/>
                    </a:cubicBezTo>
                    <a:cubicBezTo>
                      <a:pt x="637293" y="125687"/>
                      <a:pt x="631571" y="112930"/>
                      <a:pt x="629081" y="107950"/>
                    </a:cubicBezTo>
                    <a:cubicBezTo>
                      <a:pt x="630139" y="97367"/>
                      <a:pt x="628893" y="86290"/>
                      <a:pt x="632256" y="76200"/>
                    </a:cubicBezTo>
                    <a:cubicBezTo>
                      <a:pt x="634921" y="68206"/>
                      <a:pt x="658628" y="67226"/>
                      <a:pt x="660831" y="66675"/>
                    </a:cubicBezTo>
                    <a:cubicBezTo>
                      <a:pt x="678967" y="62141"/>
                      <a:pt x="676896" y="62315"/>
                      <a:pt x="689406" y="53975"/>
                    </a:cubicBezTo>
                    <a:cubicBezTo>
                      <a:pt x="700110" y="37918"/>
                      <a:pt x="689945" y="48943"/>
                      <a:pt x="705281" y="41275"/>
                    </a:cubicBezTo>
                    <a:cubicBezTo>
                      <a:pt x="708694" y="39568"/>
                      <a:pt x="711319" y="36475"/>
                      <a:pt x="714806" y="34925"/>
                    </a:cubicBezTo>
                    <a:cubicBezTo>
                      <a:pt x="720923" y="32207"/>
                      <a:pt x="728287" y="32288"/>
                      <a:pt x="733856" y="28575"/>
                    </a:cubicBezTo>
                    <a:cubicBezTo>
                      <a:pt x="740206" y="24342"/>
                      <a:pt x="745666" y="18288"/>
                      <a:pt x="752906" y="15875"/>
                    </a:cubicBezTo>
                    <a:lnTo>
                      <a:pt x="781481" y="6350"/>
                    </a:lnTo>
                    <a:lnTo>
                      <a:pt x="791006" y="3175"/>
                    </a:lnTo>
                    <a:lnTo>
                      <a:pt x="800531" y="0"/>
                    </a:lnTo>
                    <a:cubicBezTo>
                      <a:pt x="811114" y="1058"/>
                      <a:pt x="821769" y="1558"/>
                      <a:pt x="832281" y="3175"/>
                    </a:cubicBezTo>
                    <a:cubicBezTo>
                      <a:pt x="843808" y="4948"/>
                      <a:pt x="840866" y="7467"/>
                      <a:pt x="851331" y="12700"/>
                    </a:cubicBezTo>
                    <a:cubicBezTo>
                      <a:pt x="854324" y="14197"/>
                      <a:pt x="857681" y="14817"/>
                      <a:pt x="860856" y="15875"/>
                    </a:cubicBezTo>
                    <a:cubicBezTo>
                      <a:pt x="869074" y="24093"/>
                      <a:pt x="878038" y="34302"/>
                      <a:pt x="889431" y="38100"/>
                    </a:cubicBezTo>
                    <a:cubicBezTo>
                      <a:pt x="895781" y="40217"/>
                      <a:pt x="901987" y="42827"/>
                      <a:pt x="908481" y="44450"/>
                    </a:cubicBezTo>
                    <a:cubicBezTo>
                      <a:pt x="912714" y="45508"/>
                      <a:pt x="917001" y="46371"/>
                      <a:pt x="921181" y="47625"/>
                    </a:cubicBezTo>
                    <a:cubicBezTo>
                      <a:pt x="935463" y="51910"/>
                      <a:pt x="941639" y="55703"/>
                      <a:pt x="956106" y="57150"/>
                    </a:cubicBezTo>
                    <a:cubicBezTo>
                      <a:pt x="971937" y="58733"/>
                      <a:pt x="987856" y="59267"/>
                      <a:pt x="1003731" y="60325"/>
                    </a:cubicBezTo>
                    <a:cubicBezTo>
                      <a:pt x="1006906" y="61383"/>
                      <a:pt x="1010263" y="62003"/>
                      <a:pt x="1013256" y="63500"/>
                    </a:cubicBezTo>
                    <a:cubicBezTo>
                      <a:pt x="1037875" y="75810"/>
                      <a:pt x="1008365" y="65045"/>
                      <a:pt x="1032306" y="73025"/>
                    </a:cubicBezTo>
                    <a:cubicBezTo>
                      <a:pt x="1035481" y="76200"/>
                      <a:pt x="1038956" y="79101"/>
                      <a:pt x="1041831" y="82550"/>
                    </a:cubicBezTo>
                    <a:cubicBezTo>
                      <a:pt x="1046261" y="87866"/>
                      <a:pt x="1049042" y="97342"/>
                      <a:pt x="1057706" y="98425"/>
                    </a:cubicBezTo>
                    <a:cubicBezTo>
                      <a:pt x="1079784" y="101185"/>
                      <a:pt x="1102156" y="100542"/>
                      <a:pt x="1124381" y="101600"/>
                    </a:cubicBezTo>
                    <a:cubicBezTo>
                      <a:pt x="1130731" y="105833"/>
                      <a:pt x="1136191" y="111887"/>
                      <a:pt x="1143431" y="114300"/>
                    </a:cubicBezTo>
                    <a:cubicBezTo>
                      <a:pt x="1156576" y="118682"/>
                      <a:pt x="1150171" y="115619"/>
                      <a:pt x="1162481" y="123825"/>
                    </a:cubicBezTo>
                    <a:cubicBezTo>
                      <a:pt x="1164598" y="127000"/>
                      <a:pt x="1165959" y="130837"/>
                      <a:pt x="1168831" y="133350"/>
                    </a:cubicBezTo>
                    <a:cubicBezTo>
                      <a:pt x="1175181" y="138906"/>
                      <a:pt x="1189469" y="146447"/>
                      <a:pt x="1197406" y="152400"/>
                    </a:cubicBezTo>
                    <a:cubicBezTo>
                      <a:pt x="1201639" y="155575"/>
                      <a:pt x="1205619" y="159120"/>
                      <a:pt x="1210106" y="161925"/>
                    </a:cubicBezTo>
                    <a:cubicBezTo>
                      <a:pt x="1214120" y="164433"/>
                      <a:pt x="1219110" y="165318"/>
                      <a:pt x="1222806" y="168275"/>
                    </a:cubicBezTo>
                    <a:cubicBezTo>
                      <a:pt x="1229818" y="173885"/>
                      <a:pt x="1233824" y="183309"/>
                      <a:pt x="1241856" y="187325"/>
                    </a:cubicBezTo>
                    <a:cubicBezTo>
                      <a:pt x="1283977" y="208385"/>
                      <a:pt x="1231379" y="182835"/>
                      <a:pt x="1264081" y="196850"/>
                    </a:cubicBezTo>
                    <a:cubicBezTo>
                      <a:pt x="1270905" y="199775"/>
                      <a:pt x="1278562" y="205184"/>
                      <a:pt x="1286306" y="206375"/>
                    </a:cubicBezTo>
                    <a:cubicBezTo>
                      <a:pt x="1296818" y="207992"/>
                      <a:pt x="1307502" y="208231"/>
                      <a:pt x="1318056" y="209550"/>
                    </a:cubicBezTo>
                    <a:cubicBezTo>
                      <a:pt x="1324444" y="210348"/>
                      <a:pt x="1330684" y="212282"/>
                      <a:pt x="1337106" y="212725"/>
                    </a:cubicBezTo>
                    <a:cubicBezTo>
                      <a:pt x="1361413" y="214401"/>
                      <a:pt x="1385789" y="214842"/>
                      <a:pt x="1410131" y="215900"/>
                    </a:cubicBezTo>
                    <a:cubicBezTo>
                      <a:pt x="1411189" y="223308"/>
                      <a:pt x="1408816" y="232138"/>
                      <a:pt x="1413306" y="238125"/>
                    </a:cubicBezTo>
                    <a:cubicBezTo>
                      <a:pt x="1416544" y="242442"/>
                      <a:pt x="1423913" y="240129"/>
                      <a:pt x="1429181" y="241300"/>
                    </a:cubicBezTo>
                    <a:cubicBezTo>
                      <a:pt x="1433441" y="242247"/>
                      <a:pt x="1437524" y="244239"/>
                      <a:pt x="1441881" y="244475"/>
                    </a:cubicBezTo>
                    <a:cubicBezTo>
                      <a:pt x="1476771" y="246361"/>
                      <a:pt x="1511731" y="246592"/>
                      <a:pt x="1546656" y="247650"/>
                    </a:cubicBezTo>
                    <a:cubicBezTo>
                      <a:pt x="1553006" y="251883"/>
                      <a:pt x="1563293" y="253110"/>
                      <a:pt x="1565706" y="260350"/>
                    </a:cubicBezTo>
                    <a:cubicBezTo>
                      <a:pt x="1570088" y="273495"/>
                      <a:pt x="1566096" y="268019"/>
                      <a:pt x="1578406" y="276225"/>
                    </a:cubicBezTo>
                    <a:cubicBezTo>
                      <a:pt x="1580523" y="279400"/>
                      <a:pt x="1583049" y="282337"/>
                      <a:pt x="1584756" y="285750"/>
                    </a:cubicBezTo>
                    <a:cubicBezTo>
                      <a:pt x="1595348" y="306935"/>
                      <a:pt x="1585556" y="354750"/>
                      <a:pt x="1584756" y="361950"/>
                    </a:cubicBezTo>
                    <a:cubicBezTo>
                      <a:pt x="1584017" y="368603"/>
                      <a:pt x="1579719" y="374436"/>
                      <a:pt x="1578406" y="381000"/>
                    </a:cubicBezTo>
                    <a:lnTo>
                      <a:pt x="1575231" y="396875"/>
                    </a:lnTo>
                    <a:cubicBezTo>
                      <a:pt x="1576289" y="409575"/>
                      <a:pt x="1576311" y="422404"/>
                      <a:pt x="1578406" y="434975"/>
                    </a:cubicBezTo>
                    <a:cubicBezTo>
                      <a:pt x="1579506" y="441577"/>
                      <a:pt x="1584756" y="454025"/>
                      <a:pt x="1584756" y="454025"/>
                    </a:cubicBezTo>
                    <a:cubicBezTo>
                      <a:pt x="1583698" y="477308"/>
                      <a:pt x="1581581" y="500568"/>
                      <a:pt x="1581581" y="523875"/>
                    </a:cubicBezTo>
                    <a:cubicBezTo>
                      <a:pt x="1581581" y="553527"/>
                      <a:pt x="1584756" y="583123"/>
                      <a:pt x="1584756" y="612775"/>
                    </a:cubicBezTo>
                    <a:cubicBezTo>
                      <a:pt x="1584756" y="719826"/>
                      <a:pt x="1584699" y="711832"/>
                      <a:pt x="1578406" y="781050"/>
                    </a:cubicBezTo>
                    <a:cubicBezTo>
                      <a:pt x="1579464" y="791633"/>
                      <a:pt x="1580077" y="802271"/>
                      <a:pt x="1581581" y="812800"/>
                    </a:cubicBezTo>
                    <a:cubicBezTo>
                      <a:pt x="1582198" y="817120"/>
                      <a:pt x="1584514" y="821143"/>
                      <a:pt x="1584756" y="825500"/>
                    </a:cubicBezTo>
                    <a:cubicBezTo>
                      <a:pt x="1586636" y="859331"/>
                      <a:pt x="1586150" y="893264"/>
                      <a:pt x="1587931" y="927100"/>
                    </a:cubicBezTo>
                    <a:cubicBezTo>
                      <a:pt x="1588269" y="933529"/>
                      <a:pt x="1589757" y="939855"/>
                      <a:pt x="1591106" y="946150"/>
                    </a:cubicBezTo>
                    <a:cubicBezTo>
                      <a:pt x="1592935" y="954684"/>
                      <a:pt x="1597456" y="971550"/>
                      <a:pt x="1597456" y="971550"/>
                    </a:cubicBezTo>
                    <a:cubicBezTo>
                      <a:pt x="1598514" y="1022350"/>
                      <a:pt x="1600631" y="1073139"/>
                      <a:pt x="1600631" y="1123950"/>
                    </a:cubicBezTo>
                    <a:cubicBezTo>
                      <a:pt x="1600631" y="1145143"/>
                      <a:pt x="1599216" y="1166330"/>
                      <a:pt x="1597456" y="1187450"/>
                    </a:cubicBezTo>
                    <a:cubicBezTo>
                      <a:pt x="1597094" y="1191799"/>
                      <a:pt x="1596232" y="1196247"/>
                      <a:pt x="1594281" y="1200150"/>
                    </a:cubicBezTo>
                    <a:cubicBezTo>
                      <a:pt x="1586686" y="1215341"/>
                      <a:pt x="1582509" y="1218272"/>
                      <a:pt x="1572056" y="1228725"/>
                    </a:cubicBezTo>
                    <a:cubicBezTo>
                      <a:pt x="1570998" y="1231900"/>
                      <a:pt x="1570378" y="1235257"/>
                      <a:pt x="1568881" y="1238250"/>
                    </a:cubicBezTo>
                    <a:cubicBezTo>
                      <a:pt x="1567174" y="1241663"/>
                      <a:pt x="1564081" y="1244288"/>
                      <a:pt x="1562531" y="1247775"/>
                    </a:cubicBezTo>
                    <a:cubicBezTo>
                      <a:pt x="1559813" y="1253892"/>
                      <a:pt x="1558298" y="1260475"/>
                      <a:pt x="1556181" y="1266825"/>
                    </a:cubicBezTo>
                    <a:lnTo>
                      <a:pt x="1553006" y="1276350"/>
                    </a:lnTo>
                    <a:cubicBezTo>
                      <a:pt x="1554064" y="1296458"/>
                      <a:pt x="1554358" y="1316622"/>
                      <a:pt x="1556181" y="1336675"/>
                    </a:cubicBezTo>
                    <a:cubicBezTo>
                      <a:pt x="1556484" y="1340008"/>
                      <a:pt x="1557731" y="1343274"/>
                      <a:pt x="1559356" y="1346200"/>
                    </a:cubicBezTo>
                    <a:cubicBezTo>
                      <a:pt x="1563062" y="1352871"/>
                      <a:pt x="1565706" y="1361017"/>
                      <a:pt x="1572056" y="1365250"/>
                    </a:cubicBezTo>
                    <a:cubicBezTo>
                      <a:pt x="1584366" y="1373456"/>
                      <a:pt x="1577961" y="1370393"/>
                      <a:pt x="1591106" y="1374775"/>
                    </a:cubicBezTo>
                    <a:cubicBezTo>
                      <a:pt x="1610474" y="1432880"/>
                      <a:pt x="1597456" y="1390684"/>
                      <a:pt x="1597456" y="1539875"/>
                    </a:cubicBezTo>
                    <a:cubicBezTo>
                      <a:pt x="1597456" y="1625607"/>
                      <a:pt x="1597106" y="1711365"/>
                      <a:pt x="1594281" y="1797050"/>
                    </a:cubicBezTo>
                    <a:cubicBezTo>
                      <a:pt x="1593925" y="1807837"/>
                      <a:pt x="1587931" y="1828800"/>
                      <a:pt x="1587931" y="1828800"/>
                    </a:cubicBezTo>
                    <a:cubicBezTo>
                      <a:pt x="1588989" y="1841500"/>
                      <a:pt x="1589422" y="1854268"/>
                      <a:pt x="1591106" y="1866900"/>
                    </a:cubicBezTo>
                    <a:cubicBezTo>
                      <a:pt x="1591548" y="1870217"/>
                      <a:pt x="1594281" y="1873078"/>
                      <a:pt x="1594281" y="1876425"/>
                    </a:cubicBezTo>
                    <a:cubicBezTo>
                      <a:pt x="1594281" y="1887061"/>
                      <a:pt x="1592164" y="1897592"/>
                      <a:pt x="1591106" y="1908175"/>
                    </a:cubicBezTo>
                    <a:cubicBezTo>
                      <a:pt x="1584756" y="1907117"/>
                      <a:pt x="1578340" y="1906397"/>
                      <a:pt x="1572056" y="1905000"/>
                    </a:cubicBezTo>
                    <a:cubicBezTo>
                      <a:pt x="1568789" y="1904274"/>
                      <a:pt x="1564898" y="1904192"/>
                      <a:pt x="1562531" y="1901825"/>
                    </a:cubicBezTo>
                    <a:cubicBezTo>
                      <a:pt x="1550221" y="1889515"/>
                      <a:pt x="1548646" y="1879219"/>
                      <a:pt x="1543481" y="1863725"/>
                    </a:cubicBezTo>
                    <a:cubicBezTo>
                      <a:pt x="1542423" y="1860550"/>
                      <a:pt x="1542162" y="1856985"/>
                      <a:pt x="1540306" y="1854200"/>
                    </a:cubicBezTo>
                    <a:cubicBezTo>
                      <a:pt x="1536073" y="1847850"/>
                      <a:pt x="1530019" y="1842390"/>
                      <a:pt x="1527606" y="1835150"/>
                    </a:cubicBezTo>
                    <a:cubicBezTo>
                      <a:pt x="1524297" y="1825224"/>
                      <a:pt x="1521089" y="1812813"/>
                      <a:pt x="1511731" y="1806575"/>
                    </a:cubicBezTo>
                    <a:cubicBezTo>
                      <a:pt x="1478782" y="1784609"/>
                      <a:pt x="1529789" y="1818045"/>
                      <a:pt x="1489506" y="1793875"/>
                    </a:cubicBezTo>
                    <a:cubicBezTo>
                      <a:pt x="1482962" y="1789948"/>
                      <a:pt x="1476806" y="1785408"/>
                      <a:pt x="1470456" y="1781175"/>
                    </a:cubicBezTo>
                    <a:lnTo>
                      <a:pt x="1460931" y="1774825"/>
                    </a:lnTo>
                    <a:cubicBezTo>
                      <a:pt x="1458839" y="1768550"/>
                      <a:pt x="1457001" y="1760251"/>
                      <a:pt x="1451406" y="1755775"/>
                    </a:cubicBezTo>
                    <a:cubicBezTo>
                      <a:pt x="1448793" y="1753684"/>
                      <a:pt x="1444807" y="1754225"/>
                      <a:pt x="1441881" y="1752600"/>
                    </a:cubicBezTo>
                    <a:cubicBezTo>
                      <a:pt x="1435210" y="1748894"/>
                      <a:pt x="1430071" y="1742313"/>
                      <a:pt x="1422831" y="1739900"/>
                    </a:cubicBezTo>
                    <a:cubicBezTo>
                      <a:pt x="1388093" y="1728321"/>
                      <a:pt x="1440710" y="1746788"/>
                      <a:pt x="1403781" y="1730375"/>
                    </a:cubicBezTo>
                    <a:cubicBezTo>
                      <a:pt x="1397664" y="1727657"/>
                      <a:pt x="1391081" y="1726142"/>
                      <a:pt x="1384731" y="1724025"/>
                    </a:cubicBezTo>
                    <a:cubicBezTo>
                      <a:pt x="1352720" y="1713355"/>
                      <a:pt x="1402373" y="1729635"/>
                      <a:pt x="1362506" y="1717675"/>
                    </a:cubicBezTo>
                    <a:cubicBezTo>
                      <a:pt x="1356095" y="1715752"/>
                      <a:pt x="1343456" y="1711325"/>
                      <a:pt x="1343456" y="1711325"/>
                    </a:cubicBezTo>
                    <a:cubicBezTo>
                      <a:pt x="1339223" y="1708150"/>
                      <a:pt x="1333691" y="1706203"/>
                      <a:pt x="1330756" y="1701800"/>
                    </a:cubicBezTo>
                    <a:cubicBezTo>
                      <a:pt x="1327043" y="1696231"/>
                      <a:pt x="1326523" y="1689100"/>
                      <a:pt x="1324406" y="1682750"/>
                    </a:cubicBezTo>
                    <a:lnTo>
                      <a:pt x="1318056" y="1663700"/>
                    </a:lnTo>
                    <a:cubicBezTo>
                      <a:pt x="1316553" y="1659192"/>
                      <a:pt x="1313455" y="1647112"/>
                      <a:pt x="1308531" y="1644650"/>
                    </a:cubicBezTo>
                    <a:cubicBezTo>
                      <a:pt x="1302773" y="1641771"/>
                      <a:pt x="1295815" y="1642627"/>
                      <a:pt x="1289481" y="1641475"/>
                    </a:cubicBezTo>
                    <a:cubicBezTo>
                      <a:pt x="1284172" y="1640510"/>
                      <a:pt x="1278898" y="1639358"/>
                      <a:pt x="1273606" y="1638300"/>
                    </a:cubicBezTo>
                    <a:cubicBezTo>
                      <a:pt x="1270431" y="1639358"/>
                      <a:pt x="1267348" y="1640749"/>
                      <a:pt x="1264081" y="1641475"/>
                    </a:cubicBezTo>
                    <a:cubicBezTo>
                      <a:pt x="1257797" y="1642872"/>
                      <a:pt x="1251242" y="1642956"/>
                      <a:pt x="1245031" y="1644650"/>
                    </a:cubicBezTo>
                    <a:cubicBezTo>
                      <a:pt x="1196956" y="1657761"/>
                      <a:pt x="1264397" y="1645126"/>
                      <a:pt x="1210106" y="1654175"/>
                    </a:cubicBezTo>
                    <a:cubicBezTo>
                      <a:pt x="1205873" y="1656292"/>
                      <a:pt x="1201896" y="1659028"/>
                      <a:pt x="1197406" y="1660525"/>
                    </a:cubicBezTo>
                    <a:cubicBezTo>
                      <a:pt x="1189127" y="1663285"/>
                      <a:pt x="1172006" y="1666875"/>
                      <a:pt x="1172006" y="1666875"/>
                    </a:cubicBezTo>
                    <a:cubicBezTo>
                      <a:pt x="1162481" y="1665817"/>
                      <a:pt x="1152903" y="1665157"/>
                      <a:pt x="1143431" y="1663700"/>
                    </a:cubicBezTo>
                    <a:cubicBezTo>
                      <a:pt x="1139118" y="1663036"/>
                      <a:pt x="1135095" y="1660525"/>
                      <a:pt x="1130731" y="1660525"/>
                    </a:cubicBezTo>
                    <a:cubicBezTo>
                      <a:pt x="1117987" y="1660525"/>
                      <a:pt x="1105331" y="1662642"/>
                      <a:pt x="1092631" y="1663700"/>
                    </a:cubicBezTo>
                    <a:cubicBezTo>
                      <a:pt x="1088398" y="1664758"/>
                      <a:pt x="1083942" y="1665156"/>
                      <a:pt x="1079931" y="1666875"/>
                    </a:cubicBezTo>
                    <a:cubicBezTo>
                      <a:pt x="1076424" y="1668378"/>
                      <a:pt x="1073819" y="1671518"/>
                      <a:pt x="1070406" y="1673225"/>
                    </a:cubicBezTo>
                    <a:cubicBezTo>
                      <a:pt x="1067413" y="1674722"/>
                      <a:pt x="1064056" y="1675342"/>
                      <a:pt x="1060881" y="1676400"/>
                    </a:cubicBezTo>
                    <a:cubicBezTo>
                      <a:pt x="1054866" y="1694444"/>
                      <a:pt x="1055339" y="1683558"/>
                      <a:pt x="1076756" y="1704975"/>
                    </a:cubicBezTo>
                    <a:lnTo>
                      <a:pt x="1086281" y="1714500"/>
                    </a:lnTo>
                    <a:cubicBezTo>
                      <a:pt x="1090346" y="1726696"/>
                      <a:pt x="1093230" y="1730614"/>
                      <a:pt x="1086281" y="1746250"/>
                    </a:cubicBezTo>
                    <a:cubicBezTo>
                      <a:pt x="1084731" y="1749737"/>
                      <a:pt x="1079931" y="1750483"/>
                      <a:pt x="1076756" y="1752600"/>
                    </a:cubicBezTo>
                    <a:cubicBezTo>
                      <a:pt x="1072054" y="1752353"/>
                      <a:pt x="1014822" y="1754703"/>
                      <a:pt x="997381" y="1743075"/>
                    </a:cubicBezTo>
                    <a:lnTo>
                      <a:pt x="987856" y="1736725"/>
                    </a:lnTo>
                    <a:cubicBezTo>
                      <a:pt x="985739" y="1733550"/>
                      <a:pt x="983949" y="1730131"/>
                      <a:pt x="981506" y="1727200"/>
                    </a:cubicBezTo>
                    <a:cubicBezTo>
                      <a:pt x="972729" y="1716667"/>
                      <a:pt x="971543" y="1719974"/>
                      <a:pt x="965631" y="1708150"/>
                    </a:cubicBezTo>
                    <a:cubicBezTo>
                      <a:pt x="964134" y="1705157"/>
                      <a:pt x="963514" y="1701800"/>
                      <a:pt x="962456" y="1698625"/>
                    </a:cubicBezTo>
                    <a:cubicBezTo>
                      <a:pt x="956181" y="1700717"/>
                      <a:pt x="947882" y="1702555"/>
                      <a:pt x="943406" y="1708150"/>
                    </a:cubicBezTo>
                    <a:cubicBezTo>
                      <a:pt x="941750" y="1710220"/>
                      <a:pt x="937263" y="1729545"/>
                      <a:pt x="937056" y="1730375"/>
                    </a:cubicBezTo>
                    <a:lnTo>
                      <a:pt x="775131" y="1727200"/>
                    </a:lnTo>
                    <a:cubicBezTo>
                      <a:pt x="767652" y="1726942"/>
                      <a:pt x="757057" y="1730252"/>
                      <a:pt x="752906" y="1724025"/>
                    </a:cubicBezTo>
                    <a:cubicBezTo>
                      <a:pt x="748917" y="1718041"/>
                      <a:pt x="756356" y="1697801"/>
                      <a:pt x="759256" y="1689100"/>
                    </a:cubicBezTo>
                    <a:cubicBezTo>
                      <a:pt x="759691" y="1683010"/>
                      <a:pt x="754965" y="1646178"/>
                      <a:pt x="768781" y="1635125"/>
                    </a:cubicBezTo>
                    <a:cubicBezTo>
                      <a:pt x="771394" y="1633034"/>
                      <a:pt x="775131" y="1633008"/>
                      <a:pt x="778306" y="1631950"/>
                    </a:cubicBezTo>
                    <a:cubicBezTo>
                      <a:pt x="780423" y="1628775"/>
                      <a:pt x="781958" y="1625123"/>
                      <a:pt x="784656" y="1622425"/>
                    </a:cubicBezTo>
                    <a:cubicBezTo>
                      <a:pt x="795663" y="1611418"/>
                      <a:pt x="793758" y="1621790"/>
                      <a:pt x="800531" y="1606550"/>
                    </a:cubicBezTo>
                    <a:cubicBezTo>
                      <a:pt x="803249" y="1600433"/>
                      <a:pt x="803888" y="1593487"/>
                      <a:pt x="806881" y="1587500"/>
                    </a:cubicBezTo>
                    <a:cubicBezTo>
                      <a:pt x="808998" y="1583267"/>
                      <a:pt x="811367" y="1579150"/>
                      <a:pt x="813231" y="1574800"/>
                    </a:cubicBezTo>
                    <a:cubicBezTo>
                      <a:pt x="814549" y="1571724"/>
                      <a:pt x="814909" y="1568268"/>
                      <a:pt x="816406" y="1565275"/>
                    </a:cubicBezTo>
                    <a:cubicBezTo>
                      <a:pt x="818113" y="1561862"/>
                      <a:pt x="821049" y="1559163"/>
                      <a:pt x="822756" y="1555750"/>
                    </a:cubicBezTo>
                    <a:cubicBezTo>
                      <a:pt x="824253" y="1552757"/>
                      <a:pt x="823840" y="1548838"/>
                      <a:pt x="825931" y="1546225"/>
                    </a:cubicBezTo>
                    <a:cubicBezTo>
                      <a:pt x="828315" y="1543245"/>
                      <a:pt x="832281" y="1541992"/>
                      <a:pt x="835456" y="1539875"/>
                    </a:cubicBezTo>
                    <a:cubicBezTo>
                      <a:pt x="841100" y="1531408"/>
                      <a:pt x="842869" y="1527407"/>
                      <a:pt x="851331" y="1520825"/>
                    </a:cubicBezTo>
                    <a:lnTo>
                      <a:pt x="879906" y="1501775"/>
                    </a:lnTo>
                    <a:lnTo>
                      <a:pt x="889431" y="1495425"/>
                    </a:lnTo>
                    <a:cubicBezTo>
                      <a:pt x="892606" y="1493308"/>
                      <a:pt x="896258" y="1491773"/>
                      <a:pt x="898956" y="1489075"/>
                    </a:cubicBezTo>
                    <a:cubicBezTo>
                      <a:pt x="905978" y="1482053"/>
                      <a:pt x="909165" y="1477620"/>
                      <a:pt x="918006" y="1473200"/>
                    </a:cubicBezTo>
                    <a:cubicBezTo>
                      <a:pt x="920999" y="1471703"/>
                      <a:pt x="924284" y="1470837"/>
                      <a:pt x="927531" y="1470025"/>
                    </a:cubicBezTo>
                    <a:cubicBezTo>
                      <a:pt x="939911" y="1466930"/>
                      <a:pt x="953086" y="1465467"/>
                      <a:pt x="965631" y="1463675"/>
                    </a:cubicBezTo>
                    <a:cubicBezTo>
                      <a:pt x="985739" y="1464733"/>
                      <a:pt x="1005903" y="1465027"/>
                      <a:pt x="1025956" y="1466850"/>
                    </a:cubicBezTo>
                    <a:cubicBezTo>
                      <a:pt x="1029289" y="1467153"/>
                      <a:pt x="1032234" y="1469213"/>
                      <a:pt x="1035481" y="1470025"/>
                    </a:cubicBezTo>
                    <a:cubicBezTo>
                      <a:pt x="1040716" y="1471334"/>
                      <a:pt x="1046064" y="1472142"/>
                      <a:pt x="1051356" y="1473200"/>
                    </a:cubicBezTo>
                    <a:lnTo>
                      <a:pt x="1022781" y="1454150"/>
                    </a:lnTo>
                    <a:lnTo>
                      <a:pt x="1013256" y="1447800"/>
                    </a:lnTo>
                    <a:lnTo>
                      <a:pt x="1003731" y="1441450"/>
                    </a:lnTo>
                    <a:cubicBezTo>
                      <a:pt x="1013619" y="1434858"/>
                      <a:pt x="1020780" y="1427671"/>
                      <a:pt x="1032306" y="1425575"/>
                    </a:cubicBezTo>
                    <a:cubicBezTo>
                      <a:pt x="1040701" y="1424049"/>
                      <a:pt x="1049239" y="1423458"/>
                      <a:pt x="1057706" y="1422400"/>
                    </a:cubicBezTo>
                    <a:cubicBezTo>
                      <a:pt x="1058764" y="1419225"/>
                      <a:pt x="1060881" y="1416222"/>
                      <a:pt x="1060881" y="1412875"/>
                    </a:cubicBezTo>
                    <a:cubicBezTo>
                      <a:pt x="1060881" y="1406437"/>
                      <a:pt x="1062258" y="1398377"/>
                      <a:pt x="1057706" y="1393825"/>
                    </a:cubicBezTo>
                    <a:cubicBezTo>
                      <a:pt x="1053154" y="1389273"/>
                      <a:pt x="1045029" y="1391560"/>
                      <a:pt x="1038656" y="1390650"/>
                    </a:cubicBezTo>
                    <a:cubicBezTo>
                      <a:pt x="1030209" y="1389443"/>
                      <a:pt x="1021723" y="1388533"/>
                      <a:pt x="1013256" y="1387475"/>
                    </a:cubicBezTo>
                    <a:cubicBezTo>
                      <a:pt x="988099" y="1379089"/>
                      <a:pt x="1000808" y="1382225"/>
                      <a:pt x="975156" y="1377950"/>
                    </a:cubicBezTo>
                    <a:cubicBezTo>
                      <a:pt x="974098" y="1374775"/>
                      <a:pt x="970923" y="1371600"/>
                      <a:pt x="971981" y="1368425"/>
                    </a:cubicBezTo>
                    <a:cubicBezTo>
                      <a:pt x="975592" y="1357591"/>
                      <a:pt x="983418" y="1359531"/>
                      <a:pt x="991031" y="1355725"/>
                    </a:cubicBezTo>
                    <a:cubicBezTo>
                      <a:pt x="1010208" y="1346137"/>
                      <a:pt x="990061" y="1348125"/>
                      <a:pt x="1022781" y="1346200"/>
                    </a:cubicBezTo>
                    <a:cubicBezTo>
                      <a:pt x="1051326" y="1344521"/>
                      <a:pt x="1079931" y="1344083"/>
                      <a:pt x="1108506" y="1343025"/>
                    </a:cubicBezTo>
                    <a:cubicBezTo>
                      <a:pt x="1081209" y="1324827"/>
                      <a:pt x="1115746" y="1346645"/>
                      <a:pt x="1089456" y="1333500"/>
                    </a:cubicBezTo>
                    <a:cubicBezTo>
                      <a:pt x="1086043" y="1331793"/>
                      <a:pt x="1083244" y="1329043"/>
                      <a:pt x="1079931" y="1327150"/>
                    </a:cubicBezTo>
                    <a:cubicBezTo>
                      <a:pt x="1075822" y="1324802"/>
                      <a:pt x="1070927" y="1323757"/>
                      <a:pt x="1067231" y="1320800"/>
                    </a:cubicBezTo>
                    <a:cubicBezTo>
                      <a:pt x="1060219" y="1315190"/>
                      <a:pt x="1055365" y="1307138"/>
                      <a:pt x="1048181" y="1301750"/>
                    </a:cubicBezTo>
                    <a:lnTo>
                      <a:pt x="1035481" y="1292225"/>
                    </a:lnTo>
                    <a:cubicBezTo>
                      <a:pt x="1034423" y="1289050"/>
                      <a:pt x="1033803" y="1285693"/>
                      <a:pt x="1032306" y="1282700"/>
                    </a:cubicBezTo>
                    <a:cubicBezTo>
                      <a:pt x="1028971" y="1276029"/>
                      <a:pt x="1022176" y="1268118"/>
                      <a:pt x="1016431" y="1263650"/>
                    </a:cubicBezTo>
                    <a:cubicBezTo>
                      <a:pt x="1010407" y="1258965"/>
                      <a:pt x="1003820" y="1255047"/>
                      <a:pt x="997381" y="1250950"/>
                    </a:cubicBezTo>
                    <a:cubicBezTo>
                      <a:pt x="992175" y="1247637"/>
                      <a:pt x="981506" y="1241425"/>
                      <a:pt x="981506" y="1241425"/>
                    </a:cubicBezTo>
                    <a:cubicBezTo>
                      <a:pt x="975262" y="1232059"/>
                      <a:pt x="974798" y="1230015"/>
                      <a:pt x="965631" y="1222375"/>
                    </a:cubicBezTo>
                    <a:cubicBezTo>
                      <a:pt x="962700" y="1219932"/>
                      <a:pt x="959037" y="1218468"/>
                      <a:pt x="956106" y="1216025"/>
                    </a:cubicBezTo>
                    <a:cubicBezTo>
                      <a:pt x="936798" y="1199935"/>
                      <a:pt x="957381" y="1211900"/>
                      <a:pt x="933881" y="1200150"/>
                    </a:cubicBezTo>
                    <a:cubicBezTo>
                      <a:pt x="920211" y="1179645"/>
                      <a:pt x="930437" y="1198266"/>
                      <a:pt x="924356" y="1155700"/>
                    </a:cubicBezTo>
                    <a:cubicBezTo>
                      <a:pt x="923161" y="1147335"/>
                      <a:pt x="919404" y="1143510"/>
                      <a:pt x="914831" y="1136650"/>
                    </a:cubicBezTo>
                    <a:cubicBezTo>
                      <a:pt x="913773" y="1132417"/>
                      <a:pt x="912233" y="1128275"/>
                      <a:pt x="911656" y="1123950"/>
                    </a:cubicBezTo>
                    <a:cubicBezTo>
                      <a:pt x="907713" y="1094376"/>
                      <a:pt x="910903" y="1095537"/>
                      <a:pt x="905306" y="1073150"/>
                    </a:cubicBezTo>
                    <a:cubicBezTo>
                      <a:pt x="903868" y="1067398"/>
                      <a:pt x="900631" y="1057980"/>
                      <a:pt x="895781" y="1054100"/>
                    </a:cubicBezTo>
                    <a:cubicBezTo>
                      <a:pt x="893168" y="1052009"/>
                      <a:pt x="889431" y="1051983"/>
                      <a:pt x="886256" y="1050925"/>
                    </a:cubicBezTo>
                    <a:cubicBezTo>
                      <a:pt x="885198" y="1047750"/>
                      <a:pt x="885448" y="1043767"/>
                      <a:pt x="883081" y="1041400"/>
                    </a:cubicBezTo>
                    <a:cubicBezTo>
                      <a:pt x="864771" y="1023090"/>
                      <a:pt x="881301" y="1056890"/>
                      <a:pt x="867206" y="1028700"/>
                    </a:cubicBezTo>
                    <a:cubicBezTo>
                      <a:pt x="865709" y="1025707"/>
                      <a:pt x="865528" y="1022168"/>
                      <a:pt x="864031" y="1019175"/>
                    </a:cubicBezTo>
                    <a:cubicBezTo>
                      <a:pt x="862324" y="1015762"/>
                      <a:pt x="859388" y="1013063"/>
                      <a:pt x="857681" y="1009650"/>
                    </a:cubicBezTo>
                    <a:cubicBezTo>
                      <a:pt x="852516" y="999321"/>
                      <a:pt x="857255" y="999699"/>
                      <a:pt x="848156" y="990600"/>
                    </a:cubicBezTo>
                    <a:cubicBezTo>
                      <a:pt x="845458" y="987902"/>
                      <a:pt x="841806" y="986367"/>
                      <a:pt x="838631" y="984250"/>
                    </a:cubicBezTo>
                    <a:cubicBezTo>
                      <a:pt x="827927" y="968193"/>
                      <a:pt x="838092" y="979218"/>
                      <a:pt x="822756" y="971550"/>
                    </a:cubicBezTo>
                    <a:cubicBezTo>
                      <a:pt x="819343" y="969843"/>
                      <a:pt x="816718" y="966750"/>
                      <a:pt x="813231" y="965200"/>
                    </a:cubicBezTo>
                    <a:cubicBezTo>
                      <a:pt x="807114" y="962482"/>
                      <a:pt x="799750" y="962563"/>
                      <a:pt x="794181" y="958850"/>
                    </a:cubicBezTo>
                    <a:cubicBezTo>
                      <a:pt x="781871" y="950644"/>
                      <a:pt x="788276" y="953707"/>
                      <a:pt x="775131" y="949325"/>
                    </a:cubicBezTo>
                    <a:cubicBezTo>
                      <a:pt x="768781" y="942975"/>
                      <a:pt x="764113" y="934291"/>
                      <a:pt x="756081" y="930275"/>
                    </a:cubicBezTo>
                    <a:cubicBezTo>
                      <a:pt x="751848" y="928158"/>
                      <a:pt x="747490" y="926273"/>
                      <a:pt x="743381" y="923925"/>
                    </a:cubicBezTo>
                    <a:cubicBezTo>
                      <a:pt x="740068" y="922032"/>
                      <a:pt x="737343" y="919125"/>
                      <a:pt x="733856" y="917575"/>
                    </a:cubicBezTo>
                    <a:cubicBezTo>
                      <a:pt x="727739" y="914857"/>
                      <a:pt x="721300" y="912848"/>
                      <a:pt x="714806" y="911225"/>
                    </a:cubicBezTo>
                    <a:lnTo>
                      <a:pt x="689406" y="904875"/>
                    </a:lnTo>
                    <a:cubicBezTo>
                      <a:pt x="686231" y="902758"/>
                      <a:pt x="683294" y="900232"/>
                      <a:pt x="679881" y="898525"/>
                    </a:cubicBezTo>
                    <a:cubicBezTo>
                      <a:pt x="674783" y="895976"/>
                      <a:pt x="668839" y="895196"/>
                      <a:pt x="664006" y="892175"/>
                    </a:cubicBezTo>
                    <a:cubicBezTo>
                      <a:pt x="660198" y="889795"/>
                      <a:pt x="658406" y="884831"/>
                      <a:pt x="654481" y="882650"/>
                    </a:cubicBezTo>
                    <a:cubicBezTo>
                      <a:pt x="648630" y="879399"/>
                      <a:pt x="641925" y="877923"/>
                      <a:pt x="635431" y="876300"/>
                    </a:cubicBezTo>
                    <a:cubicBezTo>
                      <a:pt x="631198" y="875242"/>
                      <a:pt x="627010" y="873981"/>
                      <a:pt x="622731" y="873125"/>
                    </a:cubicBezTo>
                    <a:cubicBezTo>
                      <a:pt x="616418" y="871862"/>
                      <a:pt x="609965" y="871347"/>
                      <a:pt x="603681" y="869950"/>
                    </a:cubicBezTo>
                    <a:cubicBezTo>
                      <a:pt x="600414" y="869224"/>
                      <a:pt x="597374" y="867694"/>
                      <a:pt x="594156" y="866775"/>
                    </a:cubicBezTo>
                    <a:cubicBezTo>
                      <a:pt x="589960" y="865576"/>
                      <a:pt x="585652" y="864799"/>
                      <a:pt x="581456" y="863600"/>
                    </a:cubicBezTo>
                    <a:cubicBezTo>
                      <a:pt x="578238" y="862681"/>
                      <a:pt x="575178" y="861237"/>
                      <a:pt x="571931" y="860425"/>
                    </a:cubicBezTo>
                    <a:cubicBezTo>
                      <a:pt x="559551" y="857330"/>
                      <a:pt x="546376" y="855867"/>
                      <a:pt x="533831" y="854075"/>
                    </a:cubicBezTo>
                    <a:cubicBezTo>
                      <a:pt x="527481" y="851958"/>
                      <a:pt x="520350" y="851438"/>
                      <a:pt x="514781" y="847725"/>
                    </a:cubicBezTo>
                    <a:lnTo>
                      <a:pt x="495731" y="835025"/>
                    </a:lnTo>
                    <a:cubicBezTo>
                      <a:pt x="492556" y="832908"/>
                      <a:pt x="489908" y="829600"/>
                      <a:pt x="486206" y="828675"/>
                    </a:cubicBezTo>
                    <a:cubicBezTo>
                      <a:pt x="481973" y="827617"/>
                      <a:pt x="477592" y="827032"/>
                      <a:pt x="473506" y="825500"/>
                    </a:cubicBezTo>
                    <a:cubicBezTo>
                      <a:pt x="469074" y="823838"/>
                      <a:pt x="465296" y="820647"/>
                      <a:pt x="460806" y="819150"/>
                    </a:cubicBezTo>
                    <a:cubicBezTo>
                      <a:pt x="452527" y="816390"/>
                      <a:pt x="443873" y="814917"/>
                      <a:pt x="435406" y="812800"/>
                    </a:cubicBezTo>
                    <a:lnTo>
                      <a:pt x="422706" y="809625"/>
                    </a:lnTo>
                    <a:cubicBezTo>
                      <a:pt x="418473" y="808567"/>
                      <a:pt x="414146" y="807830"/>
                      <a:pt x="410006" y="806450"/>
                    </a:cubicBezTo>
                    <a:cubicBezTo>
                      <a:pt x="406831" y="805392"/>
                      <a:pt x="403699" y="804194"/>
                      <a:pt x="400481" y="803275"/>
                    </a:cubicBezTo>
                    <a:cubicBezTo>
                      <a:pt x="372574" y="795302"/>
                      <a:pt x="401094" y="804538"/>
                      <a:pt x="378256" y="796925"/>
                    </a:cubicBezTo>
                    <a:cubicBezTo>
                      <a:pt x="375081" y="793750"/>
                      <a:pt x="371606" y="790849"/>
                      <a:pt x="368731" y="787400"/>
                    </a:cubicBezTo>
                    <a:cubicBezTo>
                      <a:pt x="366288" y="784469"/>
                      <a:pt x="365079" y="780573"/>
                      <a:pt x="362381" y="777875"/>
                    </a:cubicBezTo>
                    <a:cubicBezTo>
                      <a:pt x="351810" y="767304"/>
                      <a:pt x="354951" y="774806"/>
                      <a:pt x="343331" y="768350"/>
                    </a:cubicBezTo>
                    <a:cubicBezTo>
                      <a:pt x="336660" y="764644"/>
                      <a:pt x="331685" y="757501"/>
                      <a:pt x="324281" y="755650"/>
                    </a:cubicBezTo>
                    <a:cubicBezTo>
                      <a:pt x="287944" y="746566"/>
                      <a:pt x="315941" y="752665"/>
                      <a:pt x="238556" y="749300"/>
                    </a:cubicBezTo>
                    <a:lnTo>
                      <a:pt x="206806" y="742950"/>
                    </a:lnTo>
                    <a:cubicBezTo>
                      <a:pt x="196223" y="740833"/>
                      <a:pt x="185740" y="738126"/>
                      <a:pt x="175056" y="736600"/>
                    </a:cubicBezTo>
                    <a:cubicBezTo>
                      <a:pt x="144384" y="732218"/>
                      <a:pt x="160257" y="734353"/>
                      <a:pt x="127431" y="730250"/>
                    </a:cubicBezTo>
                    <a:cubicBezTo>
                      <a:pt x="121081" y="728133"/>
                      <a:pt x="113114" y="728633"/>
                      <a:pt x="108381" y="723900"/>
                    </a:cubicBezTo>
                    <a:cubicBezTo>
                      <a:pt x="101359" y="716878"/>
                      <a:pt x="98172" y="712445"/>
                      <a:pt x="89331" y="708025"/>
                    </a:cubicBezTo>
                    <a:cubicBezTo>
                      <a:pt x="83996" y="705357"/>
                      <a:pt x="72192" y="703201"/>
                      <a:pt x="67106" y="701675"/>
                    </a:cubicBezTo>
                    <a:cubicBezTo>
                      <a:pt x="60695" y="699752"/>
                      <a:pt x="54550" y="696948"/>
                      <a:pt x="48056" y="695325"/>
                    </a:cubicBezTo>
                    <a:cubicBezTo>
                      <a:pt x="45067" y="694578"/>
                      <a:pt x="29558" y="691045"/>
                      <a:pt x="25831" y="688975"/>
                    </a:cubicBezTo>
                    <a:cubicBezTo>
                      <a:pt x="19160" y="685269"/>
                      <a:pt x="6781" y="676275"/>
                      <a:pt x="6781" y="676275"/>
                    </a:cubicBezTo>
                    <a:cubicBezTo>
                      <a:pt x="4664" y="673100"/>
                      <a:pt x="904" y="670536"/>
                      <a:pt x="431" y="666750"/>
                    </a:cubicBezTo>
                    <a:cubicBezTo>
                      <a:pt x="-1531" y="651057"/>
                      <a:pt x="3277" y="651094"/>
                      <a:pt x="13131" y="644525"/>
                    </a:cubicBezTo>
                    <a:cubicBezTo>
                      <a:pt x="24864" y="626926"/>
                      <a:pt x="12768" y="640846"/>
                      <a:pt x="29006" y="631825"/>
                    </a:cubicBezTo>
                    <a:cubicBezTo>
                      <a:pt x="35677" y="628119"/>
                      <a:pt x="40528" y="620380"/>
                      <a:pt x="48056" y="619125"/>
                    </a:cubicBezTo>
                    <a:cubicBezTo>
                      <a:pt x="72429" y="615063"/>
                      <a:pt x="60793" y="617213"/>
                      <a:pt x="82981" y="612775"/>
                    </a:cubicBezTo>
                    <a:cubicBezTo>
                      <a:pt x="87214" y="606425"/>
                      <a:pt x="97178" y="601209"/>
                      <a:pt x="95681" y="593725"/>
                    </a:cubicBezTo>
                    <a:cubicBezTo>
                      <a:pt x="94623" y="588433"/>
                      <a:pt x="94739" y="582763"/>
                      <a:pt x="92506" y="577850"/>
                    </a:cubicBezTo>
                    <a:cubicBezTo>
                      <a:pt x="89348" y="570902"/>
                      <a:pt x="84039" y="565150"/>
                      <a:pt x="79806" y="558800"/>
                    </a:cubicBezTo>
                    <a:cubicBezTo>
                      <a:pt x="77689" y="555625"/>
                      <a:pt x="74663" y="552895"/>
                      <a:pt x="73456" y="549275"/>
                    </a:cubicBezTo>
                    <a:cubicBezTo>
                      <a:pt x="69430" y="537196"/>
                      <a:pt x="68806" y="529757"/>
                      <a:pt x="60756" y="520700"/>
                    </a:cubicBezTo>
                    <a:cubicBezTo>
                      <a:pt x="54790" y="513988"/>
                      <a:pt x="46687" y="509122"/>
                      <a:pt x="41706" y="501650"/>
                    </a:cubicBezTo>
                    <a:cubicBezTo>
                      <a:pt x="37473" y="495300"/>
                      <a:pt x="31419" y="489840"/>
                      <a:pt x="29006" y="482600"/>
                    </a:cubicBezTo>
                    <a:cubicBezTo>
                      <a:pt x="24624" y="469455"/>
                      <a:pt x="27687" y="475860"/>
                      <a:pt x="19481" y="463550"/>
                    </a:cubicBezTo>
                    <a:cubicBezTo>
                      <a:pt x="18423" y="443442"/>
                      <a:pt x="16306" y="423361"/>
                      <a:pt x="16306" y="403225"/>
                    </a:cubicBezTo>
                    <a:cubicBezTo>
                      <a:pt x="16306" y="388371"/>
                      <a:pt x="18952" y="357187"/>
                      <a:pt x="22656" y="34925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6" name="Freeform 285"/>
              <p:cNvSpPr/>
              <p:nvPr/>
            </p:nvSpPr>
            <p:spPr>
              <a:xfrm>
                <a:off x="10479871" y="3317270"/>
                <a:ext cx="138029" cy="134171"/>
              </a:xfrm>
              <a:custGeom>
                <a:avLst/>
                <a:gdLst>
                  <a:gd name="connsiteX0" fmla="*/ 4379 w 138029"/>
                  <a:gd name="connsiteY0" fmla="*/ 419 h 134171"/>
                  <a:gd name="connsiteX1" fmla="*/ 1204 w 138029"/>
                  <a:gd name="connsiteY1" fmla="*/ 25819 h 134171"/>
                  <a:gd name="connsiteX2" fmla="*/ 4379 w 138029"/>
                  <a:gd name="connsiteY2" fmla="*/ 51219 h 134171"/>
                  <a:gd name="connsiteX3" fmla="*/ 10729 w 138029"/>
                  <a:gd name="connsiteY3" fmla="*/ 70269 h 134171"/>
                  <a:gd name="connsiteX4" fmla="*/ 13904 w 138029"/>
                  <a:gd name="connsiteY4" fmla="*/ 79794 h 134171"/>
                  <a:gd name="connsiteX5" fmla="*/ 20254 w 138029"/>
                  <a:gd name="connsiteY5" fmla="*/ 108369 h 134171"/>
                  <a:gd name="connsiteX6" fmla="*/ 23429 w 138029"/>
                  <a:gd name="connsiteY6" fmla="*/ 117894 h 134171"/>
                  <a:gd name="connsiteX7" fmla="*/ 32954 w 138029"/>
                  <a:gd name="connsiteY7" fmla="*/ 124244 h 134171"/>
                  <a:gd name="connsiteX8" fmla="*/ 42479 w 138029"/>
                  <a:gd name="connsiteY8" fmla="*/ 127419 h 134171"/>
                  <a:gd name="connsiteX9" fmla="*/ 109154 w 138029"/>
                  <a:gd name="connsiteY9" fmla="*/ 130594 h 134171"/>
                  <a:gd name="connsiteX10" fmla="*/ 131379 w 138029"/>
                  <a:gd name="connsiteY10" fmla="*/ 133769 h 134171"/>
                  <a:gd name="connsiteX11" fmla="*/ 137729 w 138029"/>
                  <a:gd name="connsiteY11" fmla="*/ 124244 h 134171"/>
                  <a:gd name="connsiteX12" fmla="*/ 134554 w 138029"/>
                  <a:gd name="connsiteY12" fmla="*/ 95669 h 134171"/>
                  <a:gd name="connsiteX13" fmla="*/ 125029 w 138029"/>
                  <a:gd name="connsiteY13" fmla="*/ 89319 h 134171"/>
                  <a:gd name="connsiteX14" fmla="*/ 96454 w 138029"/>
                  <a:gd name="connsiteY14" fmla="*/ 76619 h 134171"/>
                  <a:gd name="connsiteX15" fmla="*/ 64704 w 138029"/>
                  <a:gd name="connsiteY15" fmla="*/ 38519 h 134171"/>
                  <a:gd name="connsiteX16" fmla="*/ 58354 w 138029"/>
                  <a:gd name="connsiteY16" fmla="*/ 28994 h 134171"/>
                  <a:gd name="connsiteX17" fmla="*/ 45654 w 138029"/>
                  <a:gd name="connsiteY17" fmla="*/ 9944 h 134171"/>
                  <a:gd name="connsiteX18" fmla="*/ 4379 w 138029"/>
                  <a:gd name="connsiteY18" fmla="*/ 419 h 13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029" h="134171">
                    <a:moveTo>
                      <a:pt x="4379" y="419"/>
                    </a:moveTo>
                    <a:cubicBezTo>
                      <a:pt x="-3029" y="3065"/>
                      <a:pt x="1204" y="17286"/>
                      <a:pt x="1204" y="25819"/>
                    </a:cubicBezTo>
                    <a:cubicBezTo>
                      <a:pt x="1204" y="34352"/>
                      <a:pt x="2591" y="42876"/>
                      <a:pt x="4379" y="51219"/>
                    </a:cubicBezTo>
                    <a:cubicBezTo>
                      <a:pt x="5781" y="57764"/>
                      <a:pt x="8612" y="63919"/>
                      <a:pt x="10729" y="70269"/>
                    </a:cubicBezTo>
                    <a:cubicBezTo>
                      <a:pt x="11787" y="73444"/>
                      <a:pt x="13248" y="76512"/>
                      <a:pt x="13904" y="79794"/>
                    </a:cubicBezTo>
                    <a:cubicBezTo>
                      <a:pt x="16086" y="90706"/>
                      <a:pt x="17265" y="97907"/>
                      <a:pt x="20254" y="108369"/>
                    </a:cubicBezTo>
                    <a:cubicBezTo>
                      <a:pt x="21173" y="111587"/>
                      <a:pt x="21338" y="115281"/>
                      <a:pt x="23429" y="117894"/>
                    </a:cubicBezTo>
                    <a:cubicBezTo>
                      <a:pt x="25813" y="120874"/>
                      <a:pt x="29541" y="122537"/>
                      <a:pt x="32954" y="124244"/>
                    </a:cubicBezTo>
                    <a:cubicBezTo>
                      <a:pt x="35947" y="125741"/>
                      <a:pt x="39144" y="127141"/>
                      <a:pt x="42479" y="127419"/>
                    </a:cubicBezTo>
                    <a:cubicBezTo>
                      <a:pt x="64652" y="129267"/>
                      <a:pt x="86929" y="129536"/>
                      <a:pt x="109154" y="130594"/>
                    </a:cubicBezTo>
                    <a:cubicBezTo>
                      <a:pt x="116562" y="131652"/>
                      <a:pt x="124074" y="135392"/>
                      <a:pt x="131379" y="133769"/>
                    </a:cubicBezTo>
                    <a:cubicBezTo>
                      <a:pt x="135104" y="132941"/>
                      <a:pt x="137412" y="128047"/>
                      <a:pt x="137729" y="124244"/>
                    </a:cubicBezTo>
                    <a:cubicBezTo>
                      <a:pt x="138525" y="114693"/>
                      <a:pt x="137829" y="104676"/>
                      <a:pt x="134554" y="95669"/>
                    </a:cubicBezTo>
                    <a:cubicBezTo>
                      <a:pt x="133250" y="92083"/>
                      <a:pt x="128516" y="90869"/>
                      <a:pt x="125029" y="89319"/>
                    </a:cubicBezTo>
                    <a:cubicBezTo>
                      <a:pt x="109930" y="82608"/>
                      <a:pt x="107232" y="86200"/>
                      <a:pt x="96454" y="76619"/>
                    </a:cubicBezTo>
                    <a:cubicBezTo>
                      <a:pt x="76452" y="58840"/>
                      <a:pt x="78608" y="59375"/>
                      <a:pt x="64704" y="38519"/>
                    </a:cubicBezTo>
                    <a:lnTo>
                      <a:pt x="58354" y="28994"/>
                    </a:lnTo>
                    <a:cubicBezTo>
                      <a:pt x="54970" y="15458"/>
                      <a:pt x="58183" y="16209"/>
                      <a:pt x="45654" y="9944"/>
                    </a:cubicBezTo>
                    <a:cubicBezTo>
                      <a:pt x="42661" y="8447"/>
                      <a:pt x="11787" y="-2227"/>
                      <a:pt x="4379" y="419"/>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7" name="Freeform 286"/>
              <p:cNvSpPr/>
              <p:nvPr/>
            </p:nvSpPr>
            <p:spPr>
              <a:xfrm>
                <a:off x="10404875" y="3528277"/>
                <a:ext cx="358775" cy="91037"/>
              </a:xfrm>
              <a:custGeom>
                <a:avLst/>
                <a:gdLst>
                  <a:gd name="connsiteX0" fmla="*/ 165100 w 358775"/>
                  <a:gd name="connsiteY0" fmla="*/ 8487 h 91037"/>
                  <a:gd name="connsiteX1" fmla="*/ 114300 w 358775"/>
                  <a:gd name="connsiteY1" fmla="*/ 5312 h 91037"/>
                  <a:gd name="connsiteX2" fmla="*/ 0 w 358775"/>
                  <a:gd name="connsiteY2" fmla="*/ 5312 h 91037"/>
                  <a:gd name="connsiteX3" fmla="*/ 28575 w 358775"/>
                  <a:gd name="connsiteY3" fmla="*/ 18012 h 91037"/>
                  <a:gd name="connsiteX4" fmla="*/ 38100 w 358775"/>
                  <a:gd name="connsiteY4" fmla="*/ 21187 h 91037"/>
                  <a:gd name="connsiteX5" fmla="*/ 47625 w 358775"/>
                  <a:gd name="connsiteY5" fmla="*/ 27537 h 91037"/>
                  <a:gd name="connsiteX6" fmla="*/ 85725 w 358775"/>
                  <a:gd name="connsiteY6" fmla="*/ 37062 h 91037"/>
                  <a:gd name="connsiteX7" fmla="*/ 98425 w 358775"/>
                  <a:gd name="connsiteY7" fmla="*/ 56112 h 91037"/>
                  <a:gd name="connsiteX8" fmla="*/ 101600 w 358775"/>
                  <a:gd name="connsiteY8" fmla="*/ 65637 h 91037"/>
                  <a:gd name="connsiteX9" fmla="*/ 111125 w 358775"/>
                  <a:gd name="connsiteY9" fmla="*/ 75162 h 91037"/>
                  <a:gd name="connsiteX10" fmla="*/ 123825 w 358775"/>
                  <a:gd name="connsiteY10" fmla="*/ 78337 h 91037"/>
                  <a:gd name="connsiteX11" fmla="*/ 158750 w 358775"/>
                  <a:gd name="connsiteY11" fmla="*/ 87862 h 91037"/>
                  <a:gd name="connsiteX12" fmla="*/ 168275 w 358775"/>
                  <a:gd name="connsiteY12" fmla="*/ 91037 h 91037"/>
                  <a:gd name="connsiteX13" fmla="*/ 212725 w 358775"/>
                  <a:gd name="connsiteY13" fmla="*/ 84687 h 91037"/>
                  <a:gd name="connsiteX14" fmla="*/ 234950 w 358775"/>
                  <a:gd name="connsiteY14" fmla="*/ 78337 h 91037"/>
                  <a:gd name="connsiteX15" fmla="*/ 247650 w 358775"/>
                  <a:gd name="connsiteY15" fmla="*/ 75162 h 91037"/>
                  <a:gd name="connsiteX16" fmla="*/ 257175 w 358775"/>
                  <a:gd name="connsiteY16" fmla="*/ 71987 h 91037"/>
                  <a:gd name="connsiteX17" fmla="*/ 311150 w 358775"/>
                  <a:gd name="connsiteY17" fmla="*/ 62462 h 91037"/>
                  <a:gd name="connsiteX18" fmla="*/ 349250 w 358775"/>
                  <a:gd name="connsiteY18" fmla="*/ 52937 h 91037"/>
                  <a:gd name="connsiteX19" fmla="*/ 358775 w 358775"/>
                  <a:gd name="connsiteY19" fmla="*/ 49762 h 91037"/>
                  <a:gd name="connsiteX20" fmla="*/ 339725 w 358775"/>
                  <a:gd name="connsiteY20" fmla="*/ 43412 h 91037"/>
                  <a:gd name="connsiteX21" fmla="*/ 330200 w 358775"/>
                  <a:gd name="connsiteY21" fmla="*/ 40237 h 91037"/>
                  <a:gd name="connsiteX22" fmla="*/ 301625 w 358775"/>
                  <a:gd name="connsiteY22" fmla="*/ 37062 h 91037"/>
                  <a:gd name="connsiteX23" fmla="*/ 285750 w 358775"/>
                  <a:gd name="connsiteY23" fmla="*/ 33887 h 91037"/>
                  <a:gd name="connsiteX24" fmla="*/ 238125 w 358775"/>
                  <a:gd name="connsiteY24" fmla="*/ 30712 h 91037"/>
                  <a:gd name="connsiteX25" fmla="*/ 212725 w 358775"/>
                  <a:gd name="connsiteY25" fmla="*/ 24362 h 91037"/>
                  <a:gd name="connsiteX26" fmla="*/ 174625 w 358775"/>
                  <a:gd name="connsiteY26" fmla="*/ 8487 h 91037"/>
                  <a:gd name="connsiteX27" fmla="*/ 165100 w 358775"/>
                  <a:gd name="connsiteY27" fmla="*/ 5312 h 91037"/>
                  <a:gd name="connsiteX28" fmla="*/ 165100 w 358775"/>
                  <a:gd name="connsiteY28" fmla="*/ 8487 h 9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8775" h="91037">
                    <a:moveTo>
                      <a:pt x="165100" y="8487"/>
                    </a:moveTo>
                    <a:lnTo>
                      <a:pt x="114300" y="5312"/>
                    </a:lnTo>
                    <a:cubicBezTo>
                      <a:pt x="14888" y="1082"/>
                      <a:pt x="47339" y="-4156"/>
                      <a:pt x="0" y="5312"/>
                    </a:cubicBezTo>
                    <a:cubicBezTo>
                      <a:pt x="15094" y="15375"/>
                      <a:pt x="5905" y="10455"/>
                      <a:pt x="28575" y="18012"/>
                    </a:cubicBezTo>
                    <a:cubicBezTo>
                      <a:pt x="31750" y="19070"/>
                      <a:pt x="35315" y="19331"/>
                      <a:pt x="38100" y="21187"/>
                    </a:cubicBezTo>
                    <a:cubicBezTo>
                      <a:pt x="41275" y="23304"/>
                      <a:pt x="44138" y="25987"/>
                      <a:pt x="47625" y="27537"/>
                    </a:cubicBezTo>
                    <a:cubicBezTo>
                      <a:pt x="62719" y="34246"/>
                      <a:pt x="69751" y="34400"/>
                      <a:pt x="85725" y="37062"/>
                    </a:cubicBezTo>
                    <a:cubicBezTo>
                      <a:pt x="89958" y="43412"/>
                      <a:pt x="96012" y="48872"/>
                      <a:pt x="98425" y="56112"/>
                    </a:cubicBezTo>
                    <a:cubicBezTo>
                      <a:pt x="99483" y="59287"/>
                      <a:pt x="99744" y="62852"/>
                      <a:pt x="101600" y="65637"/>
                    </a:cubicBezTo>
                    <a:cubicBezTo>
                      <a:pt x="104091" y="69373"/>
                      <a:pt x="107226" y="72934"/>
                      <a:pt x="111125" y="75162"/>
                    </a:cubicBezTo>
                    <a:cubicBezTo>
                      <a:pt x="114914" y="77327"/>
                      <a:pt x="119565" y="77390"/>
                      <a:pt x="123825" y="78337"/>
                    </a:cubicBezTo>
                    <a:cubicBezTo>
                      <a:pt x="150751" y="84321"/>
                      <a:pt x="129014" y="77950"/>
                      <a:pt x="158750" y="87862"/>
                    </a:cubicBezTo>
                    <a:lnTo>
                      <a:pt x="168275" y="91037"/>
                    </a:lnTo>
                    <a:cubicBezTo>
                      <a:pt x="186056" y="89061"/>
                      <a:pt x="196551" y="88731"/>
                      <a:pt x="212725" y="84687"/>
                    </a:cubicBezTo>
                    <a:cubicBezTo>
                      <a:pt x="220200" y="82818"/>
                      <a:pt x="227517" y="80364"/>
                      <a:pt x="234950" y="78337"/>
                    </a:cubicBezTo>
                    <a:cubicBezTo>
                      <a:pt x="239160" y="77189"/>
                      <a:pt x="243454" y="76361"/>
                      <a:pt x="247650" y="75162"/>
                    </a:cubicBezTo>
                    <a:cubicBezTo>
                      <a:pt x="250868" y="74243"/>
                      <a:pt x="253928" y="72799"/>
                      <a:pt x="257175" y="71987"/>
                    </a:cubicBezTo>
                    <a:cubicBezTo>
                      <a:pt x="268575" y="69137"/>
                      <a:pt x="308525" y="62899"/>
                      <a:pt x="311150" y="62462"/>
                    </a:cubicBezTo>
                    <a:cubicBezTo>
                      <a:pt x="336802" y="58187"/>
                      <a:pt x="324093" y="61323"/>
                      <a:pt x="349250" y="52937"/>
                    </a:cubicBezTo>
                    <a:lnTo>
                      <a:pt x="358775" y="49762"/>
                    </a:lnTo>
                    <a:lnTo>
                      <a:pt x="339725" y="43412"/>
                    </a:lnTo>
                    <a:cubicBezTo>
                      <a:pt x="336550" y="42354"/>
                      <a:pt x="333526" y="40607"/>
                      <a:pt x="330200" y="40237"/>
                    </a:cubicBezTo>
                    <a:cubicBezTo>
                      <a:pt x="320675" y="39179"/>
                      <a:pt x="311112" y="38417"/>
                      <a:pt x="301625" y="37062"/>
                    </a:cubicBezTo>
                    <a:cubicBezTo>
                      <a:pt x="296283" y="36299"/>
                      <a:pt x="291120" y="34424"/>
                      <a:pt x="285750" y="33887"/>
                    </a:cubicBezTo>
                    <a:cubicBezTo>
                      <a:pt x="269919" y="32304"/>
                      <a:pt x="254000" y="31770"/>
                      <a:pt x="238125" y="30712"/>
                    </a:cubicBezTo>
                    <a:cubicBezTo>
                      <a:pt x="229702" y="29027"/>
                      <a:pt x="220713" y="27912"/>
                      <a:pt x="212725" y="24362"/>
                    </a:cubicBezTo>
                    <a:cubicBezTo>
                      <a:pt x="175170" y="7671"/>
                      <a:pt x="212213" y="21016"/>
                      <a:pt x="174625" y="8487"/>
                    </a:cubicBezTo>
                    <a:cubicBezTo>
                      <a:pt x="171450" y="7429"/>
                      <a:pt x="168447" y="5312"/>
                      <a:pt x="165100" y="5312"/>
                    </a:cubicBezTo>
                    <a:lnTo>
                      <a:pt x="165100" y="8487"/>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8" name="Freeform 287"/>
              <p:cNvSpPr/>
              <p:nvPr/>
            </p:nvSpPr>
            <p:spPr>
              <a:xfrm>
                <a:off x="8027594" y="3896385"/>
                <a:ext cx="321469" cy="231436"/>
              </a:xfrm>
              <a:custGeom>
                <a:avLst/>
                <a:gdLst>
                  <a:gd name="connsiteX0" fmla="*/ 147637 w 321469"/>
                  <a:gd name="connsiteY0" fmla="*/ 3123 h 231436"/>
                  <a:gd name="connsiteX1" fmla="*/ 80962 w 321469"/>
                  <a:gd name="connsiteY1" fmla="*/ 3123 h 231436"/>
                  <a:gd name="connsiteX2" fmla="*/ 59531 w 321469"/>
                  <a:gd name="connsiteY2" fmla="*/ 5504 h 231436"/>
                  <a:gd name="connsiteX3" fmla="*/ 52387 w 321469"/>
                  <a:gd name="connsiteY3" fmla="*/ 10267 h 231436"/>
                  <a:gd name="connsiteX4" fmla="*/ 38100 w 321469"/>
                  <a:gd name="connsiteY4" fmla="*/ 15029 h 231436"/>
                  <a:gd name="connsiteX5" fmla="*/ 7144 w 321469"/>
                  <a:gd name="connsiteY5" fmla="*/ 15029 h 231436"/>
                  <a:gd name="connsiteX6" fmla="*/ 2381 w 321469"/>
                  <a:gd name="connsiteY6" fmla="*/ 29317 h 231436"/>
                  <a:gd name="connsiteX7" fmla="*/ 0 w 321469"/>
                  <a:gd name="connsiteY7" fmla="*/ 36460 h 231436"/>
                  <a:gd name="connsiteX8" fmla="*/ 7144 w 321469"/>
                  <a:gd name="connsiteY8" fmla="*/ 62654 h 231436"/>
                  <a:gd name="connsiteX9" fmla="*/ 9525 w 321469"/>
                  <a:gd name="connsiteY9" fmla="*/ 69798 h 231436"/>
                  <a:gd name="connsiteX10" fmla="*/ 19050 w 321469"/>
                  <a:gd name="connsiteY10" fmla="*/ 84085 h 231436"/>
                  <a:gd name="connsiteX11" fmla="*/ 30956 w 321469"/>
                  <a:gd name="connsiteY11" fmla="*/ 98373 h 231436"/>
                  <a:gd name="connsiteX12" fmla="*/ 40481 w 321469"/>
                  <a:gd name="connsiteY12" fmla="*/ 112660 h 231436"/>
                  <a:gd name="connsiteX13" fmla="*/ 47625 w 321469"/>
                  <a:gd name="connsiteY13" fmla="*/ 119804 h 231436"/>
                  <a:gd name="connsiteX14" fmla="*/ 52387 w 321469"/>
                  <a:gd name="connsiteY14" fmla="*/ 126948 h 231436"/>
                  <a:gd name="connsiteX15" fmla="*/ 59531 w 321469"/>
                  <a:gd name="connsiteY15" fmla="*/ 131710 h 231436"/>
                  <a:gd name="connsiteX16" fmla="*/ 66675 w 321469"/>
                  <a:gd name="connsiteY16" fmla="*/ 141235 h 231436"/>
                  <a:gd name="connsiteX17" fmla="*/ 80962 w 321469"/>
                  <a:gd name="connsiteY17" fmla="*/ 153142 h 231436"/>
                  <a:gd name="connsiteX18" fmla="*/ 85725 w 321469"/>
                  <a:gd name="connsiteY18" fmla="*/ 160285 h 231436"/>
                  <a:gd name="connsiteX19" fmla="*/ 107156 w 321469"/>
                  <a:gd name="connsiteY19" fmla="*/ 176954 h 231436"/>
                  <a:gd name="connsiteX20" fmla="*/ 114300 w 321469"/>
                  <a:gd name="connsiteY20" fmla="*/ 184098 h 231436"/>
                  <a:gd name="connsiteX21" fmla="*/ 140494 w 321469"/>
                  <a:gd name="connsiteY21" fmla="*/ 200767 h 231436"/>
                  <a:gd name="connsiteX22" fmla="*/ 150019 w 321469"/>
                  <a:gd name="connsiteY22" fmla="*/ 205529 h 231436"/>
                  <a:gd name="connsiteX23" fmla="*/ 157162 w 321469"/>
                  <a:gd name="connsiteY23" fmla="*/ 210292 h 231436"/>
                  <a:gd name="connsiteX24" fmla="*/ 166687 w 321469"/>
                  <a:gd name="connsiteY24" fmla="*/ 212673 h 231436"/>
                  <a:gd name="connsiteX25" fmla="*/ 173831 w 321469"/>
                  <a:gd name="connsiteY25" fmla="*/ 215054 h 231436"/>
                  <a:gd name="connsiteX26" fmla="*/ 185737 w 321469"/>
                  <a:gd name="connsiteY26" fmla="*/ 219817 h 231436"/>
                  <a:gd name="connsiteX27" fmla="*/ 200025 w 321469"/>
                  <a:gd name="connsiteY27" fmla="*/ 222198 h 231436"/>
                  <a:gd name="connsiteX28" fmla="*/ 252412 w 321469"/>
                  <a:gd name="connsiteY28" fmla="*/ 226960 h 231436"/>
                  <a:gd name="connsiteX29" fmla="*/ 259556 w 321469"/>
                  <a:gd name="connsiteY29" fmla="*/ 217435 h 231436"/>
                  <a:gd name="connsiteX30" fmla="*/ 261937 w 321469"/>
                  <a:gd name="connsiteY30" fmla="*/ 176954 h 231436"/>
                  <a:gd name="connsiteX31" fmla="*/ 276225 w 321469"/>
                  <a:gd name="connsiteY31" fmla="*/ 167429 h 231436"/>
                  <a:gd name="connsiteX32" fmla="*/ 283369 w 321469"/>
                  <a:gd name="connsiteY32" fmla="*/ 160285 h 231436"/>
                  <a:gd name="connsiteX33" fmla="*/ 309562 w 321469"/>
                  <a:gd name="connsiteY33" fmla="*/ 157904 h 231436"/>
                  <a:gd name="connsiteX34" fmla="*/ 314325 w 321469"/>
                  <a:gd name="connsiteY34" fmla="*/ 150760 h 231436"/>
                  <a:gd name="connsiteX35" fmla="*/ 321469 w 321469"/>
                  <a:gd name="connsiteY35" fmla="*/ 129329 h 231436"/>
                  <a:gd name="connsiteX36" fmla="*/ 316706 w 321469"/>
                  <a:gd name="connsiteY36" fmla="*/ 100754 h 231436"/>
                  <a:gd name="connsiteX37" fmla="*/ 314325 w 321469"/>
                  <a:gd name="connsiteY37" fmla="*/ 91229 h 231436"/>
                  <a:gd name="connsiteX38" fmla="*/ 292894 w 321469"/>
                  <a:gd name="connsiteY38" fmla="*/ 81704 h 231436"/>
                  <a:gd name="connsiteX39" fmla="*/ 285750 w 321469"/>
                  <a:gd name="connsiteY39" fmla="*/ 79323 h 231436"/>
                  <a:gd name="connsiteX40" fmla="*/ 280987 w 321469"/>
                  <a:gd name="connsiteY40" fmla="*/ 72179 h 231436"/>
                  <a:gd name="connsiteX41" fmla="*/ 283369 w 321469"/>
                  <a:gd name="connsiteY41" fmla="*/ 65035 h 231436"/>
                  <a:gd name="connsiteX42" fmla="*/ 290512 w 321469"/>
                  <a:gd name="connsiteY42" fmla="*/ 48367 h 231436"/>
                  <a:gd name="connsiteX43" fmla="*/ 285750 w 321469"/>
                  <a:gd name="connsiteY43" fmla="*/ 31698 h 231436"/>
                  <a:gd name="connsiteX44" fmla="*/ 271462 w 321469"/>
                  <a:gd name="connsiteY44" fmla="*/ 19792 h 231436"/>
                  <a:gd name="connsiteX45" fmla="*/ 264319 w 321469"/>
                  <a:gd name="connsiteY45" fmla="*/ 17410 h 231436"/>
                  <a:gd name="connsiteX46" fmla="*/ 252412 w 321469"/>
                  <a:gd name="connsiteY46" fmla="*/ 7885 h 231436"/>
                  <a:gd name="connsiteX47" fmla="*/ 223837 w 321469"/>
                  <a:gd name="connsiteY47" fmla="*/ 742 h 231436"/>
                  <a:gd name="connsiteX48" fmla="*/ 147637 w 321469"/>
                  <a:gd name="connsiteY48" fmla="*/ 3123 h 23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1469" h="231436">
                    <a:moveTo>
                      <a:pt x="147637" y="3123"/>
                    </a:moveTo>
                    <a:cubicBezTo>
                      <a:pt x="123824" y="3520"/>
                      <a:pt x="153775" y="3123"/>
                      <a:pt x="80962" y="3123"/>
                    </a:cubicBezTo>
                    <a:cubicBezTo>
                      <a:pt x="73774" y="3123"/>
                      <a:pt x="66675" y="4710"/>
                      <a:pt x="59531" y="5504"/>
                    </a:cubicBezTo>
                    <a:cubicBezTo>
                      <a:pt x="57150" y="7092"/>
                      <a:pt x="55002" y="9105"/>
                      <a:pt x="52387" y="10267"/>
                    </a:cubicBezTo>
                    <a:cubicBezTo>
                      <a:pt x="47800" y="12306"/>
                      <a:pt x="38100" y="15029"/>
                      <a:pt x="38100" y="15029"/>
                    </a:cubicBezTo>
                    <a:cubicBezTo>
                      <a:pt x="35477" y="14701"/>
                      <a:pt x="12396" y="9777"/>
                      <a:pt x="7144" y="15029"/>
                    </a:cubicBezTo>
                    <a:cubicBezTo>
                      <a:pt x="3594" y="18579"/>
                      <a:pt x="3969" y="24554"/>
                      <a:pt x="2381" y="29317"/>
                    </a:cubicBezTo>
                    <a:lnTo>
                      <a:pt x="0" y="36460"/>
                    </a:lnTo>
                    <a:cubicBezTo>
                      <a:pt x="4285" y="70744"/>
                      <a:pt x="-1862" y="44643"/>
                      <a:pt x="7144" y="62654"/>
                    </a:cubicBezTo>
                    <a:cubicBezTo>
                      <a:pt x="8267" y="64899"/>
                      <a:pt x="8306" y="67604"/>
                      <a:pt x="9525" y="69798"/>
                    </a:cubicBezTo>
                    <a:cubicBezTo>
                      <a:pt x="12305" y="74801"/>
                      <a:pt x="19050" y="84085"/>
                      <a:pt x="19050" y="84085"/>
                    </a:cubicBezTo>
                    <a:cubicBezTo>
                      <a:pt x="24144" y="99370"/>
                      <a:pt x="17117" y="82804"/>
                      <a:pt x="30956" y="98373"/>
                    </a:cubicBezTo>
                    <a:cubicBezTo>
                      <a:pt x="34759" y="102651"/>
                      <a:pt x="36434" y="108613"/>
                      <a:pt x="40481" y="112660"/>
                    </a:cubicBezTo>
                    <a:cubicBezTo>
                      <a:pt x="42862" y="115041"/>
                      <a:pt x="45469" y="117217"/>
                      <a:pt x="47625" y="119804"/>
                    </a:cubicBezTo>
                    <a:cubicBezTo>
                      <a:pt x="49457" y="122003"/>
                      <a:pt x="50363" y="124924"/>
                      <a:pt x="52387" y="126948"/>
                    </a:cubicBezTo>
                    <a:cubicBezTo>
                      <a:pt x="54411" y="128972"/>
                      <a:pt x="57150" y="130123"/>
                      <a:pt x="59531" y="131710"/>
                    </a:cubicBezTo>
                    <a:cubicBezTo>
                      <a:pt x="61912" y="134885"/>
                      <a:pt x="63869" y="138429"/>
                      <a:pt x="66675" y="141235"/>
                    </a:cubicBezTo>
                    <a:cubicBezTo>
                      <a:pt x="85411" y="159971"/>
                      <a:pt x="61453" y="129732"/>
                      <a:pt x="80962" y="153142"/>
                    </a:cubicBezTo>
                    <a:cubicBezTo>
                      <a:pt x="82794" y="155340"/>
                      <a:pt x="83607" y="158360"/>
                      <a:pt x="85725" y="160285"/>
                    </a:cubicBezTo>
                    <a:cubicBezTo>
                      <a:pt x="92422" y="166373"/>
                      <a:pt x="100757" y="170555"/>
                      <a:pt x="107156" y="176954"/>
                    </a:cubicBezTo>
                    <a:cubicBezTo>
                      <a:pt x="109537" y="179335"/>
                      <a:pt x="111642" y="182030"/>
                      <a:pt x="114300" y="184098"/>
                    </a:cubicBezTo>
                    <a:cubicBezTo>
                      <a:pt x="119212" y="187919"/>
                      <a:pt x="134374" y="197367"/>
                      <a:pt x="140494" y="200767"/>
                    </a:cubicBezTo>
                    <a:cubicBezTo>
                      <a:pt x="143597" y="202491"/>
                      <a:pt x="146937" y="203768"/>
                      <a:pt x="150019" y="205529"/>
                    </a:cubicBezTo>
                    <a:cubicBezTo>
                      <a:pt x="152504" y="206949"/>
                      <a:pt x="154532" y="209165"/>
                      <a:pt x="157162" y="210292"/>
                    </a:cubicBezTo>
                    <a:cubicBezTo>
                      <a:pt x="160170" y="211581"/>
                      <a:pt x="163540" y="211774"/>
                      <a:pt x="166687" y="212673"/>
                    </a:cubicBezTo>
                    <a:cubicBezTo>
                      <a:pt x="169101" y="213363"/>
                      <a:pt x="171481" y="214173"/>
                      <a:pt x="173831" y="215054"/>
                    </a:cubicBezTo>
                    <a:cubicBezTo>
                      <a:pt x="177833" y="216555"/>
                      <a:pt x="181613" y="218692"/>
                      <a:pt x="185737" y="219817"/>
                    </a:cubicBezTo>
                    <a:cubicBezTo>
                      <a:pt x="190395" y="221087"/>
                      <a:pt x="195262" y="221404"/>
                      <a:pt x="200025" y="222198"/>
                    </a:cubicBezTo>
                    <a:cubicBezTo>
                      <a:pt x="221340" y="231333"/>
                      <a:pt x="223140" y="235092"/>
                      <a:pt x="252412" y="226960"/>
                    </a:cubicBezTo>
                    <a:cubicBezTo>
                      <a:pt x="256236" y="225898"/>
                      <a:pt x="257175" y="220610"/>
                      <a:pt x="259556" y="217435"/>
                    </a:cubicBezTo>
                    <a:cubicBezTo>
                      <a:pt x="260350" y="203941"/>
                      <a:pt x="257662" y="189777"/>
                      <a:pt x="261937" y="176954"/>
                    </a:cubicBezTo>
                    <a:cubicBezTo>
                      <a:pt x="263747" y="171524"/>
                      <a:pt x="272178" y="171476"/>
                      <a:pt x="276225" y="167429"/>
                    </a:cubicBezTo>
                    <a:cubicBezTo>
                      <a:pt x="278606" y="165048"/>
                      <a:pt x="280131" y="161210"/>
                      <a:pt x="283369" y="160285"/>
                    </a:cubicBezTo>
                    <a:cubicBezTo>
                      <a:pt x="291799" y="157876"/>
                      <a:pt x="300831" y="158698"/>
                      <a:pt x="309562" y="157904"/>
                    </a:cubicBezTo>
                    <a:cubicBezTo>
                      <a:pt x="311150" y="155523"/>
                      <a:pt x="313045" y="153320"/>
                      <a:pt x="314325" y="150760"/>
                    </a:cubicBezTo>
                    <a:cubicBezTo>
                      <a:pt x="318806" y="141797"/>
                      <a:pt x="319195" y="138421"/>
                      <a:pt x="321469" y="129329"/>
                    </a:cubicBezTo>
                    <a:cubicBezTo>
                      <a:pt x="317598" y="94497"/>
                      <a:pt x="321783" y="118526"/>
                      <a:pt x="316706" y="100754"/>
                    </a:cubicBezTo>
                    <a:cubicBezTo>
                      <a:pt x="315807" y="97607"/>
                      <a:pt x="316140" y="93952"/>
                      <a:pt x="314325" y="91229"/>
                    </a:cubicBezTo>
                    <a:cubicBezTo>
                      <a:pt x="311092" y="86379"/>
                      <a:pt x="295710" y="82643"/>
                      <a:pt x="292894" y="81704"/>
                    </a:cubicBezTo>
                    <a:lnTo>
                      <a:pt x="285750" y="79323"/>
                    </a:lnTo>
                    <a:cubicBezTo>
                      <a:pt x="284162" y="76942"/>
                      <a:pt x="281457" y="75002"/>
                      <a:pt x="280987" y="72179"/>
                    </a:cubicBezTo>
                    <a:cubicBezTo>
                      <a:pt x="280574" y="69703"/>
                      <a:pt x="282380" y="67342"/>
                      <a:pt x="283369" y="65035"/>
                    </a:cubicBezTo>
                    <a:cubicBezTo>
                      <a:pt x="292193" y="44446"/>
                      <a:pt x="284930" y="65113"/>
                      <a:pt x="290512" y="48367"/>
                    </a:cubicBezTo>
                    <a:cubicBezTo>
                      <a:pt x="290195" y="47097"/>
                      <a:pt x="287116" y="33747"/>
                      <a:pt x="285750" y="31698"/>
                    </a:cubicBezTo>
                    <a:cubicBezTo>
                      <a:pt x="283116" y="27746"/>
                      <a:pt x="275856" y="21989"/>
                      <a:pt x="271462" y="19792"/>
                    </a:cubicBezTo>
                    <a:cubicBezTo>
                      <a:pt x="269217" y="18669"/>
                      <a:pt x="266700" y="18204"/>
                      <a:pt x="264319" y="17410"/>
                    </a:cubicBezTo>
                    <a:cubicBezTo>
                      <a:pt x="260350" y="14235"/>
                      <a:pt x="256874" y="10319"/>
                      <a:pt x="252412" y="7885"/>
                    </a:cubicBezTo>
                    <a:cubicBezTo>
                      <a:pt x="246174" y="4483"/>
                      <a:pt x="230929" y="1172"/>
                      <a:pt x="223837" y="742"/>
                    </a:cubicBezTo>
                    <a:cubicBezTo>
                      <a:pt x="183084" y="-1728"/>
                      <a:pt x="171450" y="2726"/>
                      <a:pt x="147637" y="312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89" name="Freeform 288"/>
              <p:cNvSpPr/>
              <p:nvPr/>
            </p:nvSpPr>
            <p:spPr>
              <a:xfrm>
                <a:off x="8499081" y="3912144"/>
                <a:ext cx="54279" cy="96901"/>
              </a:xfrm>
              <a:custGeom>
                <a:avLst/>
                <a:gdLst>
                  <a:gd name="connsiteX0" fmla="*/ 42863 w 54279"/>
                  <a:gd name="connsiteY0" fmla="*/ 1651 h 96901"/>
                  <a:gd name="connsiteX1" fmla="*/ 19050 w 54279"/>
                  <a:gd name="connsiteY1" fmla="*/ 4033 h 96901"/>
                  <a:gd name="connsiteX2" fmla="*/ 11907 w 54279"/>
                  <a:gd name="connsiteY2" fmla="*/ 6414 h 96901"/>
                  <a:gd name="connsiteX3" fmla="*/ 7144 w 54279"/>
                  <a:gd name="connsiteY3" fmla="*/ 13558 h 96901"/>
                  <a:gd name="connsiteX4" fmla="*/ 4763 w 54279"/>
                  <a:gd name="connsiteY4" fmla="*/ 49276 h 96901"/>
                  <a:gd name="connsiteX5" fmla="*/ 0 w 54279"/>
                  <a:gd name="connsiteY5" fmla="*/ 63564 h 96901"/>
                  <a:gd name="connsiteX6" fmla="*/ 2382 w 54279"/>
                  <a:gd name="connsiteY6" fmla="*/ 82614 h 96901"/>
                  <a:gd name="connsiteX7" fmla="*/ 4763 w 54279"/>
                  <a:gd name="connsiteY7" fmla="*/ 89758 h 96901"/>
                  <a:gd name="connsiteX8" fmla="*/ 11907 w 54279"/>
                  <a:gd name="connsiteY8" fmla="*/ 94520 h 96901"/>
                  <a:gd name="connsiteX9" fmla="*/ 19050 w 54279"/>
                  <a:gd name="connsiteY9" fmla="*/ 96901 h 96901"/>
                  <a:gd name="connsiteX10" fmla="*/ 26194 w 54279"/>
                  <a:gd name="connsiteY10" fmla="*/ 94520 h 96901"/>
                  <a:gd name="connsiteX11" fmla="*/ 33338 w 54279"/>
                  <a:gd name="connsiteY11" fmla="*/ 80233 h 96901"/>
                  <a:gd name="connsiteX12" fmla="*/ 35719 w 54279"/>
                  <a:gd name="connsiteY12" fmla="*/ 65945 h 96901"/>
                  <a:gd name="connsiteX13" fmla="*/ 38100 w 54279"/>
                  <a:gd name="connsiteY13" fmla="*/ 58801 h 96901"/>
                  <a:gd name="connsiteX14" fmla="*/ 40482 w 54279"/>
                  <a:gd name="connsiteY14" fmla="*/ 49276 h 96901"/>
                  <a:gd name="connsiteX15" fmla="*/ 45244 w 54279"/>
                  <a:gd name="connsiteY15" fmla="*/ 34989 h 96901"/>
                  <a:gd name="connsiteX16" fmla="*/ 52388 w 54279"/>
                  <a:gd name="connsiteY16" fmla="*/ 30226 h 96901"/>
                  <a:gd name="connsiteX17" fmla="*/ 42863 w 54279"/>
                  <a:gd name="connsiteY17" fmla="*/ 1651 h 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279" h="96901">
                    <a:moveTo>
                      <a:pt x="42863" y="1651"/>
                    </a:moveTo>
                    <a:cubicBezTo>
                      <a:pt x="37307" y="-2715"/>
                      <a:pt x="26934" y="2820"/>
                      <a:pt x="19050" y="4033"/>
                    </a:cubicBezTo>
                    <a:cubicBezTo>
                      <a:pt x="16569" y="4415"/>
                      <a:pt x="13867" y="4846"/>
                      <a:pt x="11907" y="6414"/>
                    </a:cubicBezTo>
                    <a:cubicBezTo>
                      <a:pt x="9672" y="8202"/>
                      <a:pt x="8732" y="11177"/>
                      <a:pt x="7144" y="13558"/>
                    </a:cubicBezTo>
                    <a:cubicBezTo>
                      <a:pt x="6350" y="25464"/>
                      <a:pt x="6451" y="37464"/>
                      <a:pt x="4763" y="49276"/>
                    </a:cubicBezTo>
                    <a:cubicBezTo>
                      <a:pt x="4053" y="54246"/>
                      <a:pt x="0" y="63564"/>
                      <a:pt x="0" y="63564"/>
                    </a:cubicBezTo>
                    <a:cubicBezTo>
                      <a:pt x="794" y="69914"/>
                      <a:pt x="1237" y="76318"/>
                      <a:pt x="2382" y="82614"/>
                    </a:cubicBezTo>
                    <a:cubicBezTo>
                      <a:pt x="2831" y="85084"/>
                      <a:pt x="3195" y="87798"/>
                      <a:pt x="4763" y="89758"/>
                    </a:cubicBezTo>
                    <a:cubicBezTo>
                      <a:pt x="6551" y="91993"/>
                      <a:pt x="9347" y="93240"/>
                      <a:pt x="11907" y="94520"/>
                    </a:cubicBezTo>
                    <a:cubicBezTo>
                      <a:pt x="14152" y="95642"/>
                      <a:pt x="16669" y="96107"/>
                      <a:pt x="19050" y="96901"/>
                    </a:cubicBezTo>
                    <a:cubicBezTo>
                      <a:pt x="21431" y="96107"/>
                      <a:pt x="24234" y="96088"/>
                      <a:pt x="26194" y="94520"/>
                    </a:cubicBezTo>
                    <a:cubicBezTo>
                      <a:pt x="30391" y="91163"/>
                      <a:pt x="31769" y="84939"/>
                      <a:pt x="33338" y="80233"/>
                    </a:cubicBezTo>
                    <a:cubicBezTo>
                      <a:pt x="34132" y="75470"/>
                      <a:pt x="34672" y="70658"/>
                      <a:pt x="35719" y="65945"/>
                    </a:cubicBezTo>
                    <a:cubicBezTo>
                      <a:pt x="36263" y="63495"/>
                      <a:pt x="37410" y="61215"/>
                      <a:pt x="38100" y="58801"/>
                    </a:cubicBezTo>
                    <a:cubicBezTo>
                      <a:pt x="38999" y="55654"/>
                      <a:pt x="39542" y="52411"/>
                      <a:pt x="40482" y="49276"/>
                    </a:cubicBezTo>
                    <a:cubicBezTo>
                      <a:pt x="41925" y="44468"/>
                      <a:pt x="41067" y="37774"/>
                      <a:pt x="45244" y="34989"/>
                    </a:cubicBezTo>
                    <a:lnTo>
                      <a:pt x="52388" y="30226"/>
                    </a:lnTo>
                    <a:cubicBezTo>
                      <a:pt x="58471" y="21102"/>
                      <a:pt x="48419" y="6017"/>
                      <a:pt x="42863" y="165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0" name="Freeform 289"/>
              <p:cNvSpPr/>
              <p:nvPr/>
            </p:nvSpPr>
            <p:spPr>
              <a:xfrm>
                <a:off x="8375256" y="3466120"/>
                <a:ext cx="204895" cy="116682"/>
              </a:xfrm>
              <a:custGeom>
                <a:avLst/>
                <a:gdLst>
                  <a:gd name="connsiteX0" fmla="*/ 159544 w 204895"/>
                  <a:gd name="connsiteY0" fmla="*/ 38100 h 116682"/>
                  <a:gd name="connsiteX1" fmla="*/ 147638 w 204895"/>
                  <a:gd name="connsiteY1" fmla="*/ 28575 h 116682"/>
                  <a:gd name="connsiteX2" fmla="*/ 126207 w 204895"/>
                  <a:gd name="connsiteY2" fmla="*/ 9525 h 116682"/>
                  <a:gd name="connsiteX3" fmla="*/ 92869 w 204895"/>
                  <a:gd name="connsiteY3" fmla="*/ 2382 h 116682"/>
                  <a:gd name="connsiteX4" fmla="*/ 85725 w 204895"/>
                  <a:gd name="connsiteY4" fmla="*/ 0 h 116682"/>
                  <a:gd name="connsiteX5" fmla="*/ 50007 w 204895"/>
                  <a:gd name="connsiteY5" fmla="*/ 4763 h 116682"/>
                  <a:gd name="connsiteX6" fmla="*/ 42863 w 204895"/>
                  <a:gd name="connsiteY6" fmla="*/ 9525 h 116682"/>
                  <a:gd name="connsiteX7" fmla="*/ 26194 w 204895"/>
                  <a:gd name="connsiteY7" fmla="*/ 30957 h 116682"/>
                  <a:gd name="connsiteX8" fmla="*/ 16669 w 204895"/>
                  <a:gd name="connsiteY8" fmla="*/ 42863 h 116682"/>
                  <a:gd name="connsiteX9" fmla="*/ 4763 w 204895"/>
                  <a:gd name="connsiteY9" fmla="*/ 61913 h 116682"/>
                  <a:gd name="connsiteX10" fmla="*/ 0 w 204895"/>
                  <a:gd name="connsiteY10" fmla="*/ 69057 h 116682"/>
                  <a:gd name="connsiteX11" fmla="*/ 2382 w 204895"/>
                  <a:gd name="connsiteY11" fmla="*/ 92869 h 116682"/>
                  <a:gd name="connsiteX12" fmla="*/ 11907 w 204895"/>
                  <a:gd name="connsiteY12" fmla="*/ 107157 h 116682"/>
                  <a:gd name="connsiteX13" fmla="*/ 14288 w 204895"/>
                  <a:gd name="connsiteY13" fmla="*/ 114300 h 116682"/>
                  <a:gd name="connsiteX14" fmla="*/ 23813 w 204895"/>
                  <a:gd name="connsiteY14" fmla="*/ 116682 h 116682"/>
                  <a:gd name="connsiteX15" fmla="*/ 88107 w 204895"/>
                  <a:gd name="connsiteY15" fmla="*/ 114300 h 116682"/>
                  <a:gd name="connsiteX16" fmla="*/ 107157 w 204895"/>
                  <a:gd name="connsiteY16" fmla="*/ 111919 h 116682"/>
                  <a:gd name="connsiteX17" fmla="*/ 200025 w 204895"/>
                  <a:gd name="connsiteY17" fmla="*/ 107157 h 116682"/>
                  <a:gd name="connsiteX18" fmla="*/ 204788 w 204895"/>
                  <a:gd name="connsiteY18" fmla="*/ 100013 h 116682"/>
                  <a:gd name="connsiteX19" fmla="*/ 202407 w 204895"/>
                  <a:gd name="connsiteY19" fmla="*/ 80963 h 116682"/>
                  <a:gd name="connsiteX20" fmla="*/ 195263 w 204895"/>
                  <a:gd name="connsiteY20" fmla="*/ 64294 h 116682"/>
                  <a:gd name="connsiteX21" fmla="*/ 188119 w 204895"/>
                  <a:gd name="connsiteY21" fmla="*/ 57150 h 116682"/>
                  <a:gd name="connsiteX22" fmla="*/ 176213 w 204895"/>
                  <a:gd name="connsiteY22" fmla="*/ 47625 h 116682"/>
                  <a:gd name="connsiteX23" fmla="*/ 171450 w 204895"/>
                  <a:gd name="connsiteY23" fmla="*/ 40482 h 116682"/>
                  <a:gd name="connsiteX24" fmla="*/ 161925 w 204895"/>
                  <a:gd name="connsiteY24" fmla="*/ 35719 h 116682"/>
                  <a:gd name="connsiteX25" fmla="*/ 159544 w 204895"/>
                  <a:gd name="connsiteY25" fmla="*/ 28575 h 116682"/>
                  <a:gd name="connsiteX26" fmla="*/ 159544 w 204895"/>
                  <a:gd name="connsiteY26" fmla="*/ 38100 h 116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4895" h="116682">
                    <a:moveTo>
                      <a:pt x="159544" y="38100"/>
                    </a:moveTo>
                    <a:cubicBezTo>
                      <a:pt x="157560" y="38100"/>
                      <a:pt x="151399" y="31994"/>
                      <a:pt x="147638" y="28575"/>
                    </a:cubicBezTo>
                    <a:cubicBezTo>
                      <a:pt x="142493" y="23898"/>
                      <a:pt x="134209" y="13081"/>
                      <a:pt x="126207" y="9525"/>
                    </a:cubicBezTo>
                    <a:cubicBezTo>
                      <a:pt x="112932" y="3625"/>
                      <a:pt x="107870" y="4257"/>
                      <a:pt x="92869" y="2382"/>
                    </a:cubicBezTo>
                    <a:cubicBezTo>
                      <a:pt x="90488" y="1588"/>
                      <a:pt x="88235" y="0"/>
                      <a:pt x="85725" y="0"/>
                    </a:cubicBezTo>
                    <a:cubicBezTo>
                      <a:pt x="80406" y="0"/>
                      <a:pt x="59454" y="40"/>
                      <a:pt x="50007" y="4763"/>
                    </a:cubicBezTo>
                    <a:cubicBezTo>
                      <a:pt x="47447" y="6043"/>
                      <a:pt x="45244" y="7938"/>
                      <a:pt x="42863" y="9525"/>
                    </a:cubicBezTo>
                    <a:cubicBezTo>
                      <a:pt x="31470" y="26615"/>
                      <a:pt x="37385" y="19766"/>
                      <a:pt x="26194" y="30957"/>
                    </a:cubicBezTo>
                    <a:cubicBezTo>
                      <a:pt x="20209" y="48911"/>
                      <a:pt x="28979" y="27476"/>
                      <a:pt x="16669" y="42863"/>
                    </a:cubicBezTo>
                    <a:cubicBezTo>
                      <a:pt x="11991" y="48710"/>
                      <a:pt x="8783" y="55596"/>
                      <a:pt x="4763" y="61913"/>
                    </a:cubicBezTo>
                    <a:cubicBezTo>
                      <a:pt x="3226" y="64328"/>
                      <a:pt x="0" y="69057"/>
                      <a:pt x="0" y="69057"/>
                    </a:cubicBezTo>
                    <a:cubicBezTo>
                      <a:pt x="794" y="76994"/>
                      <a:pt x="3" y="85255"/>
                      <a:pt x="2382" y="92869"/>
                    </a:cubicBezTo>
                    <a:cubicBezTo>
                      <a:pt x="4089" y="98332"/>
                      <a:pt x="11907" y="107157"/>
                      <a:pt x="11907" y="107157"/>
                    </a:cubicBezTo>
                    <a:cubicBezTo>
                      <a:pt x="12701" y="109538"/>
                      <a:pt x="12328" y="112732"/>
                      <a:pt x="14288" y="114300"/>
                    </a:cubicBezTo>
                    <a:cubicBezTo>
                      <a:pt x="16844" y="116345"/>
                      <a:pt x="20540" y="116682"/>
                      <a:pt x="23813" y="116682"/>
                    </a:cubicBezTo>
                    <a:cubicBezTo>
                      <a:pt x="45259" y="116682"/>
                      <a:pt x="66676" y="115094"/>
                      <a:pt x="88107" y="114300"/>
                    </a:cubicBezTo>
                    <a:cubicBezTo>
                      <a:pt x="94457" y="113506"/>
                      <a:pt x="100765" y="112223"/>
                      <a:pt x="107157" y="111919"/>
                    </a:cubicBezTo>
                    <a:lnTo>
                      <a:pt x="200025" y="107157"/>
                    </a:lnTo>
                    <a:cubicBezTo>
                      <a:pt x="201613" y="104776"/>
                      <a:pt x="204529" y="102863"/>
                      <a:pt x="204788" y="100013"/>
                    </a:cubicBezTo>
                    <a:cubicBezTo>
                      <a:pt x="205368" y="93640"/>
                      <a:pt x="203459" y="87275"/>
                      <a:pt x="202407" y="80963"/>
                    </a:cubicBezTo>
                    <a:cubicBezTo>
                      <a:pt x="201083" y="73023"/>
                      <a:pt x="200308" y="70348"/>
                      <a:pt x="195263" y="64294"/>
                    </a:cubicBezTo>
                    <a:cubicBezTo>
                      <a:pt x="193107" y="61707"/>
                      <a:pt x="190275" y="59737"/>
                      <a:pt x="188119" y="57150"/>
                    </a:cubicBezTo>
                    <a:cubicBezTo>
                      <a:pt x="179834" y="47208"/>
                      <a:pt x="187941" y="51535"/>
                      <a:pt x="176213" y="47625"/>
                    </a:cubicBezTo>
                    <a:cubicBezTo>
                      <a:pt x="174625" y="45244"/>
                      <a:pt x="173649" y="42314"/>
                      <a:pt x="171450" y="40482"/>
                    </a:cubicBezTo>
                    <a:cubicBezTo>
                      <a:pt x="168723" y="38210"/>
                      <a:pt x="164435" y="38229"/>
                      <a:pt x="161925" y="35719"/>
                    </a:cubicBezTo>
                    <a:cubicBezTo>
                      <a:pt x="160150" y="33944"/>
                      <a:pt x="160666" y="30820"/>
                      <a:pt x="159544" y="28575"/>
                    </a:cubicBezTo>
                    <a:cubicBezTo>
                      <a:pt x="159042" y="27571"/>
                      <a:pt x="161528" y="38100"/>
                      <a:pt x="159544" y="381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1" name="Freeform 290"/>
              <p:cNvSpPr/>
              <p:nvPr/>
            </p:nvSpPr>
            <p:spPr>
              <a:xfrm>
                <a:off x="8362904" y="3232798"/>
                <a:ext cx="100864" cy="124819"/>
              </a:xfrm>
              <a:custGeom>
                <a:avLst/>
                <a:gdLst>
                  <a:gd name="connsiteX0" fmla="*/ 71884 w 100864"/>
                  <a:gd name="connsiteY0" fmla="*/ 2341 h 124819"/>
                  <a:gd name="connsiteX1" fmla="*/ 17115 w 100864"/>
                  <a:gd name="connsiteY1" fmla="*/ 2341 h 124819"/>
                  <a:gd name="connsiteX2" fmla="*/ 9971 w 100864"/>
                  <a:gd name="connsiteY2" fmla="*/ 7104 h 124819"/>
                  <a:gd name="connsiteX3" fmla="*/ 7590 w 100864"/>
                  <a:gd name="connsiteY3" fmla="*/ 14247 h 124819"/>
                  <a:gd name="connsiteX4" fmla="*/ 446 w 100864"/>
                  <a:gd name="connsiteY4" fmla="*/ 21391 h 124819"/>
                  <a:gd name="connsiteX5" fmla="*/ 2827 w 100864"/>
                  <a:gd name="connsiteY5" fmla="*/ 42822 h 124819"/>
                  <a:gd name="connsiteX6" fmla="*/ 9971 w 100864"/>
                  <a:gd name="connsiteY6" fmla="*/ 49966 h 124819"/>
                  <a:gd name="connsiteX7" fmla="*/ 17115 w 100864"/>
                  <a:gd name="connsiteY7" fmla="*/ 59491 h 124819"/>
                  <a:gd name="connsiteX8" fmla="*/ 29021 w 100864"/>
                  <a:gd name="connsiteY8" fmla="*/ 73779 h 124819"/>
                  <a:gd name="connsiteX9" fmla="*/ 33784 w 100864"/>
                  <a:gd name="connsiteY9" fmla="*/ 90447 h 124819"/>
                  <a:gd name="connsiteX10" fmla="*/ 36165 w 100864"/>
                  <a:gd name="connsiteY10" fmla="*/ 99972 h 124819"/>
                  <a:gd name="connsiteX11" fmla="*/ 43309 w 100864"/>
                  <a:gd name="connsiteY11" fmla="*/ 109497 h 124819"/>
                  <a:gd name="connsiteX12" fmla="*/ 71884 w 100864"/>
                  <a:gd name="connsiteY12" fmla="*/ 121404 h 124819"/>
                  <a:gd name="connsiteX13" fmla="*/ 98077 w 100864"/>
                  <a:gd name="connsiteY13" fmla="*/ 114260 h 124819"/>
                  <a:gd name="connsiteX14" fmla="*/ 100459 w 100864"/>
                  <a:gd name="connsiteY14" fmla="*/ 107116 h 124819"/>
                  <a:gd name="connsiteX15" fmla="*/ 95696 w 100864"/>
                  <a:gd name="connsiteY15" fmla="*/ 83304 h 124819"/>
                  <a:gd name="connsiteX16" fmla="*/ 98077 w 100864"/>
                  <a:gd name="connsiteY16" fmla="*/ 45204 h 124819"/>
                  <a:gd name="connsiteX17" fmla="*/ 98077 w 100864"/>
                  <a:gd name="connsiteY17" fmla="*/ 23772 h 124819"/>
                  <a:gd name="connsiteX18" fmla="*/ 86171 w 100864"/>
                  <a:gd name="connsiteY18" fmla="*/ 11866 h 124819"/>
                  <a:gd name="connsiteX19" fmla="*/ 79027 w 100864"/>
                  <a:gd name="connsiteY19" fmla="*/ 9485 h 124819"/>
                  <a:gd name="connsiteX20" fmla="*/ 71884 w 100864"/>
                  <a:gd name="connsiteY20" fmla="*/ 2341 h 12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864" h="124819">
                    <a:moveTo>
                      <a:pt x="71884" y="2341"/>
                    </a:moveTo>
                    <a:cubicBezTo>
                      <a:pt x="61565" y="1150"/>
                      <a:pt x="35572" y="-2273"/>
                      <a:pt x="17115" y="2341"/>
                    </a:cubicBezTo>
                    <a:cubicBezTo>
                      <a:pt x="14338" y="3035"/>
                      <a:pt x="12352" y="5516"/>
                      <a:pt x="9971" y="7104"/>
                    </a:cubicBezTo>
                    <a:cubicBezTo>
                      <a:pt x="9177" y="9485"/>
                      <a:pt x="8982" y="12159"/>
                      <a:pt x="7590" y="14247"/>
                    </a:cubicBezTo>
                    <a:cubicBezTo>
                      <a:pt x="5722" y="17049"/>
                      <a:pt x="1000" y="18069"/>
                      <a:pt x="446" y="21391"/>
                    </a:cubicBezTo>
                    <a:cubicBezTo>
                      <a:pt x="-736" y="28481"/>
                      <a:pt x="554" y="36003"/>
                      <a:pt x="2827" y="42822"/>
                    </a:cubicBezTo>
                    <a:cubicBezTo>
                      <a:pt x="3892" y="46017"/>
                      <a:pt x="7779" y="47409"/>
                      <a:pt x="9971" y="49966"/>
                    </a:cubicBezTo>
                    <a:cubicBezTo>
                      <a:pt x="12554" y="52979"/>
                      <a:pt x="14532" y="56478"/>
                      <a:pt x="17115" y="59491"/>
                    </a:cubicBezTo>
                    <a:cubicBezTo>
                      <a:pt x="30863" y="75530"/>
                      <a:pt x="18499" y="57994"/>
                      <a:pt x="29021" y="73779"/>
                    </a:cubicBezTo>
                    <a:cubicBezTo>
                      <a:pt x="36465" y="103557"/>
                      <a:pt x="26951" y="66534"/>
                      <a:pt x="33784" y="90447"/>
                    </a:cubicBezTo>
                    <a:cubicBezTo>
                      <a:pt x="34683" y="93594"/>
                      <a:pt x="34701" y="97045"/>
                      <a:pt x="36165" y="99972"/>
                    </a:cubicBezTo>
                    <a:cubicBezTo>
                      <a:pt x="37940" y="103522"/>
                      <a:pt x="40928" y="106322"/>
                      <a:pt x="43309" y="109497"/>
                    </a:cubicBezTo>
                    <a:cubicBezTo>
                      <a:pt x="50593" y="131353"/>
                      <a:pt x="43076" y="124284"/>
                      <a:pt x="71884" y="121404"/>
                    </a:cubicBezTo>
                    <a:cubicBezTo>
                      <a:pt x="93369" y="116032"/>
                      <a:pt x="84724" y="118711"/>
                      <a:pt x="98077" y="114260"/>
                    </a:cubicBezTo>
                    <a:cubicBezTo>
                      <a:pt x="98871" y="111879"/>
                      <a:pt x="100459" y="109626"/>
                      <a:pt x="100459" y="107116"/>
                    </a:cubicBezTo>
                    <a:cubicBezTo>
                      <a:pt x="100459" y="101283"/>
                      <a:pt x="97268" y="89594"/>
                      <a:pt x="95696" y="83304"/>
                    </a:cubicBezTo>
                    <a:cubicBezTo>
                      <a:pt x="96490" y="70604"/>
                      <a:pt x="96811" y="57866"/>
                      <a:pt x="98077" y="45204"/>
                    </a:cubicBezTo>
                    <a:cubicBezTo>
                      <a:pt x="99397" y="32004"/>
                      <a:pt x="103629" y="38576"/>
                      <a:pt x="98077" y="23772"/>
                    </a:cubicBezTo>
                    <a:cubicBezTo>
                      <a:pt x="95879" y="17911"/>
                      <a:pt x="91544" y="14552"/>
                      <a:pt x="86171" y="11866"/>
                    </a:cubicBezTo>
                    <a:cubicBezTo>
                      <a:pt x="83926" y="10743"/>
                      <a:pt x="81441" y="10175"/>
                      <a:pt x="79027" y="9485"/>
                    </a:cubicBezTo>
                    <a:cubicBezTo>
                      <a:pt x="75880" y="8586"/>
                      <a:pt x="82203" y="3532"/>
                      <a:pt x="71884" y="234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2" name="Freeform 291"/>
              <p:cNvSpPr/>
              <p:nvPr/>
            </p:nvSpPr>
            <p:spPr>
              <a:xfrm>
                <a:off x="8596020" y="2487427"/>
                <a:ext cx="122136" cy="171751"/>
              </a:xfrm>
              <a:custGeom>
                <a:avLst/>
                <a:gdLst>
                  <a:gd name="connsiteX0" fmla="*/ 3074 w 122136"/>
                  <a:gd name="connsiteY0" fmla="*/ 92868 h 171751"/>
                  <a:gd name="connsiteX1" fmla="*/ 17361 w 122136"/>
                  <a:gd name="connsiteY1" fmla="*/ 66675 h 171751"/>
                  <a:gd name="connsiteX2" fmla="*/ 22124 w 122136"/>
                  <a:gd name="connsiteY2" fmla="*/ 59531 h 171751"/>
                  <a:gd name="connsiteX3" fmla="*/ 31649 w 122136"/>
                  <a:gd name="connsiteY3" fmla="*/ 42862 h 171751"/>
                  <a:gd name="connsiteX4" fmla="*/ 36411 w 122136"/>
                  <a:gd name="connsiteY4" fmla="*/ 35718 h 171751"/>
                  <a:gd name="connsiteX5" fmla="*/ 38793 w 122136"/>
                  <a:gd name="connsiteY5" fmla="*/ 28575 h 171751"/>
                  <a:gd name="connsiteX6" fmla="*/ 45936 w 122136"/>
                  <a:gd name="connsiteY6" fmla="*/ 23812 h 171751"/>
                  <a:gd name="connsiteX7" fmla="*/ 60224 w 122136"/>
                  <a:gd name="connsiteY7" fmla="*/ 11906 h 171751"/>
                  <a:gd name="connsiteX8" fmla="*/ 88799 w 122136"/>
                  <a:gd name="connsiteY8" fmla="*/ 2381 h 171751"/>
                  <a:gd name="connsiteX9" fmla="*/ 95943 w 122136"/>
                  <a:gd name="connsiteY9" fmla="*/ 0 h 171751"/>
                  <a:gd name="connsiteX10" fmla="*/ 105468 w 122136"/>
                  <a:gd name="connsiteY10" fmla="*/ 2381 h 171751"/>
                  <a:gd name="connsiteX11" fmla="*/ 112611 w 122136"/>
                  <a:gd name="connsiteY11" fmla="*/ 16668 h 171751"/>
                  <a:gd name="connsiteX12" fmla="*/ 117374 w 122136"/>
                  <a:gd name="connsiteY12" fmla="*/ 23812 h 171751"/>
                  <a:gd name="connsiteX13" fmla="*/ 122136 w 122136"/>
                  <a:gd name="connsiteY13" fmla="*/ 50006 h 171751"/>
                  <a:gd name="connsiteX14" fmla="*/ 112611 w 122136"/>
                  <a:gd name="connsiteY14" fmla="*/ 73818 h 171751"/>
                  <a:gd name="connsiteX15" fmla="*/ 103086 w 122136"/>
                  <a:gd name="connsiteY15" fmla="*/ 76200 h 171751"/>
                  <a:gd name="connsiteX16" fmla="*/ 93561 w 122136"/>
                  <a:gd name="connsiteY16" fmla="*/ 92868 h 171751"/>
                  <a:gd name="connsiteX17" fmla="*/ 86418 w 122136"/>
                  <a:gd name="connsiteY17" fmla="*/ 114300 h 171751"/>
                  <a:gd name="connsiteX18" fmla="*/ 84036 w 122136"/>
                  <a:gd name="connsiteY18" fmla="*/ 121443 h 171751"/>
                  <a:gd name="connsiteX19" fmla="*/ 79274 w 122136"/>
                  <a:gd name="connsiteY19" fmla="*/ 130968 h 171751"/>
                  <a:gd name="connsiteX20" fmla="*/ 45936 w 122136"/>
                  <a:gd name="connsiteY20" fmla="*/ 157162 h 171751"/>
                  <a:gd name="connsiteX21" fmla="*/ 38793 w 122136"/>
                  <a:gd name="connsiteY21" fmla="*/ 171450 h 171751"/>
                  <a:gd name="connsiteX22" fmla="*/ 22124 w 122136"/>
                  <a:gd name="connsiteY22" fmla="*/ 169068 h 171751"/>
                  <a:gd name="connsiteX23" fmla="*/ 17361 w 122136"/>
                  <a:gd name="connsiteY23" fmla="*/ 154781 h 171751"/>
                  <a:gd name="connsiteX24" fmla="*/ 12599 w 122136"/>
                  <a:gd name="connsiteY24" fmla="*/ 114300 h 171751"/>
                  <a:gd name="connsiteX25" fmla="*/ 7836 w 122136"/>
                  <a:gd name="connsiteY25" fmla="*/ 107156 h 171751"/>
                  <a:gd name="connsiteX26" fmla="*/ 693 w 122136"/>
                  <a:gd name="connsiteY26" fmla="*/ 102393 h 171751"/>
                  <a:gd name="connsiteX27" fmla="*/ 3074 w 122136"/>
                  <a:gd name="connsiteY27" fmla="*/ 92868 h 17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136" h="171751">
                    <a:moveTo>
                      <a:pt x="3074" y="92868"/>
                    </a:moveTo>
                    <a:cubicBezTo>
                      <a:pt x="9961" y="75648"/>
                      <a:pt x="5465" y="84518"/>
                      <a:pt x="17361" y="66675"/>
                    </a:cubicBezTo>
                    <a:lnTo>
                      <a:pt x="22124" y="59531"/>
                    </a:lnTo>
                    <a:cubicBezTo>
                      <a:pt x="25988" y="47937"/>
                      <a:pt x="22638" y="55478"/>
                      <a:pt x="31649" y="42862"/>
                    </a:cubicBezTo>
                    <a:cubicBezTo>
                      <a:pt x="33312" y="40533"/>
                      <a:pt x="35131" y="38278"/>
                      <a:pt x="36411" y="35718"/>
                    </a:cubicBezTo>
                    <a:cubicBezTo>
                      <a:pt x="37534" y="33473"/>
                      <a:pt x="37225" y="30535"/>
                      <a:pt x="38793" y="28575"/>
                    </a:cubicBezTo>
                    <a:cubicBezTo>
                      <a:pt x="40581" y="26340"/>
                      <a:pt x="43738" y="25644"/>
                      <a:pt x="45936" y="23812"/>
                    </a:cubicBezTo>
                    <a:cubicBezTo>
                      <a:pt x="52346" y="18470"/>
                      <a:pt x="52621" y="15285"/>
                      <a:pt x="60224" y="11906"/>
                    </a:cubicBezTo>
                    <a:cubicBezTo>
                      <a:pt x="60240" y="11899"/>
                      <a:pt x="88783" y="2386"/>
                      <a:pt x="88799" y="2381"/>
                    </a:cubicBezTo>
                    <a:lnTo>
                      <a:pt x="95943" y="0"/>
                    </a:lnTo>
                    <a:cubicBezTo>
                      <a:pt x="99118" y="794"/>
                      <a:pt x="102745" y="566"/>
                      <a:pt x="105468" y="2381"/>
                    </a:cubicBezTo>
                    <a:cubicBezTo>
                      <a:pt x="110585" y="5793"/>
                      <a:pt x="110234" y="11915"/>
                      <a:pt x="112611" y="16668"/>
                    </a:cubicBezTo>
                    <a:cubicBezTo>
                      <a:pt x="113891" y="19228"/>
                      <a:pt x="115786" y="21431"/>
                      <a:pt x="117374" y="23812"/>
                    </a:cubicBezTo>
                    <a:cubicBezTo>
                      <a:pt x="119458" y="32149"/>
                      <a:pt x="122136" y="41473"/>
                      <a:pt x="122136" y="50006"/>
                    </a:cubicBezTo>
                    <a:cubicBezTo>
                      <a:pt x="122136" y="60440"/>
                      <a:pt x="122010" y="68447"/>
                      <a:pt x="112611" y="73818"/>
                    </a:cubicBezTo>
                    <a:cubicBezTo>
                      <a:pt x="109769" y="75442"/>
                      <a:pt x="106261" y="75406"/>
                      <a:pt x="103086" y="76200"/>
                    </a:cubicBezTo>
                    <a:cubicBezTo>
                      <a:pt x="98792" y="82641"/>
                      <a:pt x="96581" y="85318"/>
                      <a:pt x="93561" y="92868"/>
                    </a:cubicBezTo>
                    <a:cubicBezTo>
                      <a:pt x="93557" y="92878"/>
                      <a:pt x="87611" y="110723"/>
                      <a:pt x="86418" y="114300"/>
                    </a:cubicBezTo>
                    <a:cubicBezTo>
                      <a:pt x="85624" y="116681"/>
                      <a:pt x="85158" y="119198"/>
                      <a:pt x="84036" y="121443"/>
                    </a:cubicBezTo>
                    <a:lnTo>
                      <a:pt x="79274" y="130968"/>
                    </a:lnTo>
                    <a:cubicBezTo>
                      <a:pt x="72636" y="164153"/>
                      <a:pt x="82578" y="154109"/>
                      <a:pt x="45936" y="157162"/>
                    </a:cubicBezTo>
                    <a:cubicBezTo>
                      <a:pt x="45133" y="159571"/>
                      <a:pt x="42116" y="170712"/>
                      <a:pt x="38793" y="171450"/>
                    </a:cubicBezTo>
                    <a:cubicBezTo>
                      <a:pt x="33314" y="172667"/>
                      <a:pt x="27680" y="169862"/>
                      <a:pt x="22124" y="169068"/>
                    </a:cubicBezTo>
                    <a:cubicBezTo>
                      <a:pt x="20536" y="164306"/>
                      <a:pt x="17719" y="159788"/>
                      <a:pt x="17361" y="154781"/>
                    </a:cubicBezTo>
                    <a:cubicBezTo>
                      <a:pt x="16985" y="149519"/>
                      <a:pt x="18011" y="125123"/>
                      <a:pt x="12599" y="114300"/>
                    </a:cubicBezTo>
                    <a:cubicBezTo>
                      <a:pt x="11319" y="111740"/>
                      <a:pt x="9860" y="109180"/>
                      <a:pt x="7836" y="107156"/>
                    </a:cubicBezTo>
                    <a:cubicBezTo>
                      <a:pt x="5812" y="105132"/>
                      <a:pt x="2982" y="104110"/>
                      <a:pt x="693" y="102393"/>
                    </a:cubicBezTo>
                    <a:cubicBezTo>
                      <a:pt x="-205" y="101719"/>
                      <a:pt x="-895" y="100806"/>
                      <a:pt x="3074" y="9286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3" name="Freeform 292"/>
              <p:cNvSpPr/>
              <p:nvPr/>
            </p:nvSpPr>
            <p:spPr>
              <a:xfrm>
                <a:off x="8370931" y="2608699"/>
                <a:ext cx="363894" cy="759790"/>
              </a:xfrm>
              <a:custGeom>
                <a:avLst/>
                <a:gdLst>
                  <a:gd name="connsiteX0" fmla="*/ 168632 w 363894"/>
                  <a:gd name="connsiteY0" fmla="*/ 171 h 759790"/>
                  <a:gd name="connsiteX1" fmla="*/ 142438 w 363894"/>
                  <a:gd name="connsiteY1" fmla="*/ 4934 h 759790"/>
                  <a:gd name="connsiteX2" fmla="*/ 128150 w 363894"/>
                  <a:gd name="connsiteY2" fmla="*/ 19221 h 759790"/>
                  <a:gd name="connsiteX3" fmla="*/ 121007 w 363894"/>
                  <a:gd name="connsiteY3" fmla="*/ 23984 h 759790"/>
                  <a:gd name="connsiteX4" fmla="*/ 113863 w 363894"/>
                  <a:gd name="connsiteY4" fmla="*/ 31128 h 759790"/>
                  <a:gd name="connsiteX5" fmla="*/ 106719 w 363894"/>
                  <a:gd name="connsiteY5" fmla="*/ 35890 h 759790"/>
                  <a:gd name="connsiteX6" fmla="*/ 92432 w 363894"/>
                  <a:gd name="connsiteY6" fmla="*/ 40653 h 759790"/>
                  <a:gd name="connsiteX7" fmla="*/ 82907 w 363894"/>
                  <a:gd name="connsiteY7" fmla="*/ 54940 h 759790"/>
                  <a:gd name="connsiteX8" fmla="*/ 80525 w 363894"/>
                  <a:gd name="connsiteY8" fmla="*/ 62084 h 759790"/>
                  <a:gd name="connsiteX9" fmla="*/ 73382 w 363894"/>
                  <a:gd name="connsiteY9" fmla="*/ 69228 h 759790"/>
                  <a:gd name="connsiteX10" fmla="*/ 59094 w 363894"/>
                  <a:gd name="connsiteY10" fmla="*/ 93040 h 759790"/>
                  <a:gd name="connsiteX11" fmla="*/ 54332 w 363894"/>
                  <a:gd name="connsiteY11" fmla="*/ 100184 h 759790"/>
                  <a:gd name="connsiteX12" fmla="*/ 49569 w 363894"/>
                  <a:gd name="connsiteY12" fmla="*/ 114471 h 759790"/>
                  <a:gd name="connsiteX13" fmla="*/ 42425 w 363894"/>
                  <a:gd name="connsiteY13" fmla="*/ 135903 h 759790"/>
                  <a:gd name="connsiteX14" fmla="*/ 40044 w 363894"/>
                  <a:gd name="connsiteY14" fmla="*/ 143046 h 759790"/>
                  <a:gd name="connsiteX15" fmla="*/ 37663 w 363894"/>
                  <a:gd name="connsiteY15" fmla="*/ 150190 h 759790"/>
                  <a:gd name="connsiteX16" fmla="*/ 32900 w 363894"/>
                  <a:gd name="connsiteY16" fmla="*/ 188290 h 759790"/>
                  <a:gd name="connsiteX17" fmla="*/ 30519 w 363894"/>
                  <a:gd name="connsiteY17" fmla="*/ 195434 h 759790"/>
                  <a:gd name="connsiteX18" fmla="*/ 23375 w 363894"/>
                  <a:gd name="connsiteY18" fmla="*/ 200196 h 759790"/>
                  <a:gd name="connsiteX19" fmla="*/ 18613 w 363894"/>
                  <a:gd name="connsiteY19" fmla="*/ 219246 h 759790"/>
                  <a:gd name="connsiteX20" fmla="*/ 16232 w 363894"/>
                  <a:gd name="connsiteY20" fmla="*/ 226390 h 759790"/>
                  <a:gd name="connsiteX21" fmla="*/ 9088 w 363894"/>
                  <a:gd name="connsiteY21" fmla="*/ 231153 h 759790"/>
                  <a:gd name="connsiteX22" fmla="*/ 6707 w 363894"/>
                  <a:gd name="connsiteY22" fmla="*/ 295446 h 759790"/>
                  <a:gd name="connsiteX23" fmla="*/ 11469 w 363894"/>
                  <a:gd name="connsiteY23" fmla="*/ 302590 h 759790"/>
                  <a:gd name="connsiteX24" fmla="*/ 18613 w 363894"/>
                  <a:gd name="connsiteY24" fmla="*/ 304971 h 759790"/>
                  <a:gd name="connsiteX25" fmla="*/ 28138 w 363894"/>
                  <a:gd name="connsiteY25" fmla="*/ 319259 h 759790"/>
                  <a:gd name="connsiteX26" fmla="*/ 32900 w 363894"/>
                  <a:gd name="connsiteY26" fmla="*/ 333546 h 759790"/>
                  <a:gd name="connsiteX27" fmla="*/ 37663 w 363894"/>
                  <a:gd name="connsiteY27" fmla="*/ 347834 h 759790"/>
                  <a:gd name="connsiteX28" fmla="*/ 40044 w 363894"/>
                  <a:gd name="connsiteY28" fmla="*/ 359740 h 759790"/>
                  <a:gd name="connsiteX29" fmla="*/ 47188 w 363894"/>
                  <a:gd name="connsiteY29" fmla="*/ 395459 h 759790"/>
                  <a:gd name="connsiteX30" fmla="*/ 49569 w 363894"/>
                  <a:gd name="connsiteY30" fmla="*/ 402603 h 759790"/>
                  <a:gd name="connsiteX31" fmla="*/ 68619 w 363894"/>
                  <a:gd name="connsiteY31" fmla="*/ 426415 h 759790"/>
                  <a:gd name="connsiteX32" fmla="*/ 78144 w 363894"/>
                  <a:gd name="connsiteY32" fmla="*/ 447846 h 759790"/>
                  <a:gd name="connsiteX33" fmla="*/ 85288 w 363894"/>
                  <a:gd name="connsiteY33" fmla="*/ 469278 h 759790"/>
                  <a:gd name="connsiteX34" fmla="*/ 87669 w 363894"/>
                  <a:gd name="connsiteY34" fmla="*/ 476421 h 759790"/>
                  <a:gd name="connsiteX35" fmla="*/ 90050 w 363894"/>
                  <a:gd name="connsiteY35" fmla="*/ 483565 h 759790"/>
                  <a:gd name="connsiteX36" fmla="*/ 92432 w 363894"/>
                  <a:gd name="connsiteY36" fmla="*/ 521665 h 759790"/>
                  <a:gd name="connsiteX37" fmla="*/ 94813 w 363894"/>
                  <a:gd name="connsiteY37" fmla="*/ 597865 h 759790"/>
                  <a:gd name="connsiteX38" fmla="*/ 97194 w 363894"/>
                  <a:gd name="connsiteY38" fmla="*/ 605009 h 759790"/>
                  <a:gd name="connsiteX39" fmla="*/ 104338 w 363894"/>
                  <a:gd name="connsiteY39" fmla="*/ 609771 h 759790"/>
                  <a:gd name="connsiteX40" fmla="*/ 109100 w 363894"/>
                  <a:gd name="connsiteY40" fmla="*/ 616915 h 759790"/>
                  <a:gd name="connsiteX41" fmla="*/ 116244 w 363894"/>
                  <a:gd name="connsiteY41" fmla="*/ 619296 h 759790"/>
                  <a:gd name="connsiteX42" fmla="*/ 130532 w 363894"/>
                  <a:gd name="connsiteY42" fmla="*/ 628821 h 759790"/>
                  <a:gd name="connsiteX43" fmla="*/ 130532 w 363894"/>
                  <a:gd name="connsiteY43" fmla="*/ 628821 h 759790"/>
                  <a:gd name="connsiteX44" fmla="*/ 144819 w 363894"/>
                  <a:gd name="connsiteY44" fmla="*/ 643109 h 759790"/>
                  <a:gd name="connsiteX45" fmla="*/ 149582 w 363894"/>
                  <a:gd name="connsiteY45" fmla="*/ 659778 h 759790"/>
                  <a:gd name="connsiteX46" fmla="*/ 154344 w 363894"/>
                  <a:gd name="connsiteY46" fmla="*/ 674065 h 759790"/>
                  <a:gd name="connsiteX47" fmla="*/ 156725 w 363894"/>
                  <a:gd name="connsiteY47" fmla="*/ 681209 h 759790"/>
                  <a:gd name="connsiteX48" fmla="*/ 175775 w 363894"/>
                  <a:gd name="connsiteY48" fmla="*/ 709784 h 759790"/>
                  <a:gd name="connsiteX49" fmla="*/ 185300 w 363894"/>
                  <a:gd name="connsiteY49" fmla="*/ 724071 h 759790"/>
                  <a:gd name="connsiteX50" fmla="*/ 190063 w 363894"/>
                  <a:gd name="connsiteY50" fmla="*/ 731215 h 759790"/>
                  <a:gd name="connsiteX51" fmla="*/ 197207 w 363894"/>
                  <a:gd name="connsiteY51" fmla="*/ 733596 h 759790"/>
                  <a:gd name="connsiteX52" fmla="*/ 201969 w 363894"/>
                  <a:gd name="connsiteY52" fmla="*/ 740740 h 759790"/>
                  <a:gd name="connsiteX53" fmla="*/ 209113 w 363894"/>
                  <a:gd name="connsiteY53" fmla="*/ 745503 h 759790"/>
                  <a:gd name="connsiteX54" fmla="*/ 225782 w 363894"/>
                  <a:gd name="connsiteY54" fmla="*/ 752646 h 759790"/>
                  <a:gd name="connsiteX55" fmla="*/ 240069 w 363894"/>
                  <a:gd name="connsiteY55" fmla="*/ 759790 h 759790"/>
                  <a:gd name="connsiteX56" fmla="*/ 249594 w 363894"/>
                  <a:gd name="connsiteY56" fmla="*/ 757409 h 759790"/>
                  <a:gd name="connsiteX57" fmla="*/ 247213 w 363894"/>
                  <a:gd name="connsiteY57" fmla="*/ 745503 h 759790"/>
                  <a:gd name="connsiteX58" fmla="*/ 242450 w 363894"/>
                  <a:gd name="connsiteY58" fmla="*/ 738359 h 759790"/>
                  <a:gd name="connsiteX59" fmla="*/ 240069 w 363894"/>
                  <a:gd name="connsiteY59" fmla="*/ 728834 h 759790"/>
                  <a:gd name="connsiteX60" fmla="*/ 235307 w 363894"/>
                  <a:gd name="connsiteY60" fmla="*/ 714546 h 759790"/>
                  <a:gd name="connsiteX61" fmla="*/ 221019 w 363894"/>
                  <a:gd name="connsiteY61" fmla="*/ 700259 h 759790"/>
                  <a:gd name="connsiteX62" fmla="*/ 216257 w 363894"/>
                  <a:gd name="connsiteY62" fmla="*/ 693115 h 759790"/>
                  <a:gd name="connsiteX63" fmla="*/ 209113 w 363894"/>
                  <a:gd name="connsiteY63" fmla="*/ 685971 h 759790"/>
                  <a:gd name="connsiteX64" fmla="*/ 199588 w 363894"/>
                  <a:gd name="connsiteY64" fmla="*/ 671684 h 759790"/>
                  <a:gd name="connsiteX65" fmla="*/ 192444 w 363894"/>
                  <a:gd name="connsiteY65" fmla="*/ 662159 h 759790"/>
                  <a:gd name="connsiteX66" fmla="*/ 182919 w 363894"/>
                  <a:gd name="connsiteY66" fmla="*/ 640728 h 759790"/>
                  <a:gd name="connsiteX67" fmla="*/ 180538 w 363894"/>
                  <a:gd name="connsiteY67" fmla="*/ 633584 h 759790"/>
                  <a:gd name="connsiteX68" fmla="*/ 175775 w 363894"/>
                  <a:gd name="connsiteY68" fmla="*/ 626440 h 759790"/>
                  <a:gd name="connsiteX69" fmla="*/ 171013 w 363894"/>
                  <a:gd name="connsiteY69" fmla="*/ 609771 h 759790"/>
                  <a:gd name="connsiteX70" fmla="*/ 166250 w 363894"/>
                  <a:gd name="connsiteY70" fmla="*/ 602628 h 759790"/>
                  <a:gd name="connsiteX71" fmla="*/ 163869 w 363894"/>
                  <a:gd name="connsiteY71" fmla="*/ 595484 h 759790"/>
                  <a:gd name="connsiteX72" fmla="*/ 159107 w 363894"/>
                  <a:gd name="connsiteY72" fmla="*/ 588340 h 759790"/>
                  <a:gd name="connsiteX73" fmla="*/ 156725 w 363894"/>
                  <a:gd name="connsiteY73" fmla="*/ 578815 h 759790"/>
                  <a:gd name="connsiteX74" fmla="*/ 151963 w 363894"/>
                  <a:gd name="connsiteY74" fmla="*/ 562146 h 759790"/>
                  <a:gd name="connsiteX75" fmla="*/ 149582 w 363894"/>
                  <a:gd name="connsiteY75" fmla="*/ 547859 h 759790"/>
                  <a:gd name="connsiteX76" fmla="*/ 151963 w 363894"/>
                  <a:gd name="connsiteY76" fmla="*/ 519284 h 759790"/>
                  <a:gd name="connsiteX77" fmla="*/ 154344 w 363894"/>
                  <a:gd name="connsiteY77" fmla="*/ 512140 h 759790"/>
                  <a:gd name="connsiteX78" fmla="*/ 156725 w 363894"/>
                  <a:gd name="connsiteY78" fmla="*/ 495471 h 759790"/>
                  <a:gd name="connsiteX79" fmla="*/ 154344 w 363894"/>
                  <a:gd name="connsiteY79" fmla="*/ 483565 h 759790"/>
                  <a:gd name="connsiteX80" fmla="*/ 149582 w 363894"/>
                  <a:gd name="connsiteY80" fmla="*/ 469278 h 759790"/>
                  <a:gd name="connsiteX81" fmla="*/ 151963 w 363894"/>
                  <a:gd name="connsiteY81" fmla="*/ 419271 h 759790"/>
                  <a:gd name="connsiteX82" fmla="*/ 166250 w 363894"/>
                  <a:gd name="connsiteY82" fmla="*/ 419271 h 759790"/>
                  <a:gd name="connsiteX83" fmla="*/ 185300 w 363894"/>
                  <a:gd name="connsiteY83" fmla="*/ 424034 h 759790"/>
                  <a:gd name="connsiteX84" fmla="*/ 194825 w 363894"/>
                  <a:gd name="connsiteY84" fmla="*/ 426415 h 759790"/>
                  <a:gd name="connsiteX85" fmla="*/ 201969 w 363894"/>
                  <a:gd name="connsiteY85" fmla="*/ 433559 h 759790"/>
                  <a:gd name="connsiteX86" fmla="*/ 216257 w 363894"/>
                  <a:gd name="connsiteY86" fmla="*/ 445465 h 759790"/>
                  <a:gd name="connsiteX87" fmla="*/ 232925 w 363894"/>
                  <a:gd name="connsiteY87" fmla="*/ 462134 h 759790"/>
                  <a:gd name="connsiteX88" fmla="*/ 282932 w 363894"/>
                  <a:gd name="connsiteY88" fmla="*/ 464515 h 759790"/>
                  <a:gd name="connsiteX89" fmla="*/ 301982 w 363894"/>
                  <a:gd name="connsiteY89" fmla="*/ 466896 h 759790"/>
                  <a:gd name="connsiteX90" fmla="*/ 316269 w 363894"/>
                  <a:gd name="connsiteY90" fmla="*/ 476421 h 759790"/>
                  <a:gd name="connsiteX91" fmla="*/ 332938 w 363894"/>
                  <a:gd name="connsiteY91" fmla="*/ 474040 h 759790"/>
                  <a:gd name="connsiteX92" fmla="*/ 342463 w 363894"/>
                  <a:gd name="connsiteY92" fmla="*/ 471659 h 759790"/>
                  <a:gd name="connsiteX93" fmla="*/ 347225 w 363894"/>
                  <a:gd name="connsiteY93" fmla="*/ 464515 h 759790"/>
                  <a:gd name="connsiteX94" fmla="*/ 344844 w 363894"/>
                  <a:gd name="connsiteY94" fmla="*/ 414509 h 759790"/>
                  <a:gd name="connsiteX95" fmla="*/ 335319 w 363894"/>
                  <a:gd name="connsiteY95" fmla="*/ 402603 h 759790"/>
                  <a:gd name="connsiteX96" fmla="*/ 321032 w 363894"/>
                  <a:gd name="connsiteY96" fmla="*/ 397840 h 759790"/>
                  <a:gd name="connsiteX97" fmla="*/ 301982 w 363894"/>
                  <a:gd name="connsiteY97" fmla="*/ 393078 h 759790"/>
                  <a:gd name="connsiteX98" fmla="*/ 294838 w 363894"/>
                  <a:gd name="connsiteY98" fmla="*/ 388315 h 759790"/>
                  <a:gd name="connsiteX99" fmla="*/ 278169 w 363894"/>
                  <a:gd name="connsiteY99" fmla="*/ 378790 h 759790"/>
                  <a:gd name="connsiteX100" fmla="*/ 263882 w 363894"/>
                  <a:gd name="connsiteY100" fmla="*/ 364503 h 759790"/>
                  <a:gd name="connsiteX101" fmla="*/ 242450 w 363894"/>
                  <a:gd name="connsiteY101" fmla="*/ 354978 h 759790"/>
                  <a:gd name="connsiteX102" fmla="*/ 228163 w 363894"/>
                  <a:gd name="connsiteY102" fmla="*/ 347834 h 759790"/>
                  <a:gd name="connsiteX103" fmla="*/ 223400 w 363894"/>
                  <a:gd name="connsiteY103" fmla="*/ 340690 h 759790"/>
                  <a:gd name="connsiteX104" fmla="*/ 225782 w 363894"/>
                  <a:gd name="connsiteY104" fmla="*/ 333546 h 759790"/>
                  <a:gd name="connsiteX105" fmla="*/ 230544 w 363894"/>
                  <a:gd name="connsiteY105" fmla="*/ 326403 h 759790"/>
                  <a:gd name="connsiteX106" fmla="*/ 266263 w 363894"/>
                  <a:gd name="connsiteY106" fmla="*/ 319259 h 759790"/>
                  <a:gd name="connsiteX107" fmla="*/ 280550 w 363894"/>
                  <a:gd name="connsiteY107" fmla="*/ 309734 h 759790"/>
                  <a:gd name="connsiteX108" fmla="*/ 290075 w 363894"/>
                  <a:gd name="connsiteY108" fmla="*/ 295446 h 759790"/>
                  <a:gd name="connsiteX109" fmla="*/ 330557 w 363894"/>
                  <a:gd name="connsiteY109" fmla="*/ 288303 h 759790"/>
                  <a:gd name="connsiteX110" fmla="*/ 347225 w 363894"/>
                  <a:gd name="connsiteY110" fmla="*/ 276396 h 759790"/>
                  <a:gd name="connsiteX111" fmla="*/ 351988 w 363894"/>
                  <a:gd name="connsiteY111" fmla="*/ 269253 h 759790"/>
                  <a:gd name="connsiteX112" fmla="*/ 356750 w 363894"/>
                  <a:gd name="connsiteY112" fmla="*/ 240678 h 759790"/>
                  <a:gd name="connsiteX113" fmla="*/ 359132 w 363894"/>
                  <a:gd name="connsiteY113" fmla="*/ 233534 h 759790"/>
                  <a:gd name="connsiteX114" fmla="*/ 361513 w 363894"/>
                  <a:gd name="connsiteY114" fmla="*/ 219246 h 759790"/>
                  <a:gd name="connsiteX115" fmla="*/ 363894 w 363894"/>
                  <a:gd name="connsiteY115" fmla="*/ 197815 h 759790"/>
                  <a:gd name="connsiteX116" fmla="*/ 361513 w 363894"/>
                  <a:gd name="connsiteY116" fmla="*/ 188290 h 759790"/>
                  <a:gd name="connsiteX117" fmla="*/ 344844 w 363894"/>
                  <a:gd name="connsiteY117" fmla="*/ 169240 h 759790"/>
                  <a:gd name="connsiteX118" fmla="*/ 325794 w 363894"/>
                  <a:gd name="connsiteY118" fmla="*/ 166859 h 759790"/>
                  <a:gd name="connsiteX119" fmla="*/ 275788 w 363894"/>
                  <a:gd name="connsiteY119" fmla="*/ 171621 h 759790"/>
                  <a:gd name="connsiteX120" fmla="*/ 266263 w 363894"/>
                  <a:gd name="connsiteY120" fmla="*/ 174003 h 759790"/>
                  <a:gd name="connsiteX121" fmla="*/ 249594 w 363894"/>
                  <a:gd name="connsiteY121" fmla="*/ 188290 h 759790"/>
                  <a:gd name="connsiteX122" fmla="*/ 228163 w 363894"/>
                  <a:gd name="connsiteY122" fmla="*/ 195434 h 759790"/>
                  <a:gd name="connsiteX123" fmla="*/ 211494 w 363894"/>
                  <a:gd name="connsiteY123" fmla="*/ 200196 h 759790"/>
                  <a:gd name="connsiteX124" fmla="*/ 204350 w 363894"/>
                  <a:gd name="connsiteY124" fmla="*/ 204959 h 759790"/>
                  <a:gd name="connsiteX125" fmla="*/ 199588 w 363894"/>
                  <a:gd name="connsiteY125" fmla="*/ 212103 h 759790"/>
                  <a:gd name="connsiteX126" fmla="*/ 190063 w 363894"/>
                  <a:gd name="connsiteY126" fmla="*/ 214484 h 759790"/>
                  <a:gd name="connsiteX127" fmla="*/ 187682 w 363894"/>
                  <a:gd name="connsiteY127" fmla="*/ 231153 h 759790"/>
                  <a:gd name="connsiteX128" fmla="*/ 201969 w 363894"/>
                  <a:gd name="connsiteY128" fmla="*/ 240678 h 759790"/>
                  <a:gd name="connsiteX129" fmla="*/ 206732 w 363894"/>
                  <a:gd name="connsiteY129" fmla="*/ 247821 h 759790"/>
                  <a:gd name="connsiteX130" fmla="*/ 204350 w 363894"/>
                  <a:gd name="connsiteY130" fmla="*/ 264490 h 759790"/>
                  <a:gd name="connsiteX131" fmla="*/ 197207 w 363894"/>
                  <a:gd name="connsiteY131" fmla="*/ 269253 h 759790"/>
                  <a:gd name="connsiteX132" fmla="*/ 168632 w 363894"/>
                  <a:gd name="connsiteY132" fmla="*/ 274015 h 759790"/>
                  <a:gd name="connsiteX133" fmla="*/ 154344 w 363894"/>
                  <a:gd name="connsiteY133" fmla="*/ 281159 h 759790"/>
                  <a:gd name="connsiteX134" fmla="*/ 149582 w 363894"/>
                  <a:gd name="connsiteY134" fmla="*/ 290684 h 759790"/>
                  <a:gd name="connsiteX135" fmla="*/ 142438 w 363894"/>
                  <a:gd name="connsiteY135" fmla="*/ 312115 h 759790"/>
                  <a:gd name="connsiteX136" fmla="*/ 135294 w 363894"/>
                  <a:gd name="connsiteY136" fmla="*/ 326403 h 759790"/>
                  <a:gd name="connsiteX137" fmla="*/ 128150 w 363894"/>
                  <a:gd name="connsiteY137" fmla="*/ 331165 h 759790"/>
                  <a:gd name="connsiteX138" fmla="*/ 121007 w 363894"/>
                  <a:gd name="connsiteY138" fmla="*/ 328784 h 759790"/>
                  <a:gd name="connsiteX139" fmla="*/ 113863 w 363894"/>
                  <a:gd name="connsiteY139" fmla="*/ 324021 h 759790"/>
                  <a:gd name="connsiteX140" fmla="*/ 92432 w 363894"/>
                  <a:gd name="connsiteY140" fmla="*/ 321640 h 759790"/>
                  <a:gd name="connsiteX141" fmla="*/ 87669 w 363894"/>
                  <a:gd name="connsiteY141" fmla="*/ 314496 h 759790"/>
                  <a:gd name="connsiteX142" fmla="*/ 82907 w 363894"/>
                  <a:gd name="connsiteY142" fmla="*/ 300209 h 759790"/>
                  <a:gd name="connsiteX143" fmla="*/ 87669 w 363894"/>
                  <a:gd name="connsiteY143" fmla="*/ 293065 h 759790"/>
                  <a:gd name="connsiteX144" fmla="*/ 94813 w 363894"/>
                  <a:gd name="connsiteY144" fmla="*/ 278778 h 759790"/>
                  <a:gd name="connsiteX145" fmla="*/ 101957 w 363894"/>
                  <a:gd name="connsiteY145" fmla="*/ 276396 h 759790"/>
                  <a:gd name="connsiteX146" fmla="*/ 116244 w 363894"/>
                  <a:gd name="connsiteY146" fmla="*/ 266871 h 759790"/>
                  <a:gd name="connsiteX147" fmla="*/ 130532 w 363894"/>
                  <a:gd name="connsiteY147" fmla="*/ 254965 h 759790"/>
                  <a:gd name="connsiteX148" fmla="*/ 132913 w 363894"/>
                  <a:gd name="connsiteY148" fmla="*/ 247821 h 759790"/>
                  <a:gd name="connsiteX149" fmla="*/ 151963 w 363894"/>
                  <a:gd name="connsiteY149" fmla="*/ 226390 h 759790"/>
                  <a:gd name="connsiteX150" fmla="*/ 166250 w 363894"/>
                  <a:gd name="connsiteY150" fmla="*/ 214484 h 759790"/>
                  <a:gd name="connsiteX151" fmla="*/ 175775 w 363894"/>
                  <a:gd name="connsiteY151" fmla="*/ 193053 h 759790"/>
                  <a:gd name="connsiteX152" fmla="*/ 178157 w 363894"/>
                  <a:gd name="connsiteY152" fmla="*/ 185909 h 759790"/>
                  <a:gd name="connsiteX153" fmla="*/ 180538 w 363894"/>
                  <a:gd name="connsiteY153" fmla="*/ 178765 h 759790"/>
                  <a:gd name="connsiteX154" fmla="*/ 178157 w 363894"/>
                  <a:gd name="connsiteY154" fmla="*/ 154953 h 759790"/>
                  <a:gd name="connsiteX155" fmla="*/ 173394 w 363894"/>
                  <a:gd name="connsiteY155" fmla="*/ 140665 h 759790"/>
                  <a:gd name="connsiteX156" fmla="*/ 171013 w 363894"/>
                  <a:gd name="connsiteY156" fmla="*/ 133521 h 759790"/>
                  <a:gd name="connsiteX157" fmla="*/ 163869 w 363894"/>
                  <a:gd name="connsiteY157" fmla="*/ 100184 h 759790"/>
                  <a:gd name="connsiteX158" fmla="*/ 156725 w 363894"/>
                  <a:gd name="connsiteY158" fmla="*/ 93040 h 759790"/>
                  <a:gd name="connsiteX159" fmla="*/ 142438 w 363894"/>
                  <a:gd name="connsiteY159" fmla="*/ 83515 h 759790"/>
                  <a:gd name="connsiteX160" fmla="*/ 135294 w 363894"/>
                  <a:gd name="connsiteY160" fmla="*/ 69228 h 759790"/>
                  <a:gd name="connsiteX161" fmla="*/ 137675 w 363894"/>
                  <a:gd name="connsiteY161" fmla="*/ 57321 h 759790"/>
                  <a:gd name="connsiteX162" fmla="*/ 140057 w 363894"/>
                  <a:gd name="connsiteY162" fmla="*/ 50178 h 759790"/>
                  <a:gd name="connsiteX163" fmla="*/ 161488 w 363894"/>
                  <a:gd name="connsiteY163" fmla="*/ 38271 h 759790"/>
                  <a:gd name="connsiteX164" fmla="*/ 175775 w 363894"/>
                  <a:gd name="connsiteY164" fmla="*/ 26365 h 759790"/>
                  <a:gd name="connsiteX165" fmla="*/ 180538 w 363894"/>
                  <a:gd name="connsiteY165" fmla="*/ 19221 h 759790"/>
                  <a:gd name="connsiteX166" fmla="*/ 182919 w 363894"/>
                  <a:gd name="connsiteY166" fmla="*/ 9696 h 759790"/>
                  <a:gd name="connsiteX167" fmla="*/ 168632 w 363894"/>
                  <a:gd name="connsiteY167" fmla="*/ 171 h 75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63894" h="759790">
                    <a:moveTo>
                      <a:pt x="168632" y="171"/>
                    </a:moveTo>
                    <a:cubicBezTo>
                      <a:pt x="161885" y="-623"/>
                      <a:pt x="148603" y="1411"/>
                      <a:pt x="142438" y="4934"/>
                    </a:cubicBezTo>
                    <a:cubicBezTo>
                      <a:pt x="124286" y="15307"/>
                      <a:pt x="139685" y="7686"/>
                      <a:pt x="128150" y="19221"/>
                    </a:cubicBezTo>
                    <a:cubicBezTo>
                      <a:pt x="126126" y="21245"/>
                      <a:pt x="123205" y="22152"/>
                      <a:pt x="121007" y="23984"/>
                    </a:cubicBezTo>
                    <a:cubicBezTo>
                      <a:pt x="118420" y="26140"/>
                      <a:pt x="116450" y="28972"/>
                      <a:pt x="113863" y="31128"/>
                    </a:cubicBezTo>
                    <a:cubicBezTo>
                      <a:pt x="111664" y="32960"/>
                      <a:pt x="109334" y="34728"/>
                      <a:pt x="106719" y="35890"/>
                    </a:cubicBezTo>
                    <a:cubicBezTo>
                      <a:pt x="102132" y="37929"/>
                      <a:pt x="92432" y="40653"/>
                      <a:pt x="92432" y="40653"/>
                    </a:cubicBezTo>
                    <a:cubicBezTo>
                      <a:pt x="86768" y="57639"/>
                      <a:pt x="94799" y="37101"/>
                      <a:pt x="82907" y="54940"/>
                    </a:cubicBezTo>
                    <a:cubicBezTo>
                      <a:pt x="81515" y="57029"/>
                      <a:pt x="81917" y="59995"/>
                      <a:pt x="80525" y="62084"/>
                    </a:cubicBezTo>
                    <a:cubicBezTo>
                      <a:pt x="78657" y="64886"/>
                      <a:pt x="75449" y="66570"/>
                      <a:pt x="73382" y="69228"/>
                    </a:cubicBezTo>
                    <a:cubicBezTo>
                      <a:pt x="60839" y="85356"/>
                      <a:pt x="67068" y="79086"/>
                      <a:pt x="59094" y="93040"/>
                    </a:cubicBezTo>
                    <a:cubicBezTo>
                      <a:pt x="57674" y="95525"/>
                      <a:pt x="55494" y="97569"/>
                      <a:pt x="54332" y="100184"/>
                    </a:cubicBezTo>
                    <a:cubicBezTo>
                      <a:pt x="52293" y="104771"/>
                      <a:pt x="51157" y="109709"/>
                      <a:pt x="49569" y="114471"/>
                    </a:cubicBezTo>
                    <a:lnTo>
                      <a:pt x="42425" y="135903"/>
                    </a:lnTo>
                    <a:lnTo>
                      <a:pt x="40044" y="143046"/>
                    </a:lnTo>
                    <a:lnTo>
                      <a:pt x="37663" y="150190"/>
                    </a:lnTo>
                    <a:cubicBezTo>
                      <a:pt x="36183" y="166471"/>
                      <a:pt x="36417" y="174224"/>
                      <a:pt x="32900" y="188290"/>
                    </a:cubicBezTo>
                    <a:cubicBezTo>
                      <a:pt x="32291" y="190725"/>
                      <a:pt x="32087" y="193474"/>
                      <a:pt x="30519" y="195434"/>
                    </a:cubicBezTo>
                    <a:cubicBezTo>
                      <a:pt x="28731" y="197669"/>
                      <a:pt x="25756" y="198609"/>
                      <a:pt x="23375" y="200196"/>
                    </a:cubicBezTo>
                    <a:cubicBezTo>
                      <a:pt x="17932" y="216526"/>
                      <a:pt x="24359" y="196258"/>
                      <a:pt x="18613" y="219246"/>
                    </a:cubicBezTo>
                    <a:cubicBezTo>
                      <a:pt x="18004" y="221681"/>
                      <a:pt x="17800" y="224430"/>
                      <a:pt x="16232" y="226390"/>
                    </a:cubicBezTo>
                    <a:cubicBezTo>
                      <a:pt x="14444" y="228625"/>
                      <a:pt x="11469" y="229565"/>
                      <a:pt x="9088" y="231153"/>
                    </a:cubicBezTo>
                    <a:cubicBezTo>
                      <a:pt x="-5717" y="253355"/>
                      <a:pt x="634" y="240793"/>
                      <a:pt x="6707" y="295446"/>
                    </a:cubicBezTo>
                    <a:cubicBezTo>
                      <a:pt x="7023" y="298290"/>
                      <a:pt x="9234" y="300802"/>
                      <a:pt x="11469" y="302590"/>
                    </a:cubicBezTo>
                    <a:cubicBezTo>
                      <a:pt x="13429" y="304158"/>
                      <a:pt x="16232" y="304177"/>
                      <a:pt x="18613" y="304971"/>
                    </a:cubicBezTo>
                    <a:cubicBezTo>
                      <a:pt x="21788" y="309734"/>
                      <a:pt x="26328" y="313829"/>
                      <a:pt x="28138" y="319259"/>
                    </a:cubicBezTo>
                    <a:lnTo>
                      <a:pt x="32900" y="333546"/>
                    </a:lnTo>
                    <a:lnTo>
                      <a:pt x="37663" y="347834"/>
                    </a:lnTo>
                    <a:cubicBezTo>
                      <a:pt x="38457" y="351803"/>
                      <a:pt x="39472" y="355733"/>
                      <a:pt x="40044" y="359740"/>
                    </a:cubicBezTo>
                    <a:cubicBezTo>
                      <a:pt x="44447" y="390567"/>
                      <a:pt x="39126" y="371274"/>
                      <a:pt x="47188" y="395459"/>
                    </a:cubicBezTo>
                    <a:cubicBezTo>
                      <a:pt x="47982" y="397840"/>
                      <a:pt x="48177" y="400514"/>
                      <a:pt x="49569" y="402603"/>
                    </a:cubicBezTo>
                    <a:cubicBezTo>
                      <a:pt x="61585" y="420626"/>
                      <a:pt x="55047" y="412843"/>
                      <a:pt x="68619" y="426415"/>
                    </a:cubicBezTo>
                    <a:cubicBezTo>
                      <a:pt x="74287" y="443418"/>
                      <a:pt x="70597" y="436526"/>
                      <a:pt x="78144" y="447846"/>
                    </a:cubicBezTo>
                    <a:lnTo>
                      <a:pt x="85288" y="469278"/>
                    </a:lnTo>
                    <a:lnTo>
                      <a:pt x="87669" y="476421"/>
                    </a:lnTo>
                    <a:lnTo>
                      <a:pt x="90050" y="483565"/>
                    </a:lnTo>
                    <a:cubicBezTo>
                      <a:pt x="90844" y="496265"/>
                      <a:pt x="91902" y="508951"/>
                      <a:pt x="92432" y="521665"/>
                    </a:cubicBezTo>
                    <a:cubicBezTo>
                      <a:pt x="93490" y="547055"/>
                      <a:pt x="93363" y="572494"/>
                      <a:pt x="94813" y="597865"/>
                    </a:cubicBezTo>
                    <a:cubicBezTo>
                      <a:pt x="94956" y="600371"/>
                      <a:pt x="95626" y="603049"/>
                      <a:pt x="97194" y="605009"/>
                    </a:cubicBezTo>
                    <a:cubicBezTo>
                      <a:pt x="98982" y="607244"/>
                      <a:pt x="101957" y="608184"/>
                      <a:pt x="104338" y="609771"/>
                    </a:cubicBezTo>
                    <a:cubicBezTo>
                      <a:pt x="105925" y="612152"/>
                      <a:pt x="106865" y="615127"/>
                      <a:pt x="109100" y="616915"/>
                    </a:cubicBezTo>
                    <a:cubicBezTo>
                      <a:pt x="111060" y="618483"/>
                      <a:pt x="114050" y="618077"/>
                      <a:pt x="116244" y="619296"/>
                    </a:cubicBezTo>
                    <a:cubicBezTo>
                      <a:pt x="121248" y="622076"/>
                      <a:pt x="125769" y="625646"/>
                      <a:pt x="130532" y="628821"/>
                    </a:cubicBezTo>
                    <a:lnTo>
                      <a:pt x="130532" y="628821"/>
                    </a:lnTo>
                    <a:lnTo>
                      <a:pt x="144819" y="643109"/>
                    </a:lnTo>
                    <a:cubicBezTo>
                      <a:pt x="152824" y="667127"/>
                      <a:pt x="140608" y="629866"/>
                      <a:pt x="149582" y="659778"/>
                    </a:cubicBezTo>
                    <a:cubicBezTo>
                      <a:pt x="151025" y="664586"/>
                      <a:pt x="152757" y="669303"/>
                      <a:pt x="154344" y="674065"/>
                    </a:cubicBezTo>
                    <a:cubicBezTo>
                      <a:pt x="155138" y="676446"/>
                      <a:pt x="155333" y="679120"/>
                      <a:pt x="156725" y="681209"/>
                    </a:cubicBezTo>
                    <a:lnTo>
                      <a:pt x="175775" y="709784"/>
                    </a:lnTo>
                    <a:lnTo>
                      <a:pt x="185300" y="724071"/>
                    </a:lnTo>
                    <a:cubicBezTo>
                      <a:pt x="186888" y="726452"/>
                      <a:pt x="187348" y="730310"/>
                      <a:pt x="190063" y="731215"/>
                    </a:cubicBezTo>
                    <a:lnTo>
                      <a:pt x="197207" y="733596"/>
                    </a:lnTo>
                    <a:cubicBezTo>
                      <a:pt x="198794" y="735977"/>
                      <a:pt x="199945" y="738716"/>
                      <a:pt x="201969" y="740740"/>
                    </a:cubicBezTo>
                    <a:cubicBezTo>
                      <a:pt x="203993" y="742764"/>
                      <a:pt x="206628" y="744083"/>
                      <a:pt x="209113" y="745503"/>
                    </a:cubicBezTo>
                    <a:cubicBezTo>
                      <a:pt x="217351" y="750210"/>
                      <a:pt x="217768" y="749975"/>
                      <a:pt x="225782" y="752646"/>
                    </a:cubicBezTo>
                    <a:cubicBezTo>
                      <a:pt x="229395" y="755055"/>
                      <a:pt x="235138" y="759790"/>
                      <a:pt x="240069" y="759790"/>
                    </a:cubicBezTo>
                    <a:cubicBezTo>
                      <a:pt x="243342" y="759790"/>
                      <a:pt x="246419" y="758203"/>
                      <a:pt x="249594" y="757409"/>
                    </a:cubicBezTo>
                    <a:cubicBezTo>
                      <a:pt x="248800" y="753440"/>
                      <a:pt x="248634" y="749293"/>
                      <a:pt x="247213" y="745503"/>
                    </a:cubicBezTo>
                    <a:cubicBezTo>
                      <a:pt x="246208" y="742823"/>
                      <a:pt x="243577" y="740990"/>
                      <a:pt x="242450" y="738359"/>
                    </a:cubicBezTo>
                    <a:cubicBezTo>
                      <a:pt x="241161" y="735351"/>
                      <a:pt x="241009" y="731969"/>
                      <a:pt x="240069" y="728834"/>
                    </a:cubicBezTo>
                    <a:cubicBezTo>
                      <a:pt x="238627" y="724025"/>
                      <a:pt x="238857" y="718096"/>
                      <a:pt x="235307" y="714546"/>
                    </a:cubicBezTo>
                    <a:cubicBezTo>
                      <a:pt x="230544" y="709784"/>
                      <a:pt x="224755" y="705863"/>
                      <a:pt x="221019" y="700259"/>
                    </a:cubicBezTo>
                    <a:cubicBezTo>
                      <a:pt x="219432" y="697878"/>
                      <a:pt x="218089" y="695314"/>
                      <a:pt x="216257" y="693115"/>
                    </a:cubicBezTo>
                    <a:cubicBezTo>
                      <a:pt x="214101" y="690528"/>
                      <a:pt x="211181" y="688629"/>
                      <a:pt x="209113" y="685971"/>
                    </a:cubicBezTo>
                    <a:cubicBezTo>
                      <a:pt x="205599" y="681453"/>
                      <a:pt x="203022" y="676263"/>
                      <a:pt x="199588" y="671684"/>
                    </a:cubicBezTo>
                    <a:lnTo>
                      <a:pt x="192444" y="662159"/>
                    </a:lnTo>
                    <a:cubicBezTo>
                      <a:pt x="186777" y="645156"/>
                      <a:pt x="190467" y="652048"/>
                      <a:pt x="182919" y="640728"/>
                    </a:cubicBezTo>
                    <a:cubicBezTo>
                      <a:pt x="182125" y="638347"/>
                      <a:pt x="181661" y="635829"/>
                      <a:pt x="180538" y="633584"/>
                    </a:cubicBezTo>
                    <a:cubicBezTo>
                      <a:pt x="179258" y="631024"/>
                      <a:pt x="176902" y="629071"/>
                      <a:pt x="175775" y="626440"/>
                    </a:cubicBezTo>
                    <a:cubicBezTo>
                      <a:pt x="171201" y="615767"/>
                      <a:pt x="175644" y="619032"/>
                      <a:pt x="171013" y="609771"/>
                    </a:cubicBezTo>
                    <a:cubicBezTo>
                      <a:pt x="169733" y="607211"/>
                      <a:pt x="167838" y="605009"/>
                      <a:pt x="166250" y="602628"/>
                    </a:cubicBezTo>
                    <a:cubicBezTo>
                      <a:pt x="165456" y="600247"/>
                      <a:pt x="164991" y="597729"/>
                      <a:pt x="163869" y="595484"/>
                    </a:cubicBezTo>
                    <a:cubicBezTo>
                      <a:pt x="162589" y="592924"/>
                      <a:pt x="160234" y="590970"/>
                      <a:pt x="159107" y="588340"/>
                    </a:cubicBezTo>
                    <a:cubicBezTo>
                      <a:pt x="157818" y="585332"/>
                      <a:pt x="157624" y="581962"/>
                      <a:pt x="156725" y="578815"/>
                    </a:cubicBezTo>
                    <a:cubicBezTo>
                      <a:pt x="153701" y="568231"/>
                      <a:pt x="154442" y="574543"/>
                      <a:pt x="151963" y="562146"/>
                    </a:cubicBezTo>
                    <a:cubicBezTo>
                      <a:pt x="151016" y="557412"/>
                      <a:pt x="150376" y="552621"/>
                      <a:pt x="149582" y="547859"/>
                    </a:cubicBezTo>
                    <a:cubicBezTo>
                      <a:pt x="150376" y="538334"/>
                      <a:pt x="150700" y="528758"/>
                      <a:pt x="151963" y="519284"/>
                    </a:cubicBezTo>
                    <a:cubicBezTo>
                      <a:pt x="152295" y="516796"/>
                      <a:pt x="153852" y="514601"/>
                      <a:pt x="154344" y="512140"/>
                    </a:cubicBezTo>
                    <a:cubicBezTo>
                      <a:pt x="155445" y="506636"/>
                      <a:pt x="155931" y="501027"/>
                      <a:pt x="156725" y="495471"/>
                    </a:cubicBezTo>
                    <a:cubicBezTo>
                      <a:pt x="155931" y="491502"/>
                      <a:pt x="155409" y="487470"/>
                      <a:pt x="154344" y="483565"/>
                    </a:cubicBezTo>
                    <a:cubicBezTo>
                      <a:pt x="153023" y="478722"/>
                      <a:pt x="149582" y="469278"/>
                      <a:pt x="149582" y="469278"/>
                    </a:cubicBezTo>
                    <a:cubicBezTo>
                      <a:pt x="150376" y="452609"/>
                      <a:pt x="148978" y="435690"/>
                      <a:pt x="151963" y="419271"/>
                    </a:cubicBezTo>
                    <a:cubicBezTo>
                      <a:pt x="153063" y="413221"/>
                      <a:pt x="165150" y="418971"/>
                      <a:pt x="166250" y="419271"/>
                    </a:cubicBezTo>
                    <a:cubicBezTo>
                      <a:pt x="172565" y="420993"/>
                      <a:pt x="178950" y="422446"/>
                      <a:pt x="185300" y="424034"/>
                    </a:cubicBezTo>
                    <a:lnTo>
                      <a:pt x="194825" y="426415"/>
                    </a:lnTo>
                    <a:cubicBezTo>
                      <a:pt x="197206" y="428796"/>
                      <a:pt x="199382" y="431403"/>
                      <a:pt x="201969" y="433559"/>
                    </a:cubicBezTo>
                    <a:cubicBezTo>
                      <a:pt x="210660" y="440801"/>
                      <a:pt x="208566" y="435577"/>
                      <a:pt x="216257" y="445465"/>
                    </a:cubicBezTo>
                    <a:cubicBezTo>
                      <a:pt x="223158" y="454338"/>
                      <a:pt x="222113" y="461233"/>
                      <a:pt x="232925" y="462134"/>
                    </a:cubicBezTo>
                    <a:cubicBezTo>
                      <a:pt x="249555" y="463520"/>
                      <a:pt x="266263" y="463721"/>
                      <a:pt x="282932" y="464515"/>
                    </a:cubicBezTo>
                    <a:cubicBezTo>
                      <a:pt x="289282" y="465309"/>
                      <a:pt x="295955" y="464744"/>
                      <a:pt x="301982" y="466896"/>
                    </a:cubicBezTo>
                    <a:cubicBezTo>
                      <a:pt x="307372" y="468821"/>
                      <a:pt x="316269" y="476421"/>
                      <a:pt x="316269" y="476421"/>
                    </a:cubicBezTo>
                    <a:cubicBezTo>
                      <a:pt x="321825" y="475627"/>
                      <a:pt x="327416" y="475044"/>
                      <a:pt x="332938" y="474040"/>
                    </a:cubicBezTo>
                    <a:cubicBezTo>
                      <a:pt x="336158" y="473455"/>
                      <a:pt x="339740" y="473474"/>
                      <a:pt x="342463" y="471659"/>
                    </a:cubicBezTo>
                    <a:cubicBezTo>
                      <a:pt x="344844" y="470071"/>
                      <a:pt x="345638" y="466896"/>
                      <a:pt x="347225" y="464515"/>
                    </a:cubicBezTo>
                    <a:cubicBezTo>
                      <a:pt x="346431" y="447846"/>
                      <a:pt x="346230" y="431139"/>
                      <a:pt x="344844" y="414509"/>
                    </a:cubicBezTo>
                    <a:cubicBezTo>
                      <a:pt x="344273" y="407655"/>
                      <a:pt x="341456" y="405331"/>
                      <a:pt x="335319" y="402603"/>
                    </a:cubicBezTo>
                    <a:cubicBezTo>
                      <a:pt x="330732" y="400564"/>
                      <a:pt x="325794" y="399428"/>
                      <a:pt x="321032" y="397840"/>
                    </a:cubicBezTo>
                    <a:cubicBezTo>
                      <a:pt x="310054" y="394180"/>
                      <a:pt x="316341" y="395950"/>
                      <a:pt x="301982" y="393078"/>
                    </a:cubicBezTo>
                    <a:cubicBezTo>
                      <a:pt x="299601" y="391490"/>
                      <a:pt x="297398" y="389595"/>
                      <a:pt x="294838" y="388315"/>
                    </a:cubicBezTo>
                    <a:cubicBezTo>
                      <a:pt x="282117" y="381955"/>
                      <a:pt x="292567" y="391748"/>
                      <a:pt x="278169" y="378790"/>
                    </a:cubicBezTo>
                    <a:cubicBezTo>
                      <a:pt x="273163" y="374285"/>
                      <a:pt x="270271" y="366633"/>
                      <a:pt x="263882" y="364503"/>
                    </a:cubicBezTo>
                    <a:cubicBezTo>
                      <a:pt x="227036" y="352220"/>
                      <a:pt x="265083" y="366295"/>
                      <a:pt x="242450" y="354978"/>
                    </a:cubicBezTo>
                    <a:cubicBezTo>
                      <a:pt x="222733" y="345119"/>
                      <a:pt x="248637" y="361482"/>
                      <a:pt x="228163" y="347834"/>
                    </a:cubicBezTo>
                    <a:cubicBezTo>
                      <a:pt x="226575" y="345453"/>
                      <a:pt x="223870" y="343513"/>
                      <a:pt x="223400" y="340690"/>
                    </a:cubicBezTo>
                    <a:cubicBezTo>
                      <a:pt x="222987" y="338214"/>
                      <a:pt x="224659" y="335791"/>
                      <a:pt x="225782" y="333546"/>
                    </a:cubicBezTo>
                    <a:cubicBezTo>
                      <a:pt x="227062" y="330987"/>
                      <a:pt x="228117" y="327920"/>
                      <a:pt x="230544" y="326403"/>
                    </a:cubicBezTo>
                    <a:cubicBezTo>
                      <a:pt x="239673" y="320698"/>
                      <a:pt x="256991" y="320289"/>
                      <a:pt x="266263" y="319259"/>
                    </a:cubicBezTo>
                    <a:cubicBezTo>
                      <a:pt x="271025" y="316084"/>
                      <a:pt x="277375" y="314496"/>
                      <a:pt x="280550" y="309734"/>
                    </a:cubicBezTo>
                    <a:cubicBezTo>
                      <a:pt x="283725" y="304971"/>
                      <a:pt x="284645" y="297256"/>
                      <a:pt x="290075" y="295446"/>
                    </a:cubicBezTo>
                    <a:cubicBezTo>
                      <a:pt x="312681" y="287912"/>
                      <a:pt x="299363" y="291138"/>
                      <a:pt x="330557" y="288303"/>
                    </a:cubicBezTo>
                    <a:cubicBezTo>
                      <a:pt x="351990" y="281158"/>
                      <a:pt x="340874" y="289097"/>
                      <a:pt x="347225" y="276396"/>
                    </a:cubicBezTo>
                    <a:cubicBezTo>
                      <a:pt x="348505" y="273836"/>
                      <a:pt x="350400" y="271634"/>
                      <a:pt x="351988" y="269253"/>
                    </a:cubicBezTo>
                    <a:cubicBezTo>
                      <a:pt x="357571" y="252502"/>
                      <a:pt x="351431" y="272586"/>
                      <a:pt x="356750" y="240678"/>
                    </a:cubicBezTo>
                    <a:cubicBezTo>
                      <a:pt x="357163" y="238202"/>
                      <a:pt x="358338" y="235915"/>
                      <a:pt x="359132" y="233534"/>
                    </a:cubicBezTo>
                    <a:cubicBezTo>
                      <a:pt x="359926" y="228771"/>
                      <a:pt x="360875" y="224032"/>
                      <a:pt x="361513" y="219246"/>
                    </a:cubicBezTo>
                    <a:cubicBezTo>
                      <a:pt x="362463" y="212121"/>
                      <a:pt x="363894" y="205003"/>
                      <a:pt x="363894" y="197815"/>
                    </a:cubicBezTo>
                    <a:cubicBezTo>
                      <a:pt x="363894" y="194542"/>
                      <a:pt x="362977" y="191217"/>
                      <a:pt x="361513" y="188290"/>
                    </a:cubicBezTo>
                    <a:cubicBezTo>
                      <a:pt x="359049" y="183361"/>
                      <a:pt x="352426" y="171308"/>
                      <a:pt x="344844" y="169240"/>
                    </a:cubicBezTo>
                    <a:cubicBezTo>
                      <a:pt x="338670" y="167556"/>
                      <a:pt x="332144" y="167653"/>
                      <a:pt x="325794" y="166859"/>
                    </a:cubicBezTo>
                    <a:cubicBezTo>
                      <a:pt x="309125" y="168446"/>
                      <a:pt x="292413" y="169626"/>
                      <a:pt x="275788" y="171621"/>
                    </a:cubicBezTo>
                    <a:cubicBezTo>
                      <a:pt x="272539" y="172011"/>
                      <a:pt x="269271" y="172714"/>
                      <a:pt x="266263" y="174003"/>
                    </a:cubicBezTo>
                    <a:cubicBezTo>
                      <a:pt x="248032" y="181816"/>
                      <a:pt x="272675" y="175861"/>
                      <a:pt x="249594" y="188290"/>
                    </a:cubicBezTo>
                    <a:cubicBezTo>
                      <a:pt x="242964" y="191860"/>
                      <a:pt x="235307" y="193053"/>
                      <a:pt x="228163" y="195434"/>
                    </a:cubicBezTo>
                    <a:cubicBezTo>
                      <a:pt x="217920" y="198848"/>
                      <a:pt x="223447" y="197208"/>
                      <a:pt x="211494" y="200196"/>
                    </a:cubicBezTo>
                    <a:cubicBezTo>
                      <a:pt x="209113" y="201784"/>
                      <a:pt x="206374" y="202935"/>
                      <a:pt x="204350" y="204959"/>
                    </a:cubicBezTo>
                    <a:cubicBezTo>
                      <a:pt x="202326" y="206983"/>
                      <a:pt x="201969" y="210515"/>
                      <a:pt x="199588" y="212103"/>
                    </a:cubicBezTo>
                    <a:cubicBezTo>
                      <a:pt x="196865" y="213918"/>
                      <a:pt x="193238" y="213690"/>
                      <a:pt x="190063" y="214484"/>
                    </a:cubicBezTo>
                    <a:cubicBezTo>
                      <a:pt x="186392" y="219990"/>
                      <a:pt x="181281" y="223838"/>
                      <a:pt x="187682" y="231153"/>
                    </a:cubicBezTo>
                    <a:cubicBezTo>
                      <a:pt x="191451" y="235460"/>
                      <a:pt x="201969" y="240678"/>
                      <a:pt x="201969" y="240678"/>
                    </a:cubicBezTo>
                    <a:cubicBezTo>
                      <a:pt x="203557" y="243059"/>
                      <a:pt x="206447" y="244973"/>
                      <a:pt x="206732" y="247821"/>
                    </a:cubicBezTo>
                    <a:cubicBezTo>
                      <a:pt x="207290" y="253406"/>
                      <a:pt x="206629" y="259361"/>
                      <a:pt x="204350" y="264490"/>
                    </a:cubicBezTo>
                    <a:cubicBezTo>
                      <a:pt x="203188" y="267105"/>
                      <a:pt x="199767" y="267973"/>
                      <a:pt x="197207" y="269253"/>
                    </a:cubicBezTo>
                    <a:cubicBezTo>
                      <a:pt x="189230" y="273242"/>
                      <a:pt x="175416" y="273261"/>
                      <a:pt x="168632" y="274015"/>
                    </a:cubicBezTo>
                    <a:cubicBezTo>
                      <a:pt x="163755" y="275640"/>
                      <a:pt x="157895" y="276897"/>
                      <a:pt x="154344" y="281159"/>
                    </a:cubicBezTo>
                    <a:cubicBezTo>
                      <a:pt x="152072" y="283886"/>
                      <a:pt x="150900" y="287388"/>
                      <a:pt x="149582" y="290684"/>
                    </a:cubicBezTo>
                    <a:cubicBezTo>
                      <a:pt x="149573" y="290707"/>
                      <a:pt x="143632" y="308531"/>
                      <a:pt x="142438" y="312115"/>
                    </a:cubicBezTo>
                    <a:cubicBezTo>
                      <a:pt x="140501" y="317926"/>
                      <a:pt x="139911" y="321786"/>
                      <a:pt x="135294" y="326403"/>
                    </a:cubicBezTo>
                    <a:cubicBezTo>
                      <a:pt x="133270" y="328427"/>
                      <a:pt x="130531" y="329578"/>
                      <a:pt x="128150" y="331165"/>
                    </a:cubicBezTo>
                    <a:cubicBezTo>
                      <a:pt x="125769" y="330371"/>
                      <a:pt x="123252" y="329906"/>
                      <a:pt x="121007" y="328784"/>
                    </a:cubicBezTo>
                    <a:cubicBezTo>
                      <a:pt x="118447" y="327504"/>
                      <a:pt x="116640" y="324715"/>
                      <a:pt x="113863" y="324021"/>
                    </a:cubicBezTo>
                    <a:cubicBezTo>
                      <a:pt x="106890" y="322278"/>
                      <a:pt x="99576" y="322434"/>
                      <a:pt x="92432" y="321640"/>
                    </a:cubicBezTo>
                    <a:cubicBezTo>
                      <a:pt x="90844" y="319259"/>
                      <a:pt x="88831" y="317111"/>
                      <a:pt x="87669" y="314496"/>
                    </a:cubicBezTo>
                    <a:cubicBezTo>
                      <a:pt x="85630" y="309909"/>
                      <a:pt x="82907" y="300209"/>
                      <a:pt x="82907" y="300209"/>
                    </a:cubicBezTo>
                    <a:cubicBezTo>
                      <a:pt x="84494" y="297828"/>
                      <a:pt x="86389" y="295625"/>
                      <a:pt x="87669" y="293065"/>
                    </a:cubicBezTo>
                    <a:cubicBezTo>
                      <a:pt x="90545" y="287312"/>
                      <a:pt x="89124" y="283329"/>
                      <a:pt x="94813" y="278778"/>
                    </a:cubicBezTo>
                    <a:cubicBezTo>
                      <a:pt x="96773" y="277210"/>
                      <a:pt x="99763" y="277615"/>
                      <a:pt x="101957" y="276396"/>
                    </a:cubicBezTo>
                    <a:cubicBezTo>
                      <a:pt x="106960" y="273616"/>
                      <a:pt x="112196" y="270918"/>
                      <a:pt x="116244" y="266871"/>
                    </a:cubicBezTo>
                    <a:cubicBezTo>
                      <a:pt x="125412" y="257704"/>
                      <a:pt x="120586" y="261596"/>
                      <a:pt x="130532" y="254965"/>
                    </a:cubicBezTo>
                    <a:cubicBezTo>
                      <a:pt x="131326" y="252584"/>
                      <a:pt x="131791" y="250066"/>
                      <a:pt x="132913" y="247821"/>
                    </a:cubicBezTo>
                    <a:cubicBezTo>
                      <a:pt x="137161" y="239323"/>
                      <a:pt x="145654" y="232699"/>
                      <a:pt x="151963" y="226390"/>
                    </a:cubicBezTo>
                    <a:cubicBezTo>
                      <a:pt x="161130" y="217223"/>
                      <a:pt x="156305" y="221114"/>
                      <a:pt x="166250" y="214484"/>
                    </a:cubicBezTo>
                    <a:cubicBezTo>
                      <a:pt x="173798" y="203162"/>
                      <a:pt x="170107" y="210057"/>
                      <a:pt x="175775" y="193053"/>
                    </a:cubicBezTo>
                    <a:lnTo>
                      <a:pt x="178157" y="185909"/>
                    </a:lnTo>
                    <a:lnTo>
                      <a:pt x="180538" y="178765"/>
                    </a:lnTo>
                    <a:cubicBezTo>
                      <a:pt x="179744" y="170828"/>
                      <a:pt x="179627" y="162793"/>
                      <a:pt x="178157" y="154953"/>
                    </a:cubicBezTo>
                    <a:cubicBezTo>
                      <a:pt x="177232" y="150019"/>
                      <a:pt x="174982" y="145428"/>
                      <a:pt x="173394" y="140665"/>
                    </a:cubicBezTo>
                    <a:lnTo>
                      <a:pt x="171013" y="133521"/>
                    </a:lnTo>
                    <a:cubicBezTo>
                      <a:pt x="170481" y="129261"/>
                      <a:pt x="168717" y="105032"/>
                      <a:pt x="163869" y="100184"/>
                    </a:cubicBezTo>
                    <a:cubicBezTo>
                      <a:pt x="161488" y="97803"/>
                      <a:pt x="159383" y="95108"/>
                      <a:pt x="156725" y="93040"/>
                    </a:cubicBezTo>
                    <a:cubicBezTo>
                      <a:pt x="152207" y="89526"/>
                      <a:pt x="142438" y="83515"/>
                      <a:pt x="142438" y="83515"/>
                    </a:cubicBezTo>
                    <a:cubicBezTo>
                      <a:pt x="140030" y="79903"/>
                      <a:pt x="135294" y="74157"/>
                      <a:pt x="135294" y="69228"/>
                    </a:cubicBezTo>
                    <a:cubicBezTo>
                      <a:pt x="135294" y="65180"/>
                      <a:pt x="136693" y="61248"/>
                      <a:pt x="137675" y="57321"/>
                    </a:cubicBezTo>
                    <a:cubicBezTo>
                      <a:pt x="138284" y="54886"/>
                      <a:pt x="138282" y="51953"/>
                      <a:pt x="140057" y="50178"/>
                    </a:cubicBezTo>
                    <a:cubicBezTo>
                      <a:pt x="155069" y="35166"/>
                      <a:pt x="149512" y="44259"/>
                      <a:pt x="161488" y="38271"/>
                    </a:cubicBezTo>
                    <a:cubicBezTo>
                      <a:pt x="166843" y="35594"/>
                      <a:pt x="172011" y="30882"/>
                      <a:pt x="175775" y="26365"/>
                    </a:cubicBezTo>
                    <a:cubicBezTo>
                      <a:pt x="177607" y="24166"/>
                      <a:pt x="178950" y="21602"/>
                      <a:pt x="180538" y="19221"/>
                    </a:cubicBezTo>
                    <a:cubicBezTo>
                      <a:pt x="181332" y="16046"/>
                      <a:pt x="182919" y="12969"/>
                      <a:pt x="182919" y="9696"/>
                    </a:cubicBezTo>
                    <a:cubicBezTo>
                      <a:pt x="182919" y="7186"/>
                      <a:pt x="175379" y="965"/>
                      <a:pt x="168632" y="17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4" name="Freeform 293"/>
              <p:cNvSpPr/>
              <p:nvPr/>
            </p:nvSpPr>
            <p:spPr>
              <a:xfrm>
                <a:off x="7610875" y="3546755"/>
                <a:ext cx="271314" cy="124153"/>
              </a:xfrm>
              <a:custGeom>
                <a:avLst/>
                <a:gdLst>
                  <a:gd name="connsiteX0" fmla="*/ 126206 w 271314"/>
                  <a:gd name="connsiteY0" fmla="*/ 328 h 124153"/>
                  <a:gd name="connsiteX1" fmla="*/ 52388 w 271314"/>
                  <a:gd name="connsiteY1" fmla="*/ 2709 h 124153"/>
                  <a:gd name="connsiteX2" fmla="*/ 30956 w 271314"/>
                  <a:gd name="connsiteY2" fmla="*/ 5090 h 124153"/>
                  <a:gd name="connsiteX3" fmla="*/ 23813 w 271314"/>
                  <a:gd name="connsiteY3" fmla="*/ 9853 h 124153"/>
                  <a:gd name="connsiteX4" fmla="*/ 19050 w 271314"/>
                  <a:gd name="connsiteY4" fmla="*/ 24140 h 124153"/>
                  <a:gd name="connsiteX5" fmla="*/ 14288 w 271314"/>
                  <a:gd name="connsiteY5" fmla="*/ 43190 h 124153"/>
                  <a:gd name="connsiteX6" fmla="*/ 2381 w 271314"/>
                  <a:gd name="connsiteY6" fmla="*/ 57478 h 124153"/>
                  <a:gd name="connsiteX7" fmla="*/ 0 w 271314"/>
                  <a:gd name="connsiteY7" fmla="*/ 64622 h 124153"/>
                  <a:gd name="connsiteX8" fmla="*/ 2381 w 271314"/>
                  <a:gd name="connsiteY8" fmla="*/ 74147 h 124153"/>
                  <a:gd name="connsiteX9" fmla="*/ 23813 w 271314"/>
                  <a:gd name="connsiteY9" fmla="*/ 90815 h 124153"/>
                  <a:gd name="connsiteX10" fmla="*/ 38100 w 271314"/>
                  <a:gd name="connsiteY10" fmla="*/ 105103 h 124153"/>
                  <a:gd name="connsiteX11" fmla="*/ 45244 w 271314"/>
                  <a:gd name="connsiteY11" fmla="*/ 121772 h 124153"/>
                  <a:gd name="connsiteX12" fmla="*/ 52388 w 271314"/>
                  <a:gd name="connsiteY12" fmla="*/ 124153 h 124153"/>
                  <a:gd name="connsiteX13" fmla="*/ 80963 w 271314"/>
                  <a:gd name="connsiteY13" fmla="*/ 121772 h 124153"/>
                  <a:gd name="connsiteX14" fmla="*/ 90488 w 271314"/>
                  <a:gd name="connsiteY14" fmla="*/ 117009 h 124153"/>
                  <a:gd name="connsiteX15" fmla="*/ 109538 w 271314"/>
                  <a:gd name="connsiteY15" fmla="*/ 95578 h 124153"/>
                  <a:gd name="connsiteX16" fmla="*/ 126206 w 271314"/>
                  <a:gd name="connsiteY16" fmla="*/ 78909 h 124153"/>
                  <a:gd name="connsiteX17" fmla="*/ 140494 w 271314"/>
                  <a:gd name="connsiteY17" fmla="*/ 74147 h 124153"/>
                  <a:gd name="connsiteX18" fmla="*/ 147638 w 271314"/>
                  <a:gd name="connsiteY18" fmla="*/ 71765 h 124153"/>
                  <a:gd name="connsiteX19" fmla="*/ 183356 w 271314"/>
                  <a:gd name="connsiteY19" fmla="*/ 78909 h 124153"/>
                  <a:gd name="connsiteX20" fmla="*/ 192881 w 271314"/>
                  <a:gd name="connsiteY20" fmla="*/ 86053 h 124153"/>
                  <a:gd name="connsiteX21" fmla="*/ 207169 w 271314"/>
                  <a:gd name="connsiteY21" fmla="*/ 95578 h 124153"/>
                  <a:gd name="connsiteX22" fmla="*/ 221456 w 271314"/>
                  <a:gd name="connsiteY22" fmla="*/ 93197 h 124153"/>
                  <a:gd name="connsiteX23" fmla="*/ 223838 w 271314"/>
                  <a:gd name="connsiteY23" fmla="*/ 86053 h 124153"/>
                  <a:gd name="connsiteX24" fmla="*/ 228600 w 271314"/>
                  <a:gd name="connsiteY24" fmla="*/ 78909 h 124153"/>
                  <a:gd name="connsiteX25" fmla="*/ 242888 w 271314"/>
                  <a:gd name="connsiteY25" fmla="*/ 74147 h 124153"/>
                  <a:gd name="connsiteX26" fmla="*/ 250031 w 271314"/>
                  <a:gd name="connsiteY26" fmla="*/ 71765 h 124153"/>
                  <a:gd name="connsiteX27" fmla="*/ 264319 w 271314"/>
                  <a:gd name="connsiteY27" fmla="*/ 62240 h 124153"/>
                  <a:gd name="connsiteX28" fmla="*/ 266700 w 271314"/>
                  <a:gd name="connsiteY28" fmla="*/ 36047 h 124153"/>
                  <a:gd name="connsiteX29" fmla="*/ 252413 w 271314"/>
                  <a:gd name="connsiteY29" fmla="*/ 31284 h 124153"/>
                  <a:gd name="connsiteX30" fmla="*/ 245269 w 271314"/>
                  <a:gd name="connsiteY30" fmla="*/ 28903 h 124153"/>
                  <a:gd name="connsiteX31" fmla="*/ 195263 w 271314"/>
                  <a:gd name="connsiteY31" fmla="*/ 31284 h 124153"/>
                  <a:gd name="connsiteX32" fmla="*/ 178594 w 271314"/>
                  <a:gd name="connsiteY32" fmla="*/ 36047 h 124153"/>
                  <a:gd name="connsiteX33" fmla="*/ 161925 w 271314"/>
                  <a:gd name="connsiteY33" fmla="*/ 31284 h 124153"/>
                  <a:gd name="connsiteX34" fmla="*/ 154781 w 271314"/>
                  <a:gd name="connsiteY34" fmla="*/ 24140 h 124153"/>
                  <a:gd name="connsiteX35" fmla="*/ 147638 w 271314"/>
                  <a:gd name="connsiteY35" fmla="*/ 21759 h 124153"/>
                  <a:gd name="connsiteX36" fmla="*/ 145256 w 271314"/>
                  <a:gd name="connsiteY36" fmla="*/ 14615 h 124153"/>
                  <a:gd name="connsiteX37" fmla="*/ 138113 w 271314"/>
                  <a:gd name="connsiteY37" fmla="*/ 9853 h 124153"/>
                  <a:gd name="connsiteX38" fmla="*/ 126206 w 271314"/>
                  <a:gd name="connsiteY38" fmla="*/ 328 h 12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1314" h="124153">
                    <a:moveTo>
                      <a:pt x="126206" y="328"/>
                    </a:moveTo>
                    <a:cubicBezTo>
                      <a:pt x="111919" y="-863"/>
                      <a:pt x="76976" y="1480"/>
                      <a:pt x="52388" y="2709"/>
                    </a:cubicBezTo>
                    <a:cubicBezTo>
                      <a:pt x="45209" y="3068"/>
                      <a:pt x="37929" y="3347"/>
                      <a:pt x="30956" y="5090"/>
                    </a:cubicBezTo>
                    <a:cubicBezTo>
                      <a:pt x="28180" y="5784"/>
                      <a:pt x="26194" y="8265"/>
                      <a:pt x="23813" y="9853"/>
                    </a:cubicBezTo>
                    <a:cubicBezTo>
                      <a:pt x="22225" y="14615"/>
                      <a:pt x="20034" y="19217"/>
                      <a:pt x="19050" y="24140"/>
                    </a:cubicBezTo>
                    <a:cubicBezTo>
                      <a:pt x="18145" y="28668"/>
                      <a:pt x="16729" y="38309"/>
                      <a:pt x="14288" y="43190"/>
                    </a:cubicBezTo>
                    <a:cubicBezTo>
                      <a:pt x="10973" y="49820"/>
                      <a:pt x="7647" y="52212"/>
                      <a:pt x="2381" y="57478"/>
                    </a:cubicBezTo>
                    <a:cubicBezTo>
                      <a:pt x="1587" y="59859"/>
                      <a:pt x="0" y="62112"/>
                      <a:pt x="0" y="64622"/>
                    </a:cubicBezTo>
                    <a:cubicBezTo>
                      <a:pt x="0" y="67895"/>
                      <a:pt x="757" y="71306"/>
                      <a:pt x="2381" y="74147"/>
                    </a:cubicBezTo>
                    <a:cubicBezTo>
                      <a:pt x="6849" y="81965"/>
                      <a:pt x="18153" y="85154"/>
                      <a:pt x="23813" y="90815"/>
                    </a:cubicBezTo>
                    <a:lnTo>
                      <a:pt x="38100" y="105103"/>
                    </a:lnTo>
                    <a:cubicBezTo>
                      <a:pt x="39530" y="110823"/>
                      <a:pt x="40104" y="117660"/>
                      <a:pt x="45244" y="121772"/>
                    </a:cubicBezTo>
                    <a:cubicBezTo>
                      <a:pt x="47204" y="123340"/>
                      <a:pt x="50007" y="123359"/>
                      <a:pt x="52388" y="124153"/>
                    </a:cubicBezTo>
                    <a:cubicBezTo>
                      <a:pt x="61913" y="123359"/>
                      <a:pt x="71569" y="123533"/>
                      <a:pt x="80963" y="121772"/>
                    </a:cubicBezTo>
                    <a:cubicBezTo>
                      <a:pt x="84452" y="121118"/>
                      <a:pt x="87716" y="119227"/>
                      <a:pt x="90488" y="117009"/>
                    </a:cubicBezTo>
                    <a:cubicBezTo>
                      <a:pt x="102138" y="107689"/>
                      <a:pt x="103020" y="105355"/>
                      <a:pt x="109538" y="95578"/>
                    </a:cubicBezTo>
                    <a:cubicBezTo>
                      <a:pt x="112831" y="85697"/>
                      <a:pt x="111877" y="83684"/>
                      <a:pt x="126206" y="78909"/>
                    </a:cubicBezTo>
                    <a:lnTo>
                      <a:pt x="140494" y="74147"/>
                    </a:lnTo>
                    <a:lnTo>
                      <a:pt x="147638" y="71765"/>
                    </a:lnTo>
                    <a:cubicBezTo>
                      <a:pt x="175258" y="74067"/>
                      <a:pt x="169400" y="68940"/>
                      <a:pt x="183356" y="78909"/>
                    </a:cubicBezTo>
                    <a:cubicBezTo>
                      <a:pt x="186586" y="81216"/>
                      <a:pt x="189630" y="83777"/>
                      <a:pt x="192881" y="86053"/>
                    </a:cubicBezTo>
                    <a:cubicBezTo>
                      <a:pt x="197570" y="89335"/>
                      <a:pt x="207169" y="95578"/>
                      <a:pt x="207169" y="95578"/>
                    </a:cubicBezTo>
                    <a:cubicBezTo>
                      <a:pt x="211931" y="94784"/>
                      <a:pt x="217264" y="95592"/>
                      <a:pt x="221456" y="93197"/>
                    </a:cubicBezTo>
                    <a:cubicBezTo>
                      <a:pt x="223635" y="91952"/>
                      <a:pt x="222715" y="88298"/>
                      <a:pt x="223838" y="86053"/>
                    </a:cubicBezTo>
                    <a:cubicBezTo>
                      <a:pt x="225118" y="83493"/>
                      <a:pt x="226173" y="80426"/>
                      <a:pt x="228600" y="78909"/>
                    </a:cubicBezTo>
                    <a:cubicBezTo>
                      <a:pt x="232857" y="76248"/>
                      <a:pt x="238125" y="75735"/>
                      <a:pt x="242888" y="74147"/>
                    </a:cubicBezTo>
                    <a:cubicBezTo>
                      <a:pt x="245269" y="73353"/>
                      <a:pt x="247943" y="73157"/>
                      <a:pt x="250031" y="71765"/>
                    </a:cubicBezTo>
                    <a:lnTo>
                      <a:pt x="264319" y="62240"/>
                    </a:lnTo>
                    <a:cubicBezTo>
                      <a:pt x="269885" y="53891"/>
                      <a:pt x="275575" y="48727"/>
                      <a:pt x="266700" y="36047"/>
                    </a:cubicBezTo>
                    <a:cubicBezTo>
                      <a:pt x="263821" y="31934"/>
                      <a:pt x="257175" y="32872"/>
                      <a:pt x="252413" y="31284"/>
                    </a:cubicBezTo>
                    <a:lnTo>
                      <a:pt x="245269" y="28903"/>
                    </a:lnTo>
                    <a:cubicBezTo>
                      <a:pt x="228600" y="29697"/>
                      <a:pt x="211897" y="29953"/>
                      <a:pt x="195263" y="31284"/>
                    </a:cubicBezTo>
                    <a:cubicBezTo>
                      <a:pt x="191325" y="31599"/>
                      <a:pt x="182690" y="34681"/>
                      <a:pt x="178594" y="36047"/>
                    </a:cubicBezTo>
                    <a:cubicBezTo>
                      <a:pt x="173038" y="34459"/>
                      <a:pt x="167094" y="33868"/>
                      <a:pt x="161925" y="31284"/>
                    </a:cubicBezTo>
                    <a:cubicBezTo>
                      <a:pt x="158913" y="29778"/>
                      <a:pt x="157583" y="26008"/>
                      <a:pt x="154781" y="24140"/>
                    </a:cubicBezTo>
                    <a:cubicBezTo>
                      <a:pt x="152693" y="22748"/>
                      <a:pt x="150019" y="22553"/>
                      <a:pt x="147638" y="21759"/>
                    </a:cubicBezTo>
                    <a:cubicBezTo>
                      <a:pt x="146844" y="19378"/>
                      <a:pt x="146824" y="16575"/>
                      <a:pt x="145256" y="14615"/>
                    </a:cubicBezTo>
                    <a:cubicBezTo>
                      <a:pt x="143468" y="12380"/>
                      <a:pt x="140402" y="11570"/>
                      <a:pt x="138113" y="9853"/>
                    </a:cubicBezTo>
                    <a:cubicBezTo>
                      <a:pt x="137215" y="9179"/>
                      <a:pt x="140493" y="1519"/>
                      <a:pt x="126206" y="32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5" name="Freeform 294"/>
              <p:cNvSpPr/>
              <p:nvPr/>
            </p:nvSpPr>
            <p:spPr>
              <a:xfrm>
                <a:off x="7901388" y="3575658"/>
                <a:ext cx="188118" cy="66675"/>
              </a:xfrm>
              <a:custGeom>
                <a:avLst/>
                <a:gdLst>
                  <a:gd name="connsiteX0" fmla="*/ 104775 w 188118"/>
                  <a:gd name="connsiteY0" fmla="*/ 19050 h 66675"/>
                  <a:gd name="connsiteX1" fmla="*/ 80962 w 188118"/>
                  <a:gd name="connsiteY1" fmla="*/ 16669 h 66675"/>
                  <a:gd name="connsiteX2" fmla="*/ 50006 w 188118"/>
                  <a:gd name="connsiteY2" fmla="*/ 11906 h 66675"/>
                  <a:gd name="connsiteX3" fmla="*/ 23812 w 188118"/>
                  <a:gd name="connsiteY3" fmla="*/ 2381 h 66675"/>
                  <a:gd name="connsiteX4" fmla="*/ 16668 w 188118"/>
                  <a:gd name="connsiteY4" fmla="*/ 0 h 66675"/>
                  <a:gd name="connsiteX5" fmla="*/ 2381 w 188118"/>
                  <a:gd name="connsiteY5" fmla="*/ 9525 h 66675"/>
                  <a:gd name="connsiteX6" fmla="*/ 0 w 188118"/>
                  <a:gd name="connsiteY6" fmla="*/ 16669 h 66675"/>
                  <a:gd name="connsiteX7" fmla="*/ 4762 w 188118"/>
                  <a:gd name="connsiteY7" fmla="*/ 52387 h 66675"/>
                  <a:gd name="connsiteX8" fmla="*/ 9525 w 188118"/>
                  <a:gd name="connsiteY8" fmla="*/ 59531 h 66675"/>
                  <a:gd name="connsiteX9" fmla="*/ 23812 w 188118"/>
                  <a:gd name="connsiteY9" fmla="*/ 64294 h 66675"/>
                  <a:gd name="connsiteX10" fmla="*/ 104775 w 188118"/>
                  <a:gd name="connsiteY10" fmla="*/ 66675 h 66675"/>
                  <a:gd name="connsiteX11" fmla="*/ 157162 w 188118"/>
                  <a:gd name="connsiteY11" fmla="*/ 64294 h 66675"/>
                  <a:gd name="connsiteX12" fmla="*/ 173831 w 188118"/>
                  <a:gd name="connsiteY12" fmla="*/ 59531 h 66675"/>
                  <a:gd name="connsiteX13" fmla="*/ 185737 w 188118"/>
                  <a:gd name="connsiteY13" fmla="*/ 42862 h 66675"/>
                  <a:gd name="connsiteX14" fmla="*/ 188118 w 188118"/>
                  <a:gd name="connsiteY14" fmla="*/ 35719 h 66675"/>
                  <a:gd name="connsiteX15" fmla="*/ 104775 w 188118"/>
                  <a:gd name="connsiteY15" fmla="*/ 19050 h 66675"/>
                  <a:gd name="connsiteX16" fmla="*/ 104775 w 188118"/>
                  <a:gd name="connsiteY16"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8118" h="66675">
                    <a:moveTo>
                      <a:pt x="104775" y="19050"/>
                    </a:moveTo>
                    <a:lnTo>
                      <a:pt x="80962" y="16669"/>
                    </a:lnTo>
                    <a:cubicBezTo>
                      <a:pt x="70563" y="15446"/>
                      <a:pt x="60325" y="13626"/>
                      <a:pt x="50006" y="11906"/>
                    </a:cubicBezTo>
                    <a:cubicBezTo>
                      <a:pt x="33444" y="5282"/>
                      <a:pt x="42149" y="8493"/>
                      <a:pt x="23812" y="2381"/>
                    </a:cubicBezTo>
                    <a:lnTo>
                      <a:pt x="16668" y="0"/>
                    </a:lnTo>
                    <a:cubicBezTo>
                      <a:pt x="9179" y="2496"/>
                      <a:pt x="7477" y="1880"/>
                      <a:pt x="2381" y="9525"/>
                    </a:cubicBezTo>
                    <a:cubicBezTo>
                      <a:pt x="989" y="11614"/>
                      <a:pt x="794" y="14288"/>
                      <a:pt x="0" y="16669"/>
                    </a:cubicBezTo>
                    <a:cubicBezTo>
                      <a:pt x="355" y="20574"/>
                      <a:pt x="1122" y="43893"/>
                      <a:pt x="4762" y="52387"/>
                    </a:cubicBezTo>
                    <a:cubicBezTo>
                      <a:pt x="5889" y="55018"/>
                      <a:pt x="7098" y="58014"/>
                      <a:pt x="9525" y="59531"/>
                    </a:cubicBezTo>
                    <a:cubicBezTo>
                      <a:pt x="13782" y="62192"/>
                      <a:pt x="18806" y="63919"/>
                      <a:pt x="23812" y="64294"/>
                    </a:cubicBezTo>
                    <a:cubicBezTo>
                      <a:pt x="50736" y="66313"/>
                      <a:pt x="77787" y="65881"/>
                      <a:pt x="104775" y="66675"/>
                    </a:cubicBezTo>
                    <a:cubicBezTo>
                      <a:pt x="122237" y="65881"/>
                      <a:pt x="139733" y="65635"/>
                      <a:pt x="157162" y="64294"/>
                    </a:cubicBezTo>
                    <a:cubicBezTo>
                      <a:pt x="161044" y="63995"/>
                      <a:pt x="169778" y="60882"/>
                      <a:pt x="173831" y="59531"/>
                    </a:cubicBezTo>
                    <a:cubicBezTo>
                      <a:pt x="175453" y="57369"/>
                      <a:pt x="183994" y="46348"/>
                      <a:pt x="185737" y="42862"/>
                    </a:cubicBezTo>
                    <a:cubicBezTo>
                      <a:pt x="186859" y="40617"/>
                      <a:pt x="187324" y="38100"/>
                      <a:pt x="188118" y="35719"/>
                    </a:cubicBezTo>
                    <a:cubicBezTo>
                      <a:pt x="180394" y="-2906"/>
                      <a:pt x="190057" y="25445"/>
                      <a:pt x="104775" y="19050"/>
                    </a:cubicBezTo>
                    <a:lnTo>
                      <a:pt x="104775" y="1905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6" name="Freeform 295"/>
              <p:cNvSpPr/>
              <p:nvPr/>
            </p:nvSpPr>
            <p:spPr>
              <a:xfrm>
                <a:off x="6372625" y="3607102"/>
                <a:ext cx="621513" cy="971062"/>
              </a:xfrm>
              <a:custGeom>
                <a:avLst/>
                <a:gdLst>
                  <a:gd name="connsiteX0" fmla="*/ 133350 w 621513"/>
                  <a:gd name="connsiteY0" fmla="*/ 11418 h 971062"/>
                  <a:gd name="connsiteX1" fmla="*/ 135731 w 621513"/>
                  <a:gd name="connsiteY1" fmla="*/ 106668 h 971062"/>
                  <a:gd name="connsiteX2" fmla="*/ 140494 w 621513"/>
                  <a:gd name="connsiteY2" fmla="*/ 116193 h 971062"/>
                  <a:gd name="connsiteX3" fmla="*/ 150019 w 621513"/>
                  <a:gd name="connsiteY3" fmla="*/ 137625 h 971062"/>
                  <a:gd name="connsiteX4" fmla="*/ 145256 w 621513"/>
                  <a:gd name="connsiteY4" fmla="*/ 187631 h 971062"/>
                  <a:gd name="connsiteX5" fmla="*/ 142875 w 621513"/>
                  <a:gd name="connsiteY5" fmla="*/ 194775 h 971062"/>
                  <a:gd name="connsiteX6" fmla="*/ 140494 w 621513"/>
                  <a:gd name="connsiteY6" fmla="*/ 206681 h 971062"/>
                  <a:gd name="connsiteX7" fmla="*/ 135731 w 621513"/>
                  <a:gd name="connsiteY7" fmla="*/ 228112 h 971062"/>
                  <a:gd name="connsiteX8" fmla="*/ 97631 w 621513"/>
                  <a:gd name="connsiteY8" fmla="*/ 235256 h 971062"/>
                  <a:gd name="connsiteX9" fmla="*/ 88106 w 621513"/>
                  <a:gd name="connsiteY9" fmla="*/ 237637 h 971062"/>
                  <a:gd name="connsiteX10" fmla="*/ 71438 w 621513"/>
                  <a:gd name="connsiteY10" fmla="*/ 259068 h 971062"/>
                  <a:gd name="connsiteX11" fmla="*/ 54769 w 621513"/>
                  <a:gd name="connsiteY11" fmla="*/ 273356 h 971062"/>
                  <a:gd name="connsiteX12" fmla="*/ 47625 w 621513"/>
                  <a:gd name="connsiteY12" fmla="*/ 330506 h 971062"/>
                  <a:gd name="connsiteX13" fmla="*/ 42863 w 621513"/>
                  <a:gd name="connsiteY13" fmla="*/ 344793 h 971062"/>
                  <a:gd name="connsiteX14" fmla="*/ 40481 w 621513"/>
                  <a:gd name="connsiteY14" fmla="*/ 354318 h 971062"/>
                  <a:gd name="connsiteX15" fmla="*/ 35719 w 621513"/>
                  <a:gd name="connsiteY15" fmla="*/ 382893 h 971062"/>
                  <a:gd name="connsiteX16" fmla="*/ 28575 w 621513"/>
                  <a:gd name="connsiteY16" fmla="*/ 390037 h 971062"/>
                  <a:gd name="connsiteX17" fmla="*/ 14288 w 621513"/>
                  <a:gd name="connsiteY17" fmla="*/ 399562 h 971062"/>
                  <a:gd name="connsiteX18" fmla="*/ 9525 w 621513"/>
                  <a:gd name="connsiteY18" fmla="*/ 406706 h 971062"/>
                  <a:gd name="connsiteX19" fmla="*/ 4763 w 621513"/>
                  <a:gd name="connsiteY19" fmla="*/ 420993 h 971062"/>
                  <a:gd name="connsiteX20" fmla="*/ 7144 w 621513"/>
                  <a:gd name="connsiteY20" fmla="*/ 428137 h 971062"/>
                  <a:gd name="connsiteX21" fmla="*/ 21431 w 621513"/>
                  <a:gd name="connsiteY21" fmla="*/ 435281 h 971062"/>
                  <a:gd name="connsiteX22" fmla="*/ 26194 w 621513"/>
                  <a:gd name="connsiteY22" fmla="*/ 442425 h 971062"/>
                  <a:gd name="connsiteX23" fmla="*/ 21431 w 621513"/>
                  <a:gd name="connsiteY23" fmla="*/ 471000 h 971062"/>
                  <a:gd name="connsiteX24" fmla="*/ 23813 w 621513"/>
                  <a:gd name="connsiteY24" fmla="*/ 497193 h 971062"/>
                  <a:gd name="connsiteX25" fmla="*/ 30956 w 621513"/>
                  <a:gd name="connsiteY25" fmla="*/ 501956 h 971062"/>
                  <a:gd name="connsiteX26" fmla="*/ 35719 w 621513"/>
                  <a:gd name="connsiteY26" fmla="*/ 509100 h 971062"/>
                  <a:gd name="connsiteX27" fmla="*/ 42863 w 621513"/>
                  <a:gd name="connsiteY27" fmla="*/ 516243 h 971062"/>
                  <a:gd name="connsiteX28" fmla="*/ 52388 w 621513"/>
                  <a:gd name="connsiteY28" fmla="*/ 537675 h 971062"/>
                  <a:gd name="connsiteX29" fmla="*/ 57150 w 621513"/>
                  <a:gd name="connsiteY29" fmla="*/ 544818 h 971062"/>
                  <a:gd name="connsiteX30" fmla="*/ 61913 w 621513"/>
                  <a:gd name="connsiteY30" fmla="*/ 561487 h 971062"/>
                  <a:gd name="connsiteX31" fmla="*/ 66675 w 621513"/>
                  <a:gd name="connsiteY31" fmla="*/ 575775 h 971062"/>
                  <a:gd name="connsiteX32" fmla="*/ 69056 w 621513"/>
                  <a:gd name="connsiteY32" fmla="*/ 582918 h 971062"/>
                  <a:gd name="connsiteX33" fmla="*/ 66675 w 621513"/>
                  <a:gd name="connsiteY33" fmla="*/ 601968 h 971062"/>
                  <a:gd name="connsiteX34" fmla="*/ 64294 w 621513"/>
                  <a:gd name="connsiteY34" fmla="*/ 623400 h 971062"/>
                  <a:gd name="connsiteX35" fmla="*/ 61913 w 621513"/>
                  <a:gd name="connsiteY35" fmla="*/ 632925 h 971062"/>
                  <a:gd name="connsiteX36" fmla="*/ 59531 w 621513"/>
                  <a:gd name="connsiteY36" fmla="*/ 673406 h 971062"/>
                  <a:gd name="connsiteX37" fmla="*/ 54769 w 621513"/>
                  <a:gd name="connsiteY37" fmla="*/ 687693 h 971062"/>
                  <a:gd name="connsiteX38" fmla="*/ 50006 w 621513"/>
                  <a:gd name="connsiteY38" fmla="*/ 704362 h 971062"/>
                  <a:gd name="connsiteX39" fmla="*/ 45244 w 621513"/>
                  <a:gd name="connsiteY39" fmla="*/ 721031 h 971062"/>
                  <a:gd name="connsiteX40" fmla="*/ 42863 w 621513"/>
                  <a:gd name="connsiteY40" fmla="*/ 744843 h 971062"/>
                  <a:gd name="connsiteX41" fmla="*/ 35719 w 621513"/>
                  <a:gd name="connsiteY41" fmla="*/ 771037 h 971062"/>
                  <a:gd name="connsiteX42" fmla="*/ 30956 w 621513"/>
                  <a:gd name="connsiteY42" fmla="*/ 780562 h 971062"/>
                  <a:gd name="connsiteX43" fmla="*/ 28575 w 621513"/>
                  <a:gd name="connsiteY43" fmla="*/ 787706 h 971062"/>
                  <a:gd name="connsiteX44" fmla="*/ 23813 w 621513"/>
                  <a:gd name="connsiteY44" fmla="*/ 794850 h 971062"/>
                  <a:gd name="connsiteX45" fmla="*/ 19050 w 621513"/>
                  <a:gd name="connsiteY45" fmla="*/ 811518 h 971062"/>
                  <a:gd name="connsiteX46" fmla="*/ 14288 w 621513"/>
                  <a:gd name="connsiteY46" fmla="*/ 818662 h 971062"/>
                  <a:gd name="connsiteX47" fmla="*/ 9525 w 621513"/>
                  <a:gd name="connsiteY47" fmla="*/ 837712 h 971062"/>
                  <a:gd name="connsiteX48" fmla="*/ 7144 w 621513"/>
                  <a:gd name="connsiteY48" fmla="*/ 844856 h 971062"/>
                  <a:gd name="connsiteX49" fmla="*/ 4763 w 621513"/>
                  <a:gd name="connsiteY49" fmla="*/ 856762 h 971062"/>
                  <a:gd name="connsiteX50" fmla="*/ 2381 w 621513"/>
                  <a:gd name="connsiteY50" fmla="*/ 863906 h 971062"/>
                  <a:gd name="connsiteX51" fmla="*/ 0 w 621513"/>
                  <a:gd name="connsiteY51" fmla="*/ 873431 h 971062"/>
                  <a:gd name="connsiteX52" fmla="*/ 2381 w 621513"/>
                  <a:gd name="connsiteY52" fmla="*/ 899625 h 971062"/>
                  <a:gd name="connsiteX53" fmla="*/ 4763 w 621513"/>
                  <a:gd name="connsiteY53" fmla="*/ 906768 h 971062"/>
                  <a:gd name="connsiteX54" fmla="*/ 33338 w 621513"/>
                  <a:gd name="connsiteY54" fmla="*/ 930581 h 971062"/>
                  <a:gd name="connsiteX55" fmla="*/ 40481 w 621513"/>
                  <a:gd name="connsiteY55" fmla="*/ 932962 h 971062"/>
                  <a:gd name="connsiteX56" fmla="*/ 54769 w 621513"/>
                  <a:gd name="connsiteY56" fmla="*/ 947250 h 971062"/>
                  <a:gd name="connsiteX57" fmla="*/ 76200 w 621513"/>
                  <a:gd name="connsiteY57" fmla="*/ 963918 h 971062"/>
                  <a:gd name="connsiteX58" fmla="*/ 100013 w 621513"/>
                  <a:gd name="connsiteY58" fmla="*/ 968681 h 971062"/>
                  <a:gd name="connsiteX59" fmla="*/ 111919 w 621513"/>
                  <a:gd name="connsiteY59" fmla="*/ 971062 h 971062"/>
                  <a:gd name="connsiteX60" fmla="*/ 147638 w 621513"/>
                  <a:gd name="connsiteY60" fmla="*/ 968681 h 971062"/>
                  <a:gd name="connsiteX61" fmla="*/ 157163 w 621513"/>
                  <a:gd name="connsiteY61" fmla="*/ 954393 h 971062"/>
                  <a:gd name="connsiteX62" fmla="*/ 161925 w 621513"/>
                  <a:gd name="connsiteY62" fmla="*/ 947250 h 971062"/>
                  <a:gd name="connsiteX63" fmla="*/ 180975 w 621513"/>
                  <a:gd name="connsiteY63" fmla="*/ 940106 h 971062"/>
                  <a:gd name="connsiteX64" fmla="*/ 207169 w 621513"/>
                  <a:gd name="connsiteY64" fmla="*/ 937725 h 971062"/>
                  <a:gd name="connsiteX65" fmla="*/ 214313 w 621513"/>
                  <a:gd name="connsiteY65" fmla="*/ 930581 h 971062"/>
                  <a:gd name="connsiteX66" fmla="*/ 228600 w 621513"/>
                  <a:gd name="connsiteY66" fmla="*/ 925818 h 971062"/>
                  <a:gd name="connsiteX67" fmla="*/ 250031 w 621513"/>
                  <a:gd name="connsiteY67" fmla="*/ 928200 h 971062"/>
                  <a:gd name="connsiteX68" fmla="*/ 257175 w 621513"/>
                  <a:gd name="connsiteY68" fmla="*/ 930581 h 971062"/>
                  <a:gd name="connsiteX69" fmla="*/ 271463 w 621513"/>
                  <a:gd name="connsiteY69" fmla="*/ 944868 h 971062"/>
                  <a:gd name="connsiteX70" fmla="*/ 276225 w 621513"/>
                  <a:gd name="connsiteY70" fmla="*/ 937725 h 971062"/>
                  <a:gd name="connsiteX71" fmla="*/ 276225 w 621513"/>
                  <a:gd name="connsiteY71" fmla="*/ 882956 h 971062"/>
                  <a:gd name="connsiteX72" fmla="*/ 254794 w 621513"/>
                  <a:gd name="connsiteY72" fmla="*/ 861525 h 971062"/>
                  <a:gd name="connsiteX73" fmla="*/ 247650 w 621513"/>
                  <a:gd name="connsiteY73" fmla="*/ 854381 h 971062"/>
                  <a:gd name="connsiteX74" fmla="*/ 245269 w 621513"/>
                  <a:gd name="connsiteY74" fmla="*/ 840093 h 971062"/>
                  <a:gd name="connsiteX75" fmla="*/ 240506 w 621513"/>
                  <a:gd name="connsiteY75" fmla="*/ 821043 h 971062"/>
                  <a:gd name="connsiteX76" fmla="*/ 238125 w 621513"/>
                  <a:gd name="connsiteY76" fmla="*/ 809137 h 971062"/>
                  <a:gd name="connsiteX77" fmla="*/ 247650 w 621513"/>
                  <a:gd name="connsiteY77" fmla="*/ 768656 h 971062"/>
                  <a:gd name="connsiteX78" fmla="*/ 257175 w 621513"/>
                  <a:gd name="connsiteY78" fmla="*/ 754368 h 971062"/>
                  <a:gd name="connsiteX79" fmla="*/ 261938 w 621513"/>
                  <a:gd name="connsiteY79" fmla="*/ 747225 h 971062"/>
                  <a:gd name="connsiteX80" fmla="*/ 264319 w 621513"/>
                  <a:gd name="connsiteY80" fmla="*/ 730556 h 971062"/>
                  <a:gd name="connsiteX81" fmla="*/ 266700 w 621513"/>
                  <a:gd name="connsiteY81" fmla="*/ 723412 h 971062"/>
                  <a:gd name="connsiteX82" fmla="*/ 269081 w 621513"/>
                  <a:gd name="connsiteY82" fmla="*/ 704362 h 971062"/>
                  <a:gd name="connsiteX83" fmla="*/ 264319 w 621513"/>
                  <a:gd name="connsiteY83" fmla="*/ 651975 h 971062"/>
                  <a:gd name="connsiteX84" fmla="*/ 259556 w 621513"/>
                  <a:gd name="connsiteY84" fmla="*/ 637687 h 971062"/>
                  <a:gd name="connsiteX85" fmla="*/ 254794 w 621513"/>
                  <a:gd name="connsiteY85" fmla="*/ 618637 h 971062"/>
                  <a:gd name="connsiteX86" fmla="*/ 252413 w 621513"/>
                  <a:gd name="connsiteY86" fmla="*/ 611493 h 971062"/>
                  <a:gd name="connsiteX87" fmla="*/ 247650 w 621513"/>
                  <a:gd name="connsiteY87" fmla="*/ 592443 h 971062"/>
                  <a:gd name="connsiteX88" fmla="*/ 250031 w 621513"/>
                  <a:gd name="connsiteY88" fmla="*/ 501956 h 971062"/>
                  <a:gd name="connsiteX89" fmla="*/ 254794 w 621513"/>
                  <a:gd name="connsiteY89" fmla="*/ 494812 h 971062"/>
                  <a:gd name="connsiteX90" fmla="*/ 269081 w 621513"/>
                  <a:gd name="connsiteY90" fmla="*/ 487668 h 971062"/>
                  <a:gd name="connsiteX91" fmla="*/ 276225 w 621513"/>
                  <a:gd name="connsiteY91" fmla="*/ 480525 h 971062"/>
                  <a:gd name="connsiteX92" fmla="*/ 283369 w 621513"/>
                  <a:gd name="connsiteY92" fmla="*/ 454331 h 971062"/>
                  <a:gd name="connsiteX93" fmla="*/ 283369 w 621513"/>
                  <a:gd name="connsiteY93" fmla="*/ 397181 h 971062"/>
                  <a:gd name="connsiteX94" fmla="*/ 278606 w 621513"/>
                  <a:gd name="connsiteY94" fmla="*/ 390037 h 971062"/>
                  <a:gd name="connsiteX95" fmla="*/ 273844 w 621513"/>
                  <a:gd name="connsiteY95" fmla="*/ 373368 h 971062"/>
                  <a:gd name="connsiteX96" fmla="*/ 269081 w 621513"/>
                  <a:gd name="connsiteY96" fmla="*/ 347175 h 971062"/>
                  <a:gd name="connsiteX97" fmla="*/ 252413 w 621513"/>
                  <a:gd name="connsiteY97" fmla="*/ 325743 h 971062"/>
                  <a:gd name="connsiteX98" fmla="*/ 235744 w 621513"/>
                  <a:gd name="connsiteY98" fmla="*/ 306693 h 971062"/>
                  <a:gd name="connsiteX99" fmla="*/ 228600 w 621513"/>
                  <a:gd name="connsiteY99" fmla="*/ 292406 h 971062"/>
                  <a:gd name="connsiteX100" fmla="*/ 233363 w 621513"/>
                  <a:gd name="connsiteY100" fmla="*/ 285262 h 971062"/>
                  <a:gd name="connsiteX101" fmla="*/ 254794 w 621513"/>
                  <a:gd name="connsiteY101" fmla="*/ 273356 h 971062"/>
                  <a:gd name="connsiteX102" fmla="*/ 271463 w 621513"/>
                  <a:gd name="connsiteY102" fmla="*/ 266212 h 971062"/>
                  <a:gd name="connsiteX103" fmla="*/ 285750 w 621513"/>
                  <a:gd name="connsiteY103" fmla="*/ 256687 h 971062"/>
                  <a:gd name="connsiteX104" fmla="*/ 307181 w 621513"/>
                  <a:gd name="connsiteY104" fmla="*/ 240018 h 971062"/>
                  <a:gd name="connsiteX105" fmla="*/ 314325 w 621513"/>
                  <a:gd name="connsiteY105" fmla="*/ 235256 h 971062"/>
                  <a:gd name="connsiteX106" fmla="*/ 321469 w 621513"/>
                  <a:gd name="connsiteY106" fmla="*/ 230493 h 971062"/>
                  <a:gd name="connsiteX107" fmla="*/ 328613 w 621513"/>
                  <a:gd name="connsiteY107" fmla="*/ 228112 h 971062"/>
                  <a:gd name="connsiteX108" fmla="*/ 345281 w 621513"/>
                  <a:gd name="connsiteY108" fmla="*/ 220968 h 971062"/>
                  <a:gd name="connsiteX109" fmla="*/ 364331 w 621513"/>
                  <a:gd name="connsiteY109" fmla="*/ 209062 h 971062"/>
                  <a:gd name="connsiteX110" fmla="*/ 388144 w 621513"/>
                  <a:gd name="connsiteY110" fmla="*/ 204300 h 971062"/>
                  <a:gd name="connsiteX111" fmla="*/ 411956 w 621513"/>
                  <a:gd name="connsiteY111" fmla="*/ 206681 h 971062"/>
                  <a:gd name="connsiteX112" fmla="*/ 414338 w 621513"/>
                  <a:gd name="connsiteY112" fmla="*/ 213825 h 971062"/>
                  <a:gd name="connsiteX113" fmla="*/ 421481 w 621513"/>
                  <a:gd name="connsiteY113" fmla="*/ 220968 h 971062"/>
                  <a:gd name="connsiteX114" fmla="*/ 428625 w 621513"/>
                  <a:gd name="connsiteY114" fmla="*/ 237637 h 971062"/>
                  <a:gd name="connsiteX115" fmla="*/ 426244 w 621513"/>
                  <a:gd name="connsiteY115" fmla="*/ 244781 h 971062"/>
                  <a:gd name="connsiteX116" fmla="*/ 428625 w 621513"/>
                  <a:gd name="connsiteY116" fmla="*/ 251925 h 971062"/>
                  <a:gd name="connsiteX117" fmla="*/ 435769 w 621513"/>
                  <a:gd name="connsiteY117" fmla="*/ 254306 h 971062"/>
                  <a:gd name="connsiteX118" fmla="*/ 454819 w 621513"/>
                  <a:gd name="connsiteY118" fmla="*/ 256687 h 971062"/>
                  <a:gd name="connsiteX119" fmla="*/ 471488 w 621513"/>
                  <a:gd name="connsiteY119" fmla="*/ 263831 h 971062"/>
                  <a:gd name="connsiteX120" fmla="*/ 478631 w 621513"/>
                  <a:gd name="connsiteY120" fmla="*/ 268593 h 971062"/>
                  <a:gd name="connsiteX121" fmla="*/ 488156 w 621513"/>
                  <a:gd name="connsiteY121" fmla="*/ 270975 h 971062"/>
                  <a:gd name="connsiteX122" fmla="*/ 509588 w 621513"/>
                  <a:gd name="connsiteY122" fmla="*/ 275737 h 971062"/>
                  <a:gd name="connsiteX123" fmla="*/ 519113 w 621513"/>
                  <a:gd name="connsiteY123" fmla="*/ 280500 h 971062"/>
                  <a:gd name="connsiteX124" fmla="*/ 538163 w 621513"/>
                  <a:gd name="connsiteY124" fmla="*/ 285262 h 971062"/>
                  <a:gd name="connsiteX125" fmla="*/ 545306 w 621513"/>
                  <a:gd name="connsiteY125" fmla="*/ 287643 h 971062"/>
                  <a:gd name="connsiteX126" fmla="*/ 583406 w 621513"/>
                  <a:gd name="connsiteY126" fmla="*/ 280500 h 971062"/>
                  <a:gd name="connsiteX127" fmla="*/ 585788 w 621513"/>
                  <a:gd name="connsiteY127" fmla="*/ 273356 h 971062"/>
                  <a:gd name="connsiteX128" fmla="*/ 588169 w 621513"/>
                  <a:gd name="connsiteY128" fmla="*/ 259068 h 971062"/>
                  <a:gd name="connsiteX129" fmla="*/ 602456 w 621513"/>
                  <a:gd name="connsiteY129" fmla="*/ 242400 h 971062"/>
                  <a:gd name="connsiteX130" fmla="*/ 609600 w 621513"/>
                  <a:gd name="connsiteY130" fmla="*/ 240018 h 971062"/>
                  <a:gd name="connsiteX131" fmla="*/ 616744 w 621513"/>
                  <a:gd name="connsiteY131" fmla="*/ 235256 h 971062"/>
                  <a:gd name="connsiteX132" fmla="*/ 619125 w 621513"/>
                  <a:gd name="connsiteY132" fmla="*/ 223350 h 971062"/>
                  <a:gd name="connsiteX133" fmla="*/ 621506 w 621513"/>
                  <a:gd name="connsiteY133" fmla="*/ 213825 h 971062"/>
                  <a:gd name="connsiteX134" fmla="*/ 614363 w 621513"/>
                  <a:gd name="connsiteY134" fmla="*/ 185250 h 971062"/>
                  <a:gd name="connsiteX135" fmla="*/ 607219 w 621513"/>
                  <a:gd name="connsiteY135" fmla="*/ 180487 h 971062"/>
                  <a:gd name="connsiteX136" fmla="*/ 602456 w 621513"/>
                  <a:gd name="connsiteY136" fmla="*/ 173343 h 971062"/>
                  <a:gd name="connsiteX137" fmla="*/ 592931 w 621513"/>
                  <a:gd name="connsiteY137" fmla="*/ 166200 h 971062"/>
                  <a:gd name="connsiteX138" fmla="*/ 585788 w 621513"/>
                  <a:gd name="connsiteY138" fmla="*/ 163818 h 971062"/>
                  <a:gd name="connsiteX139" fmla="*/ 573881 w 621513"/>
                  <a:gd name="connsiteY139" fmla="*/ 159056 h 971062"/>
                  <a:gd name="connsiteX140" fmla="*/ 566738 w 621513"/>
                  <a:gd name="connsiteY140" fmla="*/ 154293 h 971062"/>
                  <a:gd name="connsiteX141" fmla="*/ 547688 w 621513"/>
                  <a:gd name="connsiteY141" fmla="*/ 149531 h 971062"/>
                  <a:gd name="connsiteX142" fmla="*/ 538163 w 621513"/>
                  <a:gd name="connsiteY142" fmla="*/ 144768 h 971062"/>
                  <a:gd name="connsiteX143" fmla="*/ 514350 w 621513"/>
                  <a:gd name="connsiteY143" fmla="*/ 137625 h 971062"/>
                  <a:gd name="connsiteX144" fmla="*/ 507206 w 621513"/>
                  <a:gd name="connsiteY144" fmla="*/ 135243 h 971062"/>
                  <a:gd name="connsiteX145" fmla="*/ 457200 w 621513"/>
                  <a:gd name="connsiteY145" fmla="*/ 132862 h 971062"/>
                  <a:gd name="connsiteX146" fmla="*/ 426244 w 621513"/>
                  <a:gd name="connsiteY146" fmla="*/ 128100 h 971062"/>
                  <a:gd name="connsiteX147" fmla="*/ 419100 w 621513"/>
                  <a:gd name="connsiteY147" fmla="*/ 123337 h 971062"/>
                  <a:gd name="connsiteX148" fmla="*/ 409575 w 621513"/>
                  <a:gd name="connsiteY148" fmla="*/ 118575 h 971062"/>
                  <a:gd name="connsiteX149" fmla="*/ 383381 w 621513"/>
                  <a:gd name="connsiteY149" fmla="*/ 111431 h 971062"/>
                  <a:gd name="connsiteX150" fmla="*/ 373856 w 621513"/>
                  <a:gd name="connsiteY150" fmla="*/ 104287 h 971062"/>
                  <a:gd name="connsiteX151" fmla="*/ 366713 w 621513"/>
                  <a:gd name="connsiteY151" fmla="*/ 101906 h 971062"/>
                  <a:gd name="connsiteX152" fmla="*/ 359569 w 621513"/>
                  <a:gd name="connsiteY152" fmla="*/ 97143 h 971062"/>
                  <a:gd name="connsiteX153" fmla="*/ 354806 w 621513"/>
                  <a:gd name="connsiteY153" fmla="*/ 90000 h 971062"/>
                  <a:gd name="connsiteX154" fmla="*/ 326231 w 621513"/>
                  <a:gd name="connsiteY154" fmla="*/ 66187 h 971062"/>
                  <a:gd name="connsiteX155" fmla="*/ 319088 w 621513"/>
                  <a:gd name="connsiteY155" fmla="*/ 51900 h 971062"/>
                  <a:gd name="connsiteX156" fmla="*/ 314325 w 621513"/>
                  <a:gd name="connsiteY156" fmla="*/ 35231 h 971062"/>
                  <a:gd name="connsiteX157" fmla="*/ 307181 w 621513"/>
                  <a:gd name="connsiteY157" fmla="*/ 30468 h 971062"/>
                  <a:gd name="connsiteX158" fmla="*/ 297656 w 621513"/>
                  <a:gd name="connsiteY158" fmla="*/ 23325 h 971062"/>
                  <a:gd name="connsiteX159" fmla="*/ 290513 w 621513"/>
                  <a:gd name="connsiteY159" fmla="*/ 16181 h 971062"/>
                  <a:gd name="connsiteX160" fmla="*/ 280988 w 621513"/>
                  <a:gd name="connsiteY160" fmla="*/ 13800 h 971062"/>
                  <a:gd name="connsiteX161" fmla="*/ 238125 w 621513"/>
                  <a:gd name="connsiteY161" fmla="*/ 6656 h 971062"/>
                  <a:gd name="connsiteX162" fmla="*/ 154781 w 621513"/>
                  <a:gd name="connsiteY162" fmla="*/ 1893 h 971062"/>
                  <a:gd name="connsiteX163" fmla="*/ 133350 w 621513"/>
                  <a:gd name="connsiteY163" fmla="*/ 11418 h 97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621513" h="971062">
                    <a:moveTo>
                      <a:pt x="133350" y="11418"/>
                    </a:moveTo>
                    <a:cubicBezTo>
                      <a:pt x="130175" y="28881"/>
                      <a:pt x="133570" y="74982"/>
                      <a:pt x="135731" y="106668"/>
                    </a:cubicBezTo>
                    <a:cubicBezTo>
                      <a:pt x="135972" y="110210"/>
                      <a:pt x="139176" y="112897"/>
                      <a:pt x="140494" y="116193"/>
                    </a:cubicBezTo>
                    <a:cubicBezTo>
                      <a:pt x="148996" y="137449"/>
                      <a:pt x="140855" y="123880"/>
                      <a:pt x="150019" y="137625"/>
                    </a:cubicBezTo>
                    <a:cubicBezTo>
                      <a:pt x="148982" y="152142"/>
                      <a:pt x="148335" y="172236"/>
                      <a:pt x="145256" y="187631"/>
                    </a:cubicBezTo>
                    <a:cubicBezTo>
                      <a:pt x="144764" y="190092"/>
                      <a:pt x="143484" y="192340"/>
                      <a:pt x="142875" y="194775"/>
                    </a:cubicBezTo>
                    <a:cubicBezTo>
                      <a:pt x="141893" y="198701"/>
                      <a:pt x="141218" y="202699"/>
                      <a:pt x="140494" y="206681"/>
                    </a:cubicBezTo>
                    <a:cubicBezTo>
                      <a:pt x="140466" y="206836"/>
                      <a:pt x="138202" y="225023"/>
                      <a:pt x="135731" y="228112"/>
                    </a:cubicBezTo>
                    <a:cubicBezTo>
                      <a:pt x="127810" y="238014"/>
                      <a:pt x="103116" y="234834"/>
                      <a:pt x="97631" y="235256"/>
                    </a:cubicBezTo>
                    <a:cubicBezTo>
                      <a:pt x="94456" y="236050"/>
                      <a:pt x="90947" y="236013"/>
                      <a:pt x="88106" y="237637"/>
                    </a:cubicBezTo>
                    <a:cubicBezTo>
                      <a:pt x="80290" y="242104"/>
                      <a:pt x="77097" y="253409"/>
                      <a:pt x="71438" y="259068"/>
                    </a:cubicBezTo>
                    <a:cubicBezTo>
                      <a:pt x="59889" y="270617"/>
                      <a:pt x="65649" y="266102"/>
                      <a:pt x="54769" y="273356"/>
                    </a:cubicBezTo>
                    <a:cubicBezTo>
                      <a:pt x="43615" y="306814"/>
                      <a:pt x="55603" y="266678"/>
                      <a:pt x="47625" y="330506"/>
                    </a:cubicBezTo>
                    <a:cubicBezTo>
                      <a:pt x="47002" y="335487"/>
                      <a:pt x="44081" y="339923"/>
                      <a:pt x="42863" y="344793"/>
                    </a:cubicBezTo>
                    <a:cubicBezTo>
                      <a:pt x="42069" y="347968"/>
                      <a:pt x="41084" y="351101"/>
                      <a:pt x="40481" y="354318"/>
                    </a:cubicBezTo>
                    <a:cubicBezTo>
                      <a:pt x="38701" y="363809"/>
                      <a:pt x="42547" y="376065"/>
                      <a:pt x="35719" y="382893"/>
                    </a:cubicBezTo>
                    <a:cubicBezTo>
                      <a:pt x="33338" y="385274"/>
                      <a:pt x="31233" y="387969"/>
                      <a:pt x="28575" y="390037"/>
                    </a:cubicBezTo>
                    <a:cubicBezTo>
                      <a:pt x="24057" y="393551"/>
                      <a:pt x="14288" y="399562"/>
                      <a:pt x="14288" y="399562"/>
                    </a:cubicBezTo>
                    <a:cubicBezTo>
                      <a:pt x="12700" y="401943"/>
                      <a:pt x="10687" y="404091"/>
                      <a:pt x="9525" y="406706"/>
                    </a:cubicBezTo>
                    <a:cubicBezTo>
                      <a:pt x="7486" y="411293"/>
                      <a:pt x="4763" y="420993"/>
                      <a:pt x="4763" y="420993"/>
                    </a:cubicBezTo>
                    <a:cubicBezTo>
                      <a:pt x="5557" y="423374"/>
                      <a:pt x="5576" y="426177"/>
                      <a:pt x="7144" y="428137"/>
                    </a:cubicBezTo>
                    <a:cubicBezTo>
                      <a:pt x="10501" y="432334"/>
                      <a:pt x="16725" y="433712"/>
                      <a:pt x="21431" y="435281"/>
                    </a:cubicBezTo>
                    <a:cubicBezTo>
                      <a:pt x="23019" y="437662"/>
                      <a:pt x="25956" y="439573"/>
                      <a:pt x="26194" y="442425"/>
                    </a:cubicBezTo>
                    <a:cubicBezTo>
                      <a:pt x="27258" y="455188"/>
                      <a:pt x="24787" y="460936"/>
                      <a:pt x="21431" y="471000"/>
                    </a:cubicBezTo>
                    <a:cubicBezTo>
                      <a:pt x="22225" y="479731"/>
                      <a:pt x="21235" y="488814"/>
                      <a:pt x="23813" y="497193"/>
                    </a:cubicBezTo>
                    <a:cubicBezTo>
                      <a:pt x="24655" y="499928"/>
                      <a:pt x="28932" y="499932"/>
                      <a:pt x="30956" y="501956"/>
                    </a:cubicBezTo>
                    <a:cubicBezTo>
                      <a:pt x="32980" y="503980"/>
                      <a:pt x="33887" y="506901"/>
                      <a:pt x="35719" y="509100"/>
                    </a:cubicBezTo>
                    <a:cubicBezTo>
                      <a:pt x="37875" y="511687"/>
                      <a:pt x="40707" y="513656"/>
                      <a:pt x="42863" y="516243"/>
                    </a:cubicBezTo>
                    <a:cubicBezTo>
                      <a:pt x="59010" y="535619"/>
                      <a:pt x="31633" y="506542"/>
                      <a:pt x="52388" y="537675"/>
                    </a:cubicBezTo>
                    <a:lnTo>
                      <a:pt x="57150" y="544818"/>
                    </a:lnTo>
                    <a:cubicBezTo>
                      <a:pt x="65152" y="568827"/>
                      <a:pt x="52943" y="531586"/>
                      <a:pt x="61913" y="561487"/>
                    </a:cubicBezTo>
                    <a:cubicBezTo>
                      <a:pt x="63356" y="566295"/>
                      <a:pt x="65088" y="571012"/>
                      <a:pt x="66675" y="575775"/>
                    </a:cubicBezTo>
                    <a:lnTo>
                      <a:pt x="69056" y="582918"/>
                    </a:lnTo>
                    <a:cubicBezTo>
                      <a:pt x="68262" y="589268"/>
                      <a:pt x="67423" y="595612"/>
                      <a:pt x="66675" y="601968"/>
                    </a:cubicBezTo>
                    <a:cubicBezTo>
                      <a:pt x="65835" y="609107"/>
                      <a:pt x="65387" y="616296"/>
                      <a:pt x="64294" y="623400"/>
                    </a:cubicBezTo>
                    <a:cubicBezTo>
                      <a:pt x="63796" y="626635"/>
                      <a:pt x="62707" y="629750"/>
                      <a:pt x="61913" y="632925"/>
                    </a:cubicBezTo>
                    <a:cubicBezTo>
                      <a:pt x="61119" y="646419"/>
                      <a:pt x="61279" y="660003"/>
                      <a:pt x="59531" y="673406"/>
                    </a:cubicBezTo>
                    <a:cubicBezTo>
                      <a:pt x="58882" y="678384"/>
                      <a:pt x="56356" y="682931"/>
                      <a:pt x="54769" y="687693"/>
                    </a:cubicBezTo>
                    <a:cubicBezTo>
                      <a:pt x="49062" y="704816"/>
                      <a:pt x="55985" y="683439"/>
                      <a:pt x="50006" y="704362"/>
                    </a:cubicBezTo>
                    <a:cubicBezTo>
                      <a:pt x="43184" y="728235"/>
                      <a:pt x="52674" y="691307"/>
                      <a:pt x="45244" y="721031"/>
                    </a:cubicBezTo>
                    <a:cubicBezTo>
                      <a:pt x="44450" y="728968"/>
                      <a:pt x="44174" y="736975"/>
                      <a:pt x="42863" y="744843"/>
                    </a:cubicBezTo>
                    <a:cubicBezTo>
                      <a:pt x="42533" y="746821"/>
                      <a:pt x="38236" y="765164"/>
                      <a:pt x="35719" y="771037"/>
                    </a:cubicBezTo>
                    <a:cubicBezTo>
                      <a:pt x="34321" y="774300"/>
                      <a:pt x="32354" y="777299"/>
                      <a:pt x="30956" y="780562"/>
                    </a:cubicBezTo>
                    <a:cubicBezTo>
                      <a:pt x="29967" y="782869"/>
                      <a:pt x="29697" y="785461"/>
                      <a:pt x="28575" y="787706"/>
                    </a:cubicBezTo>
                    <a:cubicBezTo>
                      <a:pt x="27295" y="790266"/>
                      <a:pt x="25093" y="792290"/>
                      <a:pt x="23813" y="794850"/>
                    </a:cubicBezTo>
                    <a:cubicBezTo>
                      <a:pt x="19172" y="804130"/>
                      <a:pt x="23635" y="800819"/>
                      <a:pt x="19050" y="811518"/>
                    </a:cubicBezTo>
                    <a:cubicBezTo>
                      <a:pt x="17923" y="814149"/>
                      <a:pt x="15568" y="816102"/>
                      <a:pt x="14288" y="818662"/>
                    </a:cubicBezTo>
                    <a:cubicBezTo>
                      <a:pt x="11564" y="824110"/>
                      <a:pt x="10885" y="832270"/>
                      <a:pt x="9525" y="837712"/>
                    </a:cubicBezTo>
                    <a:cubicBezTo>
                      <a:pt x="8916" y="840147"/>
                      <a:pt x="7753" y="842421"/>
                      <a:pt x="7144" y="844856"/>
                    </a:cubicBezTo>
                    <a:cubicBezTo>
                      <a:pt x="6162" y="848782"/>
                      <a:pt x="5745" y="852836"/>
                      <a:pt x="4763" y="856762"/>
                    </a:cubicBezTo>
                    <a:cubicBezTo>
                      <a:pt x="4154" y="859197"/>
                      <a:pt x="3071" y="861492"/>
                      <a:pt x="2381" y="863906"/>
                    </a:cubicBezTo>
                    <a:cubicBezTo>
                      <a:pt x="1482" y="867053"/>
                      <a:pt x="794" y="870256"/>
                      <a:pt x="0" y="873431"/>
                    </a:cubicBezTo>
                    <a:cubicBezTo>
                      <a:pt x="794" y="882162"/>
                      <a:pt x="1141" y="890946"/>
                      <a:pt x="2381" y="899625"/>
                    </a:cubicBezTo>
                    <a:cubicBezTo>
                      <a:pt x="2736" y="902110"/>
                      <a:pt x="3222" y="904787"/>
                      <a:pt x="4763" y="906768"/>
                    </a:cubicBezTo>
                    <a:cubicBezTo>
                      <a:pt x="9407" y="912739"/>
                      <a:pt x="25081" y="927829"/>
                      <a:pt x="33338" y="930581"/>
                    </a:cubicBezTo>
                    <a:lnTo>
                      <a:pt x="40481" y="932962"/>
                    </a:lnTo>
                    <a:lnTo>
                      <a:pt x="54769" y="947250"/>
                    </a:lnTo>
                    <a:cubicBezTo>
                      <a:pt x="60094" y="952575"/>
                      <a:pt x="69083" y="962494"/>
                      <a:pt x="76200" y="963918"/>
                    </a:cubicBezTo>
                    <a:lnTo>
                      <a:pt x="100013" y="968681"/>
                    </a:lnTo>
                    <a:lnTo>
                      <a:pt x="111919" y="971062"/>
                    </a:lnTo>
                    <a:cubicBezTo>
                      <a:pt x="123825" y="970268"/>
                      <a:pt x="135989" y="971270"/>
                      <a:pt x="147638" y="968681"/>
                    </a:cubicBezTo>
                    <a:cubicBezTo>
                      <a:pt x="155253" y="966989"/>
                      <a:pt x="154687" y="959344"/>
                      <a:pt x="157163" y="954393"/>
                    </a:cubicBezTo>
                    <a:cubicBezTo>
                      <a:pt x="158443" y="951834"/>
                      <a:pt x="159902" y="949273"/>
                      <a:pt x="161925" y="947250"/>
                    </a:cubicBezTo>
                    <a:cubicBezTo>
                      <a:pt x="167541" y="941634"/>
                      <a:pt x="173185" y="941080"/>
                      <a:pt x="180975" y="940106"/>
                    </a:cubicBezTo>
                    <a:cubicBezTo>
                      <a:pt x="189675" y="939019"/>
                      <a:pt x="198438" y="938519"/>
                      <a:pt x="207169" y="937725"/>
                    </a:cubicBezTo>
                    <a:cubicBezTo>
                      <a:pt x="209550" y="935344"/>
                      <a:pt x="211369" y="932217"/>
                      <a:pt x="214313" y="930581"/>
                    </a:cubicBezTo>
                    <a:cubicBezTo>
                      <a:pt x="218701" y="928143"/>
                      <a:pt x="228600" y="925818"/>
                      <a:pt x="228600" y="925818"/>
                    </a:cubicBezTo>
                    <a:cubicBezTo>
                      <a:pt x="235744" y="926612"/>
                      <a:pt x="242941" y="927018"/>
                      <a:pt x="250031" y="928200"/>
                    </a:cubicBezTo>
                    <a:cubicBezTo>
                      <a:pt x="252507" y="928613"/>
                      <a:pt x="255194" y="929040"/>
                      <a:pt x="257175" y="930581"/>
                    </a:cubicBezTo>
                    <a:cubicBezTo>
                      <a:pt x="262492" y="934716"/>
                      <a:pt x="271463" y="944868"/>
                      <a:pt x="271463" y="944868"/>
                    </a:cubicBezTo>
                    <a:cubicBezTo>
                      <a:pt x="273050" y="942487"/>
                      <a:pt x="275472" y="940486"/>
                      <a:pt x="276225" y="937725"/>
                    </a:cubicBezTo>
                    <a:cubicBezTo>
                      <a:pt x="279886" y="924299"/>
                      <a:pt x="279404" y="892494"/>
                      <a:pt x="276225" y="882956"/>
                    </a:cubicBezTo>
                    <a:cubicBezTo>
                      <a:pt x="276223" y="882950"/>
                      <a:pt x="258368" y="865099"/>
                      <a:pt x="254794" y="861525"/>
                    </a:cubicBezTo>
                    <a:lnTo>
                      <a:pt x="247650" y="854381"/>
                    </a:lnTo>
                    <a:cubicBezTo>
                      <a:pt x="246856" y="849618"/>
                      <a:pt x="246281" y="844814"/>
                      <a:pt x="245269" y="840093"/>
                    </a:cubicBezTo>
                    <a:cubicBezTo>
                      <a:pt x="243898" y="833693"/>
                      <a:pt x="241790" y="827461"/>
                      <a:pt x="240506" y="821043"/>
                    </a:cubicBezTo>
                    <a:lnTo>
                      <a:pt x="238125" y="809137"/>
                    </a:lnTo>
                    <a:cubicBezTo>
                      <a:pt x="241863" y="756806"/>
                      <a:pt x="232291" y="788404"/>
                      <a:pt x="247650" y="768656"/>
                    </a:cubicBezTo>
                    <a:cubicBezTo>
                      <a:pt x="251164" y="764138"/>
                      <a:pt x="254000" y="759131"/>
                      <a:pt x="257175" y="754368"/>
                    </a:cubicBezTo>
                    <a:lnTo>
                      <a:pt x="261938" y="747225"/>
                    </a:lnTo>
                    <a:cubicBezTo>
                      <a:pt x="262732" y="741669"/>
                      <a:pt x="263218" y="736060"/>
                      <a:pt x="264319" y="730556"/>
                    </a:cubicBezTo>
                    <a:cubicBezTo>
                      <a:pt x="264811" y="728095"/>
                      <a:pt x="266251" y="725882"/>
                      <a:pt x="266700" y="723412"/>
                    </a:cubicBezTo>
                    <a:cubicBezTo>
                      <a:pt x="267845" y="717116"/>
                      <a:pt x="268287" y="710712"/>
                      <a:pt x="269081" y="704362"/>
                    </a:cubicBezTo>
                    <a:cubicBezTo>
                      <a:pt x="268364" y="692887"/>
                      <a:pt x="268046" y="666883"/>
                      <a:pt x="264319" y="651975"/>
                    </a:cubicBezTo>
                    <a:cubicBezTo>
                      <a:pt x="263101" y="647105"/>
                      <a:pt x="260773" y="642557"/>
                      <a:pt x="259556" y="637687"/>
                    </a:cubicBezTo>
                    <a:cubicBezTo>
                      <a:pt x="257969" y="631337"/>
                      <a:pt x="256864" y="624847"/>
                      <a:pt x="254794" y="618637"/>
                    </a:cubicBezTo>
                    <a:cubicBezTo>
                      <a:pt x="254000" y="616256"/>
                      <a:pt x="253073" y="613915"/>
                      <a:pt x="252413" y="611493"/>
                    </a:cubicBezTo>
                    <a:cubicBezTo>
                      <a:pt x="250691" y="605178"/>
                      <a:pt x="247650" y="592443"/>
                      <a:pt x="247650" y="592443"/>
                    </a:cubicBezTo>
                    <a:cubicBezTo>
                      <a:pt x="248444" y="562281"/>
                      <a:pt x="247829" y="532048"/>
                      <a:pt x="250031" y="501956"/>
                    </a:cubicBezTo>
                    <a:cubicBezTo>
                      <a:pt x="250240" y="499102"/>
                      <a:pt x="252770" y="496836"/>
                      <a:pt x="254794" y="494812"/>
                    </a:cubicBezTo>
                    <a:cubicBezTo>
                      <a:pt x="259409" y="490198"/>
                      <a:pt x="263273" y="489605"/>
                      <a:pt x="269081" y="487668"/>
                    </a:cubicBezTo>
                    <a:cubicBezTo>
                      <a:pt x="271462" y="485287"/>
                      <a:pt x="274590" y="483469"/>
                      <a:pt x="276225" y="480525"/>
                    </a:cubicBezTo>
                    <a:cubicBezTo>
                      <a:pt x="280002" y="473726"/>
                      <a:pt x="281830" y="462027"/>
                      <a:pt x="283369" y="454331"/>
                    </a:cubicBezTo>
                    <a:cubicBezTo>
                      <a:pt x="285018" y="432890"/>
                      <a:pt x="287876" y="418215"/>
                      <a:pt x="283369" y="397181"/>
                    </a:cubicBezTo>
                    <a:cubicBezTo>
                      <a:pt x="282769" y="394382"/>
                      <a:pt x="280194" y="392418"/>
                      <a:pt x="278606" y="390037"/>
                    </a:cubicBezTo>
                    <a:cubicBezTo>
                      <a:pt x="276566" y="383916"/>
                      <a:pt x="275040" y="379946"/>
                      <a:pt x="273844" y="373368"/>
                    </a:cubicBezTo>
                    <a:cubicBezTo>
                      <a:pt x="273447" y="371186"/>
                      <a:pt x="271398" y="351808"/>
                      <a:pt x="269081" y="347175"/>
                    </a:cubicBezTo>
                    <a:cubicBezTo>
                      <a:pt x="258055" y="325125"/>
                      <a:pt x="263387" y="339853"/>
                      <a:pt x="252413" y="325743"/>
                    </a:cubicBezTo>
                    <a:cubicBezTo>
                      <a:pt x="237455" y="306511"/>
                      <a:pt x="249573" y="315913"/>
                      <a:pt x="235744" y="306693"/>
                    </a:cubicBezTo>
                    <a:cubicBezTo>
                      <a:pt x="234084" y="304204"/>
                      <a:pt x="227942" y="296351"/>
                      <a:pt x="228600" y="292406"/>
                    </a:cubicBezTo>
                    <a:cubicBezTo>
                      <a:pt x="229071" y="289583"/>
                      <a:pt x="231209" y="287147"/>
                      <a:pt x="233363" y="285262"/>
                    </a:cubicBezTo>
                    <a:cubicBezTo>
                      <a:pt x="248217" y="272264"/>
                      <a:pt x="242887" y="278459"/>
                      <a:pt x="254794" y="273356"/>
                    </a:cubicBezTo>
                    <a:cubicBezTo>
                      <a:pt x="275392" y="264528"/>
                      <a:pt x="254709" y="271796"/>
                      <a:pt x="271463" y="266212"/>
                    </a:cubicBezTo>
                    <a:cubicBezTo>
                      <a:pt x="276225" y="263037"/>
                      <a:pt x="281703" y="260734"/>
                      <a:pt x="285750" y="256687"/>
                    </a:cubicBezTo>
                    <a:cubicBezTo>
                      <a:pt x="296940" y="245497"/>
                      <a:pt x="290094" y="251409"/>
                      <a:pt x="307181" y="240018"/>
                    </a:cubicBezTo>
                    <a:lnTo>
                      <a:pt x="314325" y="235256"/>
                    </a:lnTo>
                    <a:cubicBezTo>
                      <a:pt x="316706" y="233668"/>
                      <a:pt x="318754" y="231398"/>
                      <a:pt x="321469" y="230493"/>
                    </a:cubicBezTo>
                    <a:lnTo>
                      <a:pt x="328613" y="228112"/>
                    </a:lnTo>
                    <a:cubicBezTo>
                      <a:pt x="343086" y="218463"/>
                      <a:pt x="327711" y="227557"/>
                      <a:pt x="345281" y="220968"/>
                    </a:cubicBezTo>
                    <a:cubicBezTo>
                      <a:pt x="360096" y="215412"/>
                      <a:pt x="350021" y="217239"/>
                      <a:pt x="364331" y="209062"/>
                    </a:cubicBezTo>
                    <a:cubicBezTo>
                      <a:pt x="369872" y="205896"/>
                      <a:pt x="384482" y="204823"/>
                      <a:pt x="388144" y="204300"/>
                    </a:cubicBezTo>
                    <a:cubicBezTo>
                      <a:pt x="396081" y="205094"/>
                      <a:pt x="404459" y="203955"/>
                      <a:pt x="411956" y="206681"/>
                    </a:cubicBezTo>
                    <a:cubicBezTo>
                      <a:pt x="414315" y="207539"/>
                      <a:pt x="412946" y="211736"/>
                      <a:pt x="414338" y="213825"/>
                    </a:cubicBezTo>
                    <a:cubicBezTo>
                      <a:pt x="416206" y="216627"/>
                      <a:pt x="419524" y="218228"/>
                      <a:pt x="421481" y="220968"/>
                    </a:cubicBezTo>
                    <a:cubicBezTo>
                      <a:pt x="425161" y="226120"/>
                      <a:pt x="426681" y="231805"/>
                      <a:pt x="428625" y="237637"/>
                    </a:cubicBezTo>
                    <a:cubicBezTo>
                      <a:pt x="427831" y="240018"/>
                      <a:pt x="426244" y="242271"/>
                      <a:pt x="426244" y="244781"/>
                    </a:cubicBezTo>
                    <a:cubicBezTo>
                      <a:pt x="426244" y="247291"/>
                      <a:pt x="426850" y="250150"/>
                      <a:pt x="428625" y="251925"/>
                    </a:cubicBezTo>
                    <a:cubicBezTo>
                      <a:pt x="430400" y="253700"/>
                      <a:pt x="433299" y="253857"/>
                      <a:pt x="435769" y="254306"/>
                    </a:cubicBezTo>
                    <a:cubicBezTo>
                      <a:pt x="442065" y="255451"/>
                      <a:pt x="448469" y="255893"/>
                      <a:pt x="454819" y="256687"/>
                    </a:cubicBezTo>
                    <a:cubicBezTo>
                      <a:pt x="472752" y="268643"/>
                      <a:pt x="449963" y="254607"/>
                      <a:pt x="471488" y="263831"/>
                    </a:cubicBezTo>
                    <a:cubicBezTo>
                      <a:pt x="474118" y="264958"/>
                      <a:pt x="476001" y="267466"/>
                      <a:pt x="478631" y="268593"/>
                    </a:cubicBezTo>
                    <a:cubicBezTo>
                      <a:pt x="481639" y="269882"/>
                      <a:pt x="485009" y="270076"/>
                      <a:pt x="488156" y="270975"/>
                    </a:cubicBezTo>
                    <a:cubicBezTo>
                      <a:pt x="504561" y="275663"/>
                      <a:pt x="483820" y="271443"/>
                      <a:pt x="509588" y="275737"/>
                    </a:cubicBezTo>
                    <a:cubicBezTo>
                      <a:pt x="512763" y="277325"/>
                      <a:pt x="515745" y="279377"/>
                      <a:pt x="519113" y="280500"/>
                    </a:cubicBezTo>
                    <a:cubicBezTo>
                      <a:pt x="525323" y="282570"/>
                      <a:pt x="531953" y="283192"/>
                      <a:pt x="538163" y="285262"/>
                    </a:cubicBezTo>
                    <a:lnTo>
                      <a:pt x="545306" y="287643"/>
                    </a:lnTo>
                    <a:cubicBezTo>
                      <a:pt x="558006" y="285262"/>
                      <a:pt x="571221" y="284800"/>
                      <a:pt x="583406" y="280500"/>
                    </a:cubicBezTo>
                    <a:cubicBezTo>
                      <a:pt x="585773" y="279665"/>
                      <a:pt x="585243" y="275806"/>
                      <a:pt x="585788" y="273356"/>
                    </a:cubicBezTo>
                    <a:cubicBezTo>
                      <a:pt x="586835" y="268643"/>
                      <a:pt x="586376" y="263551"/>
                      <a:pt x="588169" y="259068"/>
                    </a:cubicBezTo>
                    <a:cubicBezTo>
                      <a:pt x="589369" y="256068"/>
                      <a:pt x="599264" y="244528"/>
                      <a:pt x="602456" y="242400"/>
                    </a:cubicBezTo>
                    <a:cubicBezTo>
                      <a:pt x="604545" y="241008"/>
                      <a:pt x="607355" y="241141"/>
                      <a:pt x="609600" y="240018"/>
                    </a:cubicBezTo>
                    <a:cubicBezTo>
                      <a:pt x="612160" y="238738"/>
                      <a:pt x="614363" y="236843"/>
                      <a:pt x="616744" y="235256"/>
                    </a:cubicBezTo>
                    <a:cubicBezTo>
                      <a:pt x="617538" y="231287"/>
                      <a:pt x="618247" y="227301"/>
                      <a:pt x="619125" y="223350"/>
                    </a:cubicBezTo>
                    <a:cubicBezTo>
                      <a:pt x="619835" y="220155"/>
                      <a:pt x="621506" y="217098"/>
                      <a:pt x="621506" y="213825"/>
                    </a:cubicBezTo>
                    <a:cubicBezTo>
                      <a:pt x="621506" y="203234"/>
                      <a:pt x="622038" y="192925"/>
                      <a:pt x="614363" y="185250"/>
                    </a:cubicBezTo>
                    <a:cubicBezTo>
                      <a:pt x="612339" y="183226"/>
                      <a:pt x="609600" y="182075"/>
                      <a:pt x="607219" y="180487"/>
                    </a:cubicBezTo>
                    <a:cubicBezTo>
                      <a:pt x="605631" y="178106"/>
                      <a:pt x="604480" y="175367"/>
                      <a:pt x="602456" y="173343"/>
                    </a:cubicBezTo>
                    <a:cubicBezTo>
                      <a:pt x="599650" y="170537"/>
                      <a:pt x="596377" y="168169"/>
                      <a:pt x="592931" y="166200"/>
                    </a:cubicBezTo>
                    <a:cubicBezTo>
                      <a:pt x="590752" y="164955"/>
                      <a:pt x="588138" y="164699"/>
                      <a:pt x="585788" y="163818"/>
                    </a:cubicBezTo>
                    <a:cubicBezTo>
                      <a:pt x="581786" y="162317"/>
                      <a:pt x="577704" y="160968"/>
                      <a:pt x="573881" y="159056"/>
                    </a:cubicBezTo>
                    <a:cubicBezTo>
                      <a:pt x="571321" y="157776"/>
                      <a:pt x="569418" y="155298"/>
                      <a:pt x="566738" y="154293"/>
                    </a:cubicBezTo>
                    <a:cubicBezTo>
                      <a:pt x="536927" y="143114"/>
                      <a:pt x="568246" y="158342"/>
                      <a:pt x="547688" y="149531"/>
                    </a:cubicBezTo>
                    <a:cubicBezTo>
                      <a:pt x="544425" y="148133"/>
                      <a:pt x="541459" y="146086"/>
                      <a:pt x="538163" y="144768"/>
                    </a:cubicBezTo>
                    <a:cubicBezTo>
                      <a:pt x="524012" y="139108"/>
                      <a:pt x="526632" y="141134"/>
                      <a:pt x="514350" y="137625"/>
                    </a:cubicBezTo>
                    <a:cubicBezTo>
                      <a:pt x="511936" y="136935"/>
                      <a:pt x="509708" y="135451"/>
                      <a:pt x="507206" y="135243"/>
                    </a:cubicBezTo>
                    <a:cubicBezTo>
                      <a:pt x="490576" y="133857"/>
                      <a:pt x="473869" y="133656"/>
                      <a:pt x="457200" y="132862"/>
                    </a:cubicBezTo>
                    <a:cubicBezTo>
                      <a:pt x="455916" y="132679"/>
                      <a:pt x="428722" y="128926"/>
                      <a:pt x="426244" y="128100"/>
                    </a:cubicBezTo>
                    <a:cubicBezTo>
                      <a:pt x="423529" y="127195"/>
                      <a:pt x="421585" y="124757"/>
                      <a:pt x="419100" y="123337"/>
                    </a:cubicBezTo>
                    <a:cubicBezTo>
                      <a:pt x="416018" y="121576"/>
                      <a:pt x="412871" y="119893"/>
                      <a:pt x="409575" y="118575"/>
                    </a:cubicBezTo>
                    <a:cubicBezTo>
                      <a:pt x="397486" y="113739"/>
                      <a:pt x="395343" y="113823"/>
                      <a:pt x="383381" y="111431"/>
                    </a:cubicBezTo>
                    <a:cubicBezTo>
                      <a:pt x="380206" y="109050"/>
                      <a:pt x="377302" y="106256"/>
                      <a:pt x="373856" y="104287"/>
                    </a:cubicBezTo>
                    <a:cubicBezTo>
                      <a:pt x="371677" y="103042"/>
                      <a:pt x="368958" y="103028"/>
                      <a:pt x="366713" y="101906"/>
                    </a:cubicBezTo>
                    <a:cubicBezTo>
                      <a:pt x="364153" y="100626"/>
                      <a:pt x="361950" y="98731"/>
                      <a:pt x="359569" y="97143"/>
                    </a:cubicBezTo>
                    <a:cubicBezTo>
                      <a:pt x="357981" y="94762"/>
                      <a:pt x="356924" y="91925"/>
                      <a:pt x="354806" y="90000"/>
                    </a:cubicBezTo>
                    <a:cubicBezTo>
                      <a:pt x="344873" y="80970"/>
                      <a:pt x="334507" y="76118"/>
                      <a:pt x="326231" y="66187"/>
                    </a:cubicBezTo>
                    <a:cubicBezTo>
                      <a:pt x="321528" y="60543"/>
                      <a:pt x="321101" y="58611"/>
                      <a:pt x="319088" y="51900"/>
                    </a:cubicBezTo>
                    <a:cubicBezTo>
                      <a:pt x="317427" y="46365"/>
                      <a:pt x="317131" y="40282"/>
                      <a:pt x="314325" y="35231"/>
                    </a:cubicBezTo>
                    <a:cubicBezTo>
                      <a:pt x="312935" y="32729"/>
                      <a:pt x="309510" y="32132"/>
                      <a:pt x="307181" y="30468"/>
                    </a:cubicBezTo>
                    <a:cubicBezTo>
                      <a:pt x="303952" y="28161"/>
                      <a:pt x="300669" y="25908"/>
                      <a:pt x="297656" y="23325"/>
                    </a:cubicBezTo>
                    <a:cubicBezTo>
                      <a:pt x="295099" y="21133"/>
                      <a:pt x="293437" y="17852"/>
                      <a:pt x="290513" y="16181"/>
                    </a:cubicBezTo>
                    <a:cubicBezTo>
                      <a:pt x="287672" y="14557"/>
                      <a:pt x="284123" y="14740"/>
                      <a:pt x="280988" y="13800"/>
                    </a:cubicBezTo>
                    <a:cubicBezTo>
                      <a:pt x="254647" y="5898"/>
                      <a:pt x="277386" y="9676"/>
                      <a:pt x="238125" y="6656"/>
                    </a:cubicBezTo>
                    <a:cubicBezTo>
                      <a:pt x="207829" y="4326"/>
                      <a:pt x="186427" y="2948"/>
                      <a:pt x="154781" y="1893"/>
                    </a:cubicBezTo>
                    <a:cubicBezTo>
                      <a:pt x="147641" y="1655"/>
                      <a:pt x="136525" y="-6045"/>
                      <a:pt x="133350" y="1141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7" name="Freeform 296"/>
              <p:cNvSpPr/>
              <p:nvPr/>
            </p:nvSpPr>
            <p:spPr>
              <a:xfrm>
                <a:off x="6753504" y="3856514"/>
                <a:ext cx="507327" cy="521625"/>
              </a:xfrm>
              <a:custGeom>
                <a:avLst/>
                <a:gdLst>
                  <a:gd name="connsiteX0" fmla="*/ 40602 w 507327"/>
                  <a:gd name="connsiteY0" fmla="*/ 131 h 521625"/>
                  <a:gd name="connsiteX1" fmla="*/ 45365 w 507327"/>
                  <a:gd name="connsiteY1" fmla="*/ 23944 h 521625"/>
                  <a:gd name="connsiteX2" fmla="*/ 50127 w 507327"/>
                  <a:gd name="connsiteY2" fmla="*/ 38231 h 521625"/>
                  <a:gd name="connsiteX3" fmla="*/ 52509 w 507327"/>
                  <a:gd name="connsiteY3" fmla="*/ 45375 h 521625"/>
                  <a:gd name="connsiteX4" fmla="*/ 45365 w 507327"/>
                  <a:gd name="connsiteY4" fmla="*/ 66806 h 521625"/>
                  <a:gd name="connsiteX5" fmla="*/ 40602 w 507327"/>
                  <a:gd name="connsiteY5" fmla="*/ 78713 h 521625"/>
                  <a:gd name="connsiteX6" fmla="*/ 38221 w 507327"/>
                  <a:gd name="connsiteY6" fmla="*/ 85856 h 521625"/>
                  <a:gd name="connsiteX7" fmla="*/ 33459 w 507327"/>
                  <a:gd name="connsiteY7" fmla="*/ 93000 h 521625"/>
                  <a:gd name="connsiteX8" fmla="*/ 31077 w 507327"/>
                  <a:gd name="connsiteY8" fmla="*/ 100144 h 521625"/>
                  <a:gd name="connsiteX9" fmla="*/ 23934 w 507327"/>
                  <a:gd name="connsiteY9" fmla="*/ 107288 h 521625"/>
                  <a:gd name="connsiteX10" fmla="*/ 14409 w 507327"/>
                  <a:gd name="connsiteY10" fmla="*/ 121575 h 521625"/>
                  <a:gd name="connsiteX11" fmla="*/ 4884 w 507327"/>
                  <a:gd name="connsiteY11" fmla="*/ 135863 h 521625"/>
                  <a:gd name="connsiteX12" fmla="*/ 2502 w 507327"/>
                  <a:gd name="connsiteY12" fmla="*/ 145388 h 521625"/>
                  <a:gd name="connsiteX13" fmla="*/ 2502 w 507327"/>
                  <a:gd name="connsiteY13" fmla="*/ 159675 h 521625"/>
                  <a:gd name="connsiteX14" fmla="*/ 9646 w 507327"/>
                  <a:gd name="connsiteY14" fmla="*/ 164438 h 521625"/>
                  <a:gd name="connsiteX15" fmla="*/ 16790 w 507327"/>
                  <a:gd name="connsiteY15" fmla="*/ 166819 h 521625"/>
                  <a:gd name="connsiteX16" fmla="*/ 23934 w 507327"/>
                  <a:gd name="connsiteY16" fmla="*/ 173963 h 521625"/>
                  <a:gd name="connsiteX17" fmla="*/ 31077 w 507327"/>
                  <a:gd name="connsiteY17" fmla="*/ 178725 h 521625"/>
                  <a:gd name="connsiteX18" fmla="*/ 35840 w 507327"/>
                  <a:gd name="connsiteY18" fmla="*/ 185869 h 521625"/>
                  <a:gd name="connsiteX19" fmla="*/ 59652 w 507327"/>
                  <a:gd name="connsiteY19" fmla="*/ 207300 h 521625"/>
                  <a:gd name="connsiteX20" fmla="*/ 71559 w 507327"/>
                  <a:gd name="connsiteY20" fmla="*/ 223969 h 521625"/>
                  <a:gd name="connsiteX21" fmla="*/ 81084 w 507327"/>
                  <a:gd name="connsiteY21" fmla="*/ 238256 h 521625"/>
                  <a:gd name="connsiteX22" fmla="*/ 88227 w 507327"/>
                  <a:gd name="connsiteY22" fmla="*/ 245400 h 521625"/>
                  <a:gd name="connsiteX23" fmla="*/ 92990 w 507327"/>
                  <a:gd name="connsiteY23" fmla="*/ 254925 h 521625"/>
                  <a:gd name="connsiteX24" fmla="*/ 107277 w 507327"/>
                  <a:gd name="connsiteY24" fmla="*/ 264450 h 521625"/>
                  <a:gd name="connsiteX25" fmla="*/ 114421 w 507327"/>
                  <a:gd name="connsiteY25" fmla="*/ 269213 h 521625"/>
                  <a:gd name="connsiteX26" fmla="*/ 128709 w 507327"/>
                  <a:gd name="connsiteY26" fmla="*/ 278738 h 521625"/>
                  <a:gd name="connsiteX27" fmla="*/ 142996 w 507327"/>
                  <a:gd name="connsiteY27" fmla="*/ 290644 h 521625"/>
                  <a:gd name="connsiteX28" fmla="*/ 162046 w 507327"/>
                  <a:gd name="connsiteY28" fmla="*/ 304931 h 521625"/>
                  <a:gd name="connsiteX29" fmla="*/ 176334 w 507327"/>
                  <a:gd name="connsiteY29" fmla="*/ 312075 h 521625"/>
                  <a:gd name="connsiteX30" fmla="*/ 183477 w 507327"/>
                  <a:gd name="connsiteY30" fmla="*/ 314456 h 521625"/>
                  <a:gd name="connsiteX31" fmla="*/ 190621 w 507327"/>
                  <a:gd name="connsiteY31" fmla="*/ 319219 h 521625"/>
                  <a:gd name="connsiteX32" fmla="*/ 193002 w 507327"/>
                  <a:gd name="connsiteY32" fmla="*/ 343031 h 521625"/>
                  <a:gd name="connsiteX33" fmla="*/ 188240 w 507327"/>
                  <a:gd name="connsiteY33" fmla="*/ 350175 h 521625"/>
                  <a:gd name="connsiteX34" fmla="*/ 185859 w 507327"/>
                  <a:gd name="connsiteY34" fmla="*/ 357319 h 521625"/>
                  <a:gd name="connsiteX35" fmla="*/ 176334 w 507327"/>
                  <a:gd name="connsiteY35" fmla="*/ 371606 h 521625"/>
                  <a:gd name="connsiteX36" fmla="*/ 173952 w 507327"/>
                  <a:gd name="connsiteY36" fmla="*/ 378750 h 521625"/>
                  <a:gd name="connsiteX37" fmla="*/ 164427 w 507327"/>
                  <a:gd name="connsiteY37" fmla="*/ 393038 h 521625"/>
                  <a:gd name="connsiteX38" fmla="*/ 154902 w 507327"/>
                  <a:gd name="connsiteY38" fmla="*/ 412088 h 521625"/>
                  <a:gd name="connsiteX39" fmla="*/ 152521 w 507327"/>
                  <a:gd name="connsiteY39" fmla="*/ 419231 h 521625"/>
                  <a:gd name="connsiteX40" fmla="*/ 154902 w 507327"/>
                  <a:gd name="connsiteY40" fmla="*/ 443044 h 521625"/>
                  <a:gd name="connsiteX41" fmla="*/ 162046 w 507327"/>
                  <a:gd name="connsiteY41" fmla="*/ 447806 h 521625"/>
                  <a:gd name="connsiteX42" fmla="*/ 171571 w 507327"/>
                  <a:gd name="connsiteY42" fmla="*/ 462094 h 521625"/>
                  <a:gd name="connsiteX43" fmla="*/ 197765 w 507327"/>
                  <a:gd name="connsiteY43" fmla="*/ 493050 h 521625"/>
                  <a:gd name="connsiteX44" fmla="*/ 204909 w 507327"/>
                  <a:gd name="connsiteY44" fmla="*/ 497813 h 521625"/>
                  <a:gd name="connsiteX45" fmla="*/ 219196 w 507327"/>
                  <a:gd name="connsiteY45" fmla="*/ 512100 h 521625"/>
                  <a:gd name="connsiteX46" fmla="*/ 221577 w 507327"/>
                  <a:gd name="connsiteY46" fmla="*/ 519244 h 521625"/>
                  <a:gd name="connsiteX47" fmla="*/ 228721 w 507327"/>
                  <a:gd name="connsiteY47" fmla="*/ 521625 h 521625"/>
                  <a:gd name="connsiteX48" fmla="*/ 250152 w 507327"/>
                  <a:gd name="connsiteY48" fmla="*/ 519244 h 521625"/>
                  <a:gd name="connsiteX49" fmla="*/ 264440 w 507327"/>
                  <a:gd name="connsiteY49" fmla="*/ 514481 h 521625"/>
                  <a:gd name="connsiteX50" fmla="*/ 302540 w 507327"/>
                  <a:gd name="connsiteY50" fmla="*/ 509719 h 521625"/>
                  <a:gd name="connsiteX51" fmla="*/ 304921 w 507327"/>
                  <a:gd name="connsiteY51" fmla="*/ 476381 h 521625"/>
                  <a:gd name="connsiteX52" fmla="*/ 300159 w 507327"/>
                  <a:gd name="connsiteY52" fmla="*/ 469238 h 521625"/>
                  <a:gd name="connsiteX53" fmla="*/ 297777 w 507327"/>
                  <a:gd name="connsiteY53" fmla="*/ 457331 h 521625"/>
                  <a:gd name="connsiteX54" fmla="*/ 312065 w 507327"/>
                  <a:gd name="connsiteY54" fmla="*/ 414469 h 521625"/>
                  <a:gd name="connsiteX55" fmla="*/ 319209 w 507327"/>
                  <a:gd name="connsiteY55" fmla="*/ 407325 h 521625"/>
                  <a:gd name="connsiteX56" fmla="*/ 326352 w 507327"/>
                  <a:gd name="connsiteY56" fmla="*/ 404944 h 521625"/>
                  <a:gd name="connsiteX57" fmla="*/ 343021 w 507327"/>
                  <a:gd name="connsiteY57" fmla="*/ 400181 h 521625"/>
                  <a:gd name="connsiteX58" fmla="*/ 476371 w 507327"/>
                  <a:gd name="connsiteY58" fmla="*/ 400181 h 521625"/>
                  <a:gd name="connsiteX59" fmla="*/ 483515 w 507327"/>
                  <a:gd name="connsiteY59" fmla="*/ 397800 h 521625"/>
                  <a:gd name="connsiteX60" fmla="*/ 490659 w 507327"/>
                  <a:gd name="connsiteY60" fmla="*/ 390656 h 521625"/>
                  <a:gd name="connsiteX61" fmla="*/ 497802 w 507327"/>
                  <a:gd name="connsiteY61" fmla="*/ 385894 h 521625"/>
                  <a:gd name="connsiteX62" fmla="*/ 504946 w 507327"/>
                  <a:gd name="connsiteY62" fmla="*/ 376369 h 521625"/>
                  <a:gd name="connsiteX63" fmla="*/ 507327 w 507327"/>
                  <a:gd name="connsiteY63" fmla="*/ 364463 h 521625"/>
                  <a:gd name="connsiteX64" fmla="*/ 502565 w 507327"/>
                  <a:gd name="connsiteY64" fmla="*/ 333506 h 521625"/>
                  <a:gd name="connsiteX65" fmla="*/ 497802 w 507327"/>
                  <a:gd name="connsiteY65" fmla="*/ 326363 h 521625"/>
                  <a:gd name="connsiteX66" fmla="*/ 488277 w 507327"/>
                  <a:gd name="connsiteY66" fmla="*/ 312075 h 521625"/>
                  <a:gd name="connsiteX67" fmla="*/ 483515 w 507327"/>
                  <a:gd name="connsiteY67" fmla="*/ 304931 h 521625"/>
                  <a:gd name="connsiteX68" fmla="*/ 466846 w 507327"/>
                  <a:gd name="connsiteY68" fmla="*/ 297788 h 521625"/>
                  <a:gd name="connsiteX69" fmla="*/ 457321 w 507327"/>
                  <a:gd name="connsiteY69" fmla="*/ 283500 h 521625"/>
                  <a:gd name="connsiteX70" fmla="*/ 443034 w 507327"/>
                  <a:gd name="connsiteY70" fmla="*/ 269213 h 521625"/>
                  <a:gd name="connsiteX71" fmla="*/ 433509 w 507327"/>
                  <a:gd name="connsiteY71" fmla="*/ 254925 h 521625"/>
                  <a:gd name="connsiteX72" fmla="*/ 421602 w 507327"/>
                  <a:gd name="connsiteY72" fmla="*/ 238256 h 521625"/>
                  <a:gd name="connsiteX73" fmla="*/ 412077 w 507327"/>
                  <a:gd name="connsiteY73" fmla="*/ 223969 h 521625"/>
                  <a:gd name="connsiteX74" fmla="*/ 407315 w 507327"/>
                  <a:gd name="connsiteY74" fmla="*/ 216825 h 521625"/>
                  <a:gd name="connsiteX75" fmla="*/ 393027 w 507327"/>
                  <a:gd name="connsiteY75" fmla="*/ 207300 h 521625"/>
                  <a:gd name="connsiteX76" fmla="*/ 385884 w 507327"/>
                  <a:gd name="connsiteY76" fmla="*/ 202538 h 521625"/>
                  <a:gd name="connsiteX77" fmla="*/ 373977 w 507327"/>
                  <a:gd name="connsiteY77" fmla="*/ 188250 h 521625"/>
                  <a:gd name="connsiteX78" fmla="*/ 359690 w 507327"/>
                  <a:gd name="connsiteY78" fmla="*/ 164438 h 521625"/>
                  <a:gd name="connsiteX79" fmla="*/ 357309 w 507327"/>
                  <a:gd name="connsiteY79" fmla="*/ 131100 h 521625"/>
                  <a:gd name="connsiteX80" fmla="*/ 354927 w 507327"/>
                  <a:gd name="connsiteY80" fmla="*/ 123956 h 521625"/>
                  <a:gd name="connsiteX81" fmla="*/ 357309 w 507327"/>
                  <a:gd name="connsiteY81" fmla="*/ 97763 h 521625"/>
                  <a:gd name="connsiteX82" fmla="*/ 359690 w 507327"/>
                  <a:gd name="connsiteY82" fmla="*/ 90619 h 521625"/>
                  <a:gd name="connsiteX83" fmla="*/ 362071 w 507327"/>
                  <a:gd name="connsiteY83" fmla="*/ 81094 h 521625"/>
                  <a:gd name="connsiteX84" fmla="*/ 354927 w 507327"/>
                  <a:gd name="connsiteY84" fmla="*/ 66806 h 521625"/>
                  <a:gd name="connsiteX85" fmla="*/ 347784 w 507327"/>
                  <a:gd name="connsiteY85" fmla="*/ 59663 h 521625"/>
                  <a:gd name="connsiteX86" fmla="*/ 316827 w 507327"/>
                  <a:gd name="connsiteY86" fmla="*/ 52519 h 521625"/>
                  <a:gd name="connsiteX87" fmla="*/ 288252 w 507327"/>
                  <a:gd name="connsiteY87" fmla="*/ 38231 h 521625"/>
                  <a:gd name="connsiteX88" fmla="*/ 273965 w 507327"/>
                  <a:gd name="connsiteY88" fmla="*/ 26325 h 521625"/>
                  <a:gd name="connsiteX89" fmla="*/ 259677 w 507327"/>
                  <a:gd name="connsiteY89" fmla="*/ 21563 h 521625"/>
                  <a:gd name="connsiteX90" fmla="*/ 252534 w 507327"/>
                  <a:gd name="connsiteY90" fmla="*/ 19181 h 521625"/>
                  <a:gd name="connsiteX91" fmla="*/ 197765 w 507327"/>
                  <a:gd name="connsiteY91" fmla="*/ 21563 h 521625"/>
                  <a:gd name="connsiteX92" fmla="*/ 173952 w 507327"/>
                  <a:gd name="connsiteY92" fmla="*/ 28706 h 521625"/>
                  <a:gd name="connsiteX93" fmla="*/ 159665 w 507327"/>
                  <a:gd name="connsiteY93" fmla="*/ 31088 h 521625"/>
                  <a:gd name="connsiteX94" fmla="*/ 138234 w 507327"/>
                  <a:gd name="connsiteY94" fmla="*/ 28706 h 521625"/>
                  <a:gd name="connsiteX95" fmla="*/ 121565 w 507327"/>
                  <a:gd name="connsiteY95" fmla="*/ 23944 h 521625"/>
                  <a:gd name="connsiteX96" fmla="*/ 114421 w 507327"/>
                  <a:gd name="connsiteY96" fmla="*/ 19181 h 521625"/>
                  <a:gd name="connsiteX97" fmla="*/ 107277 w 507327"/>
                  <a:gd name="connsiteY97" fmla="*/ 12038 h 521625"/>
                  <a:gd name="connsiteX98" fmla="*/ 92990 w 507327"/>
                  <a:gd name="connsiteY98" fmla="*/ 7275 h 521625"/>
                  <a:gd name="connsiteX99" fmla="*/ 85846 w 507327"/>
                  <a:gd name="connsiteY99" fmla="*/ 4894 h 521625"/>
                  <a:gd name="connsiteX100" fmla="*/ 78702 w 507327"/>
                  <a:gd name="connsiteY100" fmla="*/ 2513 h 521625"/>
                  <a:gd name="connsiteX101" fmla="*/ 66796 w 507327"/>
                  <a:gd name="connsiteY101" fmla="*/ 131 h 521625"/>
                  <a:gd name="connsiteX102" fmla="*/ 40602 w 507327"/>
                  <a:gd name="connsiteY102" fmla="*/ 131 h 52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07327" h="521625">
                    <a:moveTo>
                      <a:pt x="40602" y="131"/>
                    </a:moveTo>
                    <a:cubicBezTo>
                      <a:pt x="42190" y="8069"/>
                      <a:pt x="42805" y="16264"/>
                      <a:pt x="45365" y="23944"/>
                    </a:cubicBezTo>
                    <a:lnTo>
                      <a:pt x="50127" y="38231"/>
                    </a:lnTo>
                    <a:lnTo>
                      <a:pt x="52509" y="45375"/>
                    </a:lnTo>
                    <a:cubicBezTo>
                      <a:pt x="48087" y="71903"/>
                      <a:pt x="53736" y="50065"/>
                      <a:pt x="45365" y="66806"/>
                    </a:cubicBezTo>
                    <a:cubicBezTo>
                      <a:pt x="43453" y="70629"/>
                      <a:pt x="42103" y="74710"/>
                      <a:pt x="40602" y="78713"/>
                    </a:cubicBezTo>
                    <a:cubicBezTo>
                      <a:pt x="39721" y="81063"/>
                      <a:pt x="39343" y="83611"/>
                      <a:pt x="38221" y="85856"/>
                    </a:cubicBezTo>
                    <a:cubicBezTo>
                      <a:pt x="36941" y="88416"/>
                      <a:pt x="34739" y="90440"/>
                      <a:pt x="33459" y="93000"/>
                    </a:cubicBezTo>
                    <a:cubicBezTo>
                      <a:pt x="32336" y="95245"/>
                      <a:pt x="32469" y="98055"/>
                      <a:pt x="31077" y="100144"/>
                    </a:cubicBezTo>
                    <a:cubicBezTo>
                      <a:pt x="29209" y="102946"/>
                      <a:pt x="26315" y="104907"/>
                      <a:pt x="23934" y="107288"/>
                    </a:cubicBezTo>
                    <a:cubicBezTo>
                      <a:pt x="19378" y="120950"/>
                      <a:pt x="24814" y="108196"/>
                      <a:pt x="14409" y="121575"/>
                    </a:cubicBezTo>
                    <a:cubicBezTo>
                      <a:pt x="10895" y="126093"/>
                      <a:pt x="4884" y="135863"/>
                      <a:pt x="4884" y="135863"/>
                    </a:cubicBezTo>
                    <a:cubicBezTo>
                      <a:pt x="4090" y="139038"/>
                      <a:pt x="3401" y="142241"/>
                      <a:pt x="2502" y="145388"/>
                    </a:cubicBezTo>
                    <a:cubicBezTo>
                      <a:pt x="831" y="151236"/>
                      <a:pt x="-2176" y="153827"/>
                      <a:pt x="2502" y="159675"/>
                    </a:cubicBezTo>
                    <a:cubicBezTo>
                      <a:pt x="4290" y="161910"/>
                      <a:pt x="7086" y="163158"/>
                      <a:pt x="9646" y="164438"/>
                    </a:cubicBezTo>
                    <a:cubicBezTo>
                      <a:pt x="11891" y="165561"/>
                      <a:pt x="14409" y="166025"/>
                      <a:pt x="16790" y="166819"/>
                    </a:cubicBezTo>
                    <a:cubicBezTo>
                      <a:pt x="19171" y="169200"/>
                      <a:pt x="21347" y="171807"/>
                      <a:pt x="23934" y="173963"/>
                    </a:cubicBezTo>
                    <a:cubicBezTo>
                      <a:pt x="26132" y="175795"/>
                      <a:pt x="29054" y="176702"/>
                      <a:pt x="31077" y="178725"/>
                    </a:cubicBezTo>
                    <a:cubicBezTo>
                      <a:pt x="33101" y="180749"/>
                      <a:pt x="33816" y="183845"/>
                      <a:pt x="35840" y="185869"/>
                    </a:cubicBezTo>
                    <a:cubicBezTo>
                      <a:pt x="51838" y="201866"/>
                      <a:pt x="34601" y="169726"/>
                      <a:pt x="59652" y="207300"/>
                    </a:cubicBezTo>
                    <a:cubicBezTo>
                      <a:pt x="75143" y="230535"/>
                      <a:pt x="50874" y="194421"/>
                      <a:pt x="71559" y="223969"/>
                    </a:cubicBezTo>
                    <a:cubicBezTo>
                      <a:pt x="74841" y="228658"/>
                      <a:pt x="77037" y="234208"/>
                      <a:pt x="81084" y="238256"/>
                    </a:cubicBezTo>
                    <a:cubicBezTo>
                      <a:pt x="83465" y="240637"/>
                      <a:pt x="86270" y="242660"/>
                      <a:pt x="88227" y="245400"/>
                    </a:cubicBezTo>
                    <a:cubicBezTo>
                      <a:pt x="90290" y="248289"/>
                      <a:pt x="90480" y="252415"/>
                      <a:pt x="92990" y="254925"/>
                    </a:cubicBezTo>
                    <a:cubicBezTo>
                      <a:pt x="97037" y="258972"/>
                      <a:pt x="102515" y="261275"/>
                      <a:pt x="107277" y="264450"/>
                    </a:cubicBezTo>
                    <a:cubicBezTo>
                      <a:pt x="109658" y="266038"/>
                      <a:pt x="112397" y="267189"/>
                      <a:pt x="114421" y="269213"/>
                    </a:cubicBezTo>
                    <a:cubicBezTo>
                      <a:pt x="123340" y="278131"/>
                      <a:pt x="118370" y="275291"/>
                      <a:pt x="128709" y="278738"/>
                    </a:cubicBezTo>
                    <a:cubicBezTo>
                      <a:pt x="144855" y="300269"/>
                      <a:pt x="127345" y="280685"/>
                      <a:pt x="142996" y="290644"/>
                    </a:cubicBezTo>
                    <a:cubicBezTo>
                      <a:pt x="149693" y="294905"/>
                      <a:pt x="154516" y="302420"/>
                      <a:pt x="162046" y="304931"/>
                    </a:cubicBezTo>
                    <a:cubicBezTo>
                      <a:pt x="180007" y="310920"/>
                      <a:pt x="157865" y="302841"/>
                      <a:pt x="176334" y="312075"/>
                    </a:cubicBezTo>
                    <a:cubicBezTo>
                      <a:pt x="178579" y="313197"/>
                      <a:pt x="181096" y="313662"/>
                      <a:pt x="183477" y="314456"/>
                    </a:cubicBezTo>
                    <a:cubicBezTo>
                      <a:pt x="185858" y="316044"/>
                      <a:pt x="188597" y="317195"/>
                      <a:pt x="190621" y="319219"/>
                    </a:cubicBezTo>
                    <a:cubicBezTo>
                      <a:pt x="198204" y="326802"/>
                      <a:pt x="196364" y="331826"/>
                      <a:pt x="193002" y="343031"/>
                    </a:cubicBezTo>
                    <a:cubicBezTo>
                      <a:pt x="192180" y="345772"/>
                      <a:pt x="189520" y="347615"/>
                      <a:pt x="188240" y="350175"/>
                    </a:cubicBezTo>
                    <a:cubicBezTo>
                      <a:pt x="187118" y="352420"/>
                      <a:pt x="187078" y="355125"/>
                      <a:pt x="185859" y="357319"/>
                    </a:cubicBezTo>
                    <a:cubicBezTo>
                      <a:pt x="183079" y="362322"/>
                      <a:pt x="178144" y="366176"/>
                      <a:pt x="176334" y="371606"/>
                    </a:cubicBezTo>
                    <a:cubicBezTo>
                      <a:pt x="175540" y="373987"/>
                      <a:pt x="175171" y="376556"/>
                      <a:pt x="173952" y="378750"/>
                    </a:cubicBezTo>
                    <a:cubicBezTo>
                      <a:pt x="171172" y="383754"/>
                      <a:pt x="164427" y="393038"/>
                      <a:pt x="164427" y="393038"/>
                    </a:cubicBezTo>
                    <a:cubicBezTo>
                      <a:pt x="159058" y="409145"/>
                      <a:pt x="166149" y="389595"/>
                      <a:pt x="154902" y="412088"/>
                    </a:cubicBezTo>
                    <a:cubicBezTo>
                      <a:pt x="153780" y="414333"/>
                      <a:pt x="153315" y="416850"/>
                      <a:pt x="152521" y="419231"/>
                    </a:cubicBezTo>
                    <a:cubicBezTo>
                      <a:pt x="153315" y="427169"/>
                      <a:pt x="152379" y="435476"/>
                      <a:pt x="154902" y="443044"/>
                    </a:cubicBezTo>
                    <a:cubicBezTo>
                      <a:pt x="155807" y="445759"/>
                      <a:pt x="160161" y="445652"/>
                      <a:pt x="162046" y="447806"/>
                    </a:cubicBezTo>
                    <a:cubicBezTo>
                      <a:pt x="165815" y="452114"/>
                      <a:pt x="168396" y="457331"/>
                      <a:pt x="171571" y="462094"/>
                    </a:cubicBezTo>
                    <a:cubicBezTo>
                      <a:pt x="179231" y="473583"/>
                      <a:pt x="185680" y="484993"/>
                      <a:pt x="197765" y="493050"/>
                    </a:cubicBezTo>
                    <a:cubicBezTo>
                      <a:pt x="200146" y="494638"/>
                      <a:pt x="202770" y="495912"/>
                      <a:pt x="204909" y="497813"/>
                    </a:cubicBezTo>
                    <a:cubicBezTo>
                      <a:pt x="209943" y="502287"/>
                      <a:pt x="219196" y="512100"/>
                      <a:pt x="219196" y="512100"/>
                    </a:cubicBezTo>
                    <a:cubicBezTo>
                      <a:pt x="219990" y="514481"/>
                      <a:pt x="219802" y="517469"/>
                      <a:pt x="221577" y="519244"/>
                    </a:cubicBezTo>
                    <a:cubicBezTo>
                      <a:pt x="223352" y="521019"/>
                      <a:pt x="226211" y="521625"/>
                      <a:pt x="228721" y="521625"/>
                    </a:cubicBezTo>
                    <a:cubicBezTo>
                      <a:pt x="235909" y="521625"/>
                      <a:pt x="243008" y="520038"/>
                      <a:pt x="250152" y="519244"/>
                    </a:cubicBezTo>
                    <a:lnTo>
                      <a:pt x="264440" y="514481"/>
                    </a:lnTo>
                    <a:cubicBezTo>
                      <a:pt x="281399" y="508828"/>
                      <a:pt x="269094" y="512292"/>
                      <a:pt x="302540" y="509719"/>
                    </a:cubicBezTo>
                    <a:cubicBezTo>
                      <a:pt x="307794" y="493955"/>
                      <a:pt x="309877" y="494554"/>
                      <a:pt x="304921" y="476381"/>
                    </a:cubicBezTo>
                    <a:cubicBezTo>
                      <a:pt x="304168" y="473620"/>
                      <a:pt x="301746" y="471619"/>
                      <a:pt x="300159" y="469238"/>
                    </a:cubicBezTo>
                    <a:cubicBezTo>
                      <a:pt x="299365" y="465269"/>
                      <a:pt x="297777" y="461379"/>
                      <a:pt x="297777" y="457331"/>
                    </a:cubicBezTo>
                    <a:cubicBezTo>
                      <a:pt x="297777" y="441713"/>
                      <a:pt x="300542" y="425992"/>
                      <a:pt x="312065" y="414469"/>
                    </a:cubicBezTo>
                    <a:cubicBezTo>
                      <a:pt x="314446" y="412088"/>
                      <a:pt x="316407" y="409193"/>
                      <a:pt x="319209" y="407325"/>
                    </a:cubicBezTo>
                    <a:cubicBezTo>
                      <a:pt x="321297" y="405933"/>
                      <a:pt x="323939" y="405633"/>
                      <a:pt x="326352" y="404944"/>
                    </a:cubicBezTo>
                    <a:cubicBezTo>
                      <a:pt x="347264" y="398969"/>
                      <a:pt x="325906" y="405888"/>
                      <a:pt x="343021" y="400181"/>
                    </a:cubicBezTo>
                    <a:cubicBezTo>
                      <a:pt x="402769" y="401939"/>
                      <a:pt x="422061" y="404526"/>
                      <a:pt x="476371" y="400181"/>
                    </a:cubicBezTo>
                    <a:cubicBezTo>
                      <a:pt x="478873" y="399981"/>
                      <a:pt x="481134" y="398594"/>
                      <a:pt x="483515" y="397800"/>
                    </a:cubicBezTo>
                    <a:cubicBezTo>
                      <a:pt x="485896" y="395419"/>
                      <a:pt x="488072" y="392812"/>
                      <a:pt x="490659" y="390656"/>
                    </a:cubicBezTo>
                    <a:cubicBezTo>
                      <a:pt x="492857" y="388824"/>
                      <a:pt x="495779" y="387917"/>
                      <a:pt x="497802" y="385894"/>
                    </a:cubicBezTo>
                    <a:cubicBezTo>
                      <a:pt x="500608" y="383088"/>
                      <a:pt x="502565" y="379544"/>
                      <a:pt x="504946" y="376369"/>
                    </a:cubicBezTo>
                    <a:cubicBezTo>
                      <a:pt x="505740" y="372400"/>
                      <a:pt x="507327" y="368510"/>
                      <a:pt x="507327" y="364463"/>
                    </a:cubicBezTo>
                    <a:cubicBezTo>
                      <a:pt x="507327" y="359005"/>
                      <a:pt x="506641" y="341656"/>
                      <a:pt x="502565" y="333506"/>
                    </a:cubicBezTo>
                    <a:cubicBezTo>
                      <a:pt x="501285" y="330946"/>
                      <a:pt x="499390" y="328744"/>
                      <a:pt x="497802" y="326363"/>
                    </a:cubicBezTo>
                    <a:cubicBezTo>
                      <a:pt x="493617" y="313808"/>
                      <a:pt x="498187" y="323968"/>
                      <a:pt x="488277" y="312075"/>
                    </a:cubicBezTo>
                    <a:cubicBezTo>
                      <a:pt x="486445" y="309876"/>
                      <a:pt x="485714" y="306763"/>
                      <a:pt x="483515" y="304931"/>
                    </a:cubicBezTo>
                    <a:cubicBezTo>
                      <a:pt x="479592" y="301662"/>
                      <a:pt x="471808" y="299442"/>
                      <a:pt x="466846" y="297788"/>
                    </a:cubicBezTo>
                    <a:cubicBezTo>
                      <a:pt x="463671" y="293025"/>
                      <a:pt x="461368" y="287547"/>
                      <a:pt x="457321" y="283500"/>
                    </a:cubicBezTo>
                    <a:cubicBezTo>
                      <a:pt x="452559" y="278738"/>
                      <a:pt x="446770" y="274817"/>
                      <a:pt x="443034" y="269213"/>
                    </a:cubicBezTo>
                    <a:cubicBezTo>
                      <a:pt x="439859" y="264450"/>
                      <a:pt x="436943" y="259504"/>
                      <a:pt x="433509" y="254925"/>
                    </a:cubicBezTo>
                    <a:cubicBezTo>
                      <a:pt x="424648" y="243110"/>
                      <a:pt x="428567" y="248702"/>
                      <a:pt x="421602" y="238256"/>
                    </a:cubicBezTo>
                    <a:cubicBezTo>
                      <a:pt x="417273" y="220938"/>
                      <a:pt x="423041" y="234933"/>
                      <a:pt x="412077" y="223969"/>
                    </a:cubicBezTo>
                    <a:cubicBezTo>
                      <a:pt x="410053" y="221945"/>
                      <a:pt x="409469" y="218710"/>
                      <a:pt x="407315" y="216825"/>
                    </a:cubicBezTo>
                    <a:cubicBezTo>
                      <a:pt x="403007" y="213056"/>
                      <a:pt x="397790" y="210475"/>
                      <a:pt x="393027" y="207300"/>
                    </a:cubicBezTo>
                    <a:lnTo>
                      <a:pt x="385884" y="202538"/>
                    </a:lnTo>
                    <a:cubicBezTo>
                      <a:pt x="368862" y="177007"/>
                      <a:pt x="395371" y="215756"/>
                      <a:pt x="373977" y="188250"/>
                    </a:cubicBezTo>
                    <a:cubicBezTo>
                      <a:pt x="365930" y="177904"/>
                      <a:pt x="364874" y="174807"/>
                      <a:pt x="359690" y="164438"/>
                    </a:cubicBezTo>
                    <a:cubicBezTo>
                      <a:pt x="358896" y="153325"/>
                      <a:pt x="358611" y="142165"/>
                      <a:pt x="357309" y="131100"/>
                    </a:cubicBezTo>
                    <a:cubicBezTo>
                      <a:pt x="357016" y="128607"/>
                      <a:pt x="354927" y="126466"/>
                      <a:pt x="354927" y="123956"/>
                    </a:cubicBezTo>
                    <a:cubicBezTo>
                      <a:pt x="354927" y="115189"/>
                      <a:pt x="356069" y="106442"/>
                      <a:pt x="357309" y="97763"/>
                    </a:cubicBezTo>
                    <a:cubicBezTo>
                      <a:pt x="357664" y="95278"/>
                      <a:pt x="359000" y="93033"/>
                      <a:pt x="359690" y="90619"/>
                    </a:cubicBezTo>
                    <a:cubicBezTo>
                      <a:pt x="360589" y="87472"/>
                      <a:pt x="361277" y="84269"/>
                      <a:pt x="362071" y="81094"/>
                    </a:cubicBezTo>
                    <a:cubicBezTo>
                      <a:pt x="359684" y="73933"/>
                      <a:pt x="360057" y="72962"/>
                      <a:pt x="354927" y="66806"/>
                    </a:cubicBezTo>
                    <a:cubicBezTo>
                      <a:pt x="352771" y="64219"/>
                      <a:pt x="350728" y="61298"/>
                      <a:pt x="347784" y="59663"/>
                    </a:cubicBezTo>
                    <a:cubicBezTo>
                      <a:pt x="338730" y="54633"/>
                      <a:pt x="326661" y="53924"/>
                      <a:pt x="316827" y="52519"/>
                    </a:cubicBezTo>
                    <a:cubicBezTo>
                      <a:pt x="305208" y="48645"/>
                      <a:pt x="297483" y="47462"/>
                      <a:pt x="288252" y="38231"/>
                    </a:cubicBezTo>
                    <a:cubicBezTo>
                      <a:pt x="283767" y="33746"/>
                      <a:pt x="279931" y="28977"/>
                      <a:pt x="273965" y="26325"/>
                    </a:cubicBezTo>
                    <a:cubicBezTo>
                      <a:pt x="269377" y="24286"/>
                      <a:pt x="264440" y="23151"/>
                      <a:pt x="259677" y="21563"/>
                    </a:cubicBezTo>
                    <a:lnTo>
                      <a:pt x="252534" y="19181"/>
                    </a:lnTo>
                    <a:cubicBezTo>
                      <a:pt x="234278" y="19975"/>
                      <a:pt x="215989" y="20213"/>
                      <a:pt x="197765" y="21563"/>
                    </a:cubicBezTo>
                    <a:cubicBezTo>
                      <a:pt x="190315" y="22115"/>
                      <a:pt x="180690" y="27583"/>
                      <a:pt x="173952" y="28706"/>
                    </a:cubicBezTo>
                    <a:lnTo>
                      <a:pt x="159665" y="31088"/>
                    </a:lnTo>
                    <a:cubicBezTo>
                      <a:pt x="152521" y="30294"/>
                      <a:pt x="145338" y="29799"/>
                      <a:pt x="138234" y="28706"/>
                    </a:cubicBezTo>
                    <a:cubicBezTo>
                      <a:pt x="132680" y="27852"/>
                      <a:pt x="126900" y="25722"/>
                      <a:pt x="121565" y="23944"/>
                    </a:cubicBezTo>
                    <a:cubicBezTo>
                      <a:pt x="119184" y="22356"/>
                      <a:pt x="116620" y="21013"/>
                      <a:pt x="114421" y="19181"/>
                    </a:cubicBezTo>
                    <a:cubicBezTo>
                      <a:pt x="111834" y="17025"/>
                      <a:pt x="110221" y="13673"/>
                      <a:pt x="107277" y="12038"/>
                    </a:cubicBezTo>
                    <a:cubicBezTo>
                      <a:pt x="102889" y="9600"/>
                      <a:pt x="97752" y="8863"/>
                      <a:pt x="92990" y="7275"/>
                    </a:cubicBezTo>
                    <a:lnTo>
                      <a:pt x="85846" y="4894"/>
                    </a:lnTo>
                    <a:cubicBezTo>
                      <a:pt x="83465" y="4100"/>
                      <a:pt x="81163" y="3005"/>
                      <a:pt x="78702" y="2513"/>
                    </a:cubicBezTo>
                    <a:cubicBezTo>
                      <a:pt x="74733" y="1719"/>
                      <a:pt x="70812" y="633"/>
                      <a:pt x="66796" y="131"/>
                    </a:cubicBezTo>
                    <a:cubicBezTo>
                      <a:pt x="64433" y="-164"/>
                      <a:pt x="62033" y="131"/>
                      <a:pt x="40602" y="131"/>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8" name="Freeform 297"/>
              <p:cNvSpPr/>
              <p:nvPr/>
            </p:nvSpPr>
            <p:spPr>
              <a:xfrm>
                <a:off x="6986988" y="4413798"/>
                <a:ext cx="57393" cy="100072"/>
              </a:xfrm>
              <a:custGeom>
                <a:avLst/>
                <a:gdLst>
                  <a:gd name="connsiteX0" fmla="*/ 45243 w 57393"/>
                  <a:gd name="connsiteY0" fmla="*/ 60 h 100072"/>
                  <a:gd name="connsiteX1" fmla="*/ 26193 w 57393"/>
                  <a:gd name="connsiteY1" fmla="*/ 2441 h 100072"/>
                  <a:gd name="connsiteX2" fmla="*/ 19050 w 57393"/>
                  <a:gd name="connsiteY2" fmla="*/ 4822 h 100072"/>
                  <a:gd name="connsiteX3" fmla="*/ 9525 w 57393"/>
                  <a:gd name="connsiteY3" fmla="*/ 7204 h 100072"/>
                  <a:gd name="connsiteX4" fmla="*/ 4762 w 57393"/>
                  <a:gd name="connsiteY4" fmla="*/ 14347 h 100072"/>
                  <a:gd name="connsiteX5" fmla="*/ 0 w 57393"/>
                  <a:gd name="connsiteY5" fmla="*/ 28635 h 100072"/>
                  <a:gd name="connsiteX6" fmla="*/ 7143 w 57393"/>
                  <a:gd name="connsiteY6" fmla="*/ 59591 h 100072"/>
                  <a:gd name="connsiteX7" fmla="*/ 11906 w 57393"/>
                  <a:gd name="connsiteY7" fmla="*/ 66735 h 100072"/>
                  <a:gd name="connsiteX8" fmla="*/ 14287 w 57393"/>
                  <a:gd name="connsiteY8" fmla="*/ 73879 h 100072"/>
                  <a:gd name="connsiteX9" fmla="*/ 28575 w 57393"/>
                  <a:gd name="connsiteY9" fmla="*/ 85785 h 100072"/>
                  <a:gd name="connsiteX10" fmla="*/ 47625 w 57393"/>
                  <a:gd name="connsiteY10" fmla="*/ 97691 h 100072"/>
                  <a:gd name="connsiteX11" fmla="*/ 54768 w 57393"/>
                  <a:gd name="connsiteY11" fmla="*/ 100072 h 100072"/>
                  <a:gd name="connsiteX12" fmla="*/ 54768 w 57393"/>
                  <a:gd name="connsiteY12" fmla="*/ 85785 h 100072"/>
                  <a:gd name="connsiteX13" fmla="*/ 52387 w 57393"/>
                  <a:gd name="connsiteY13" fmla="*/ 11966 h 100072"/>
                  <a:gd name="connsiteX14" fmla="*/ 50006 w 57393"/>
                  <a:gd name="connsiteY14" fmla="*/ 4822 h 100072"/>
                  <a:gd name="connsiteX15" fmla="*/ 45243 w 57393"/>
                  <a:gd name="connsiteY15" fmla="*/ 60 h 10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393" h="100072">
                    <a:moveTo>
                      <a:pt x="45243" y="60"/>
                    </a:moveTo>
                    <a:cubicBezTo>
                      <a:pt x="41274" y="-337"/>
                      <a:pt x="32489" y="1296"/>
                      <a:pt x="26193" y="2441"/>
                    </a:cubicBezTo>
                    <a:cubicBezTo>
                      <a:pt x="23724" y="2890"/>
                      <a:pt x="21463" y="4132"/>
                      <a:pt x="19050" y="4822"/>
                    </a:cubicBezTo>
                    <a:cubicBezTo>
                      <a:pt x="15903" y="5721"/>
                      <a:pt x="12700" y="6410"/>
                      <a:pt x="9525" y="7204"/>
                    </a:cubicBezTo>
                    <a:cubicBezTo>
                      <a:pt x="7937" y="9585"/>
                      <a:pt x="5924" y="11732"/>
                      <a:pt x="4762" y="14347"/>
                    </a:cubicBezTo>
                    <a:cubicBezTo>
                      <a:pt x="2723" y="18935"/>
                      <a:pt x="0" y="28635"/>
                      <a:pt x="0" y="28635"/>
                    </a:cubicBezTo>
                    <a:cubicBezTo>
                      <a:pt x="1097" y="36318"/>
                      <a:pt x="2389" y="52461"/>
                      <a:pt x="7143" y="59591"/>
                    </a:cubicBezTo>
                    <a:lnTo>
                      <a:pt x="11906" y="66735"/>
                    </a:lnTo>
                    <a:cubicBezTo>
                      <a:pt x="12700" y="69116"/>
                      <a:pt x="12895" y="71790"/>
                      <a:pt x="14287" y="73879"/>
                    </a:cubicBezTo>
                    <a:cubicBezTo>
                      <a:pt x="17953" y="79377"/>
                      <a:pt x="23306" y="82272"/>
                      <a:pt x="28575" y="85785"/>
                    </a:cubicBezTo>
                    <a:cubicBezTo>
                      <a:pt x="36122" y="97106"/>
                      <a:pt x="30622" y="92024"/>
                      <a:pt x="47625" y="97691"/>
                    </a:cubicBezTo>
                    <a:lnTo>
                      <a:pt x="54768" y="100072"/>
                    </a:lnTo>
                    <a:cubicBezTo>
                      <a:pt x="60167" y="83881"/>
                      <a:pt x="55721" y="101977"/>
                      <a:pt x="54768" y="85785"/>
                    </a:cubicBezTo>
                    <a:cubicBezTo>
                      <a:pt x="53322" y="61208"/>
                      <a:pt x="53833" y="36543"/>
                      <a:pt x="52387" y="11966"/>
                    </a:cubicBezTo>
                    <a:cubicBezTo>
                      <a:pt x="52240" y="9460"/>
                      <a:pt x="50615" y="7257"/>
                      <a:pt x="50006" y="4822"/>
                    </a:cubicBezTo>
                    <a:cubicBezTo>
                      <a:pt x="49814" y="4052"/>
                      <a:pt x="49212" y="457"/>
                      <a:pt x="45243" y="6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299" name="Freeform 298"/>
              <p:cNvSpPr/>
              <p:nvPr/>
            </p:nvSpPr>
            <p:spPr>
              <a:xfrm>
                <a:off x="7098851" y="4293770"/>
                <a:ext cx="124647" cy="210575"/>
              </a:xfrm>
              <a:custGeom>
                <a:avLst/>
                <a:gdLst>
                  <a:gd name="connsiteX0" fmla="*/ 100068 w 124647"/>
                  <a:gd name="connsiteY0" fmla="*/ 1025 h 210575"/>
                  <a:gd name="connsiteX1" fmla="*/ 88162 w 124647"/>
                  <a:gd name="connsiteY1" fmla="*/ 8169 h 210575"/>
                  <a:gd name="connsiteX2" fmla="*/ 81018 w 124647"/>
                  <a:gd name="connsiteY2" fmla="*/ 12932 h 210575"/>
                  <a:gd name="connsiteX3" fmla="*/ 73874 w 124647"/>
                  <a:gd name="connsiteY3" fmla="*/ 15313 h 210575"/>
                  <a:gd name="connsiteX4" fmla="*/ 66730 w 124647"/>
                  <a:gd name="connsiteY4" fmla="*/ 20075 h 210575"/>
                  <a:gd name="connsiteX5" fmla="*/ 54824 w 124647"/>
                  <a:gd name="connsiteY5" fmla="*/ 22457 h 210575"/>
                  <a:gd name="connsiteX6" fmla="*/ 45299 w 124647"/>
                  <a:gd name="connsiteY6" fmla="*/ 27219 h 210575"/>
                  <a:gd name="connsiteX7" fmla="*/ 38155 w 124647"/>
                  <a:gd name="connsiteY7" fmla="*/ 31982 h 210575"/>
                  <a:gd name="connsiteX8" fmla="*/ 23868 w 124647"/>
                  <a:gd name="connsiteY8" fmla="*/ 39125 h 210575"/>
                  <a:gd name="connsiteX9" fmla="*/ 21487 w 124647"/>
                  <a:gd name="connsiteY9" fmla="*/ 89132 h 210575"/>
                  <a:gd name="connsiteX10" fmla="*/ 28630 w 124647"/>
                  <a:gd name="connsiteY10" fmla="*/ 108182 h 210575"/>
                  <a:gd name="connsiteX11" fmla="*/ 35774 w 124647"/>
                  <a:gd name="connsiteY11" fmla="*/ 122469 h 210575"/>
                  <a:gd name="connsiteX12" fmla="*/ 33393 w 124647"/>
                  <a:gd name="connsiteY12" fmla="*/ 143900 h 210575"/>
                  <a:gd name="connsiteX13" fmla="*/ 9580 w 124647"/>
                  <a:gd name="connsiteY13" fmla="*/ 146282 h 210575"/>
                  <a:gd name="connsiteX14" fmla="*/ 4818 w 124647"/>
                  <a:gd name="connsiteY14" fmla="*/ 153425 h 210575"/>
                  <a:gd name="connsiteX15" fmla="*/ 55 w 124647"/>
                  <a:gd name="connsiteY15" fmla="*/ 167713 h 210575"/>
                  <a:gd name="connsiteX16" fmla="*/ 2437 w 124647"/>
                  <a:gd name="connsiteY16" fmla="*/ 189144 h 210575"/>
                  <a:gd name="connsiteX17" fmla="*/ 9580 w 124647"/>
                  <a:gd name="connsiteY17" fmla="*/ 193907 h 210575"/>
                  <a:gd name="connsiteX18" fmla="*/ 61968 w 124647"/>
                  <a:gd name="connsiteY18" fmla="*/ 196288 h 210575"/>
                  <a:gd name="connsiteX19" fmla="*/ 69112 w 124647"/>
                  <a:gd name="connsiteY19" fmla="*/ 198669 h 210575"/>
                  <a:gd name="connsiteX20" fmla="*/ 83399 w 124647"/>
                  <a:gd name="connsiteY20" fmla="*/ 208194 h 210575"/>
                  <a:gd name="connsiteX21" fmla="*/ 90543 w 124647"/>
                  <a:gd name="connsiteY21" fmla="*/ 210575 h 210575"/>
                  <a:gd name="connsiteX22" fmla="*/ 102449 w 124647"/>
                  <a:gd name="connsiteY22" fmla="*/ 208194 h 210575"/>
                  <a:gd name="connsiteX23" fmla="*/ 100068 w 124647"/>
                  <a:gd name="connsiteY23" fmla="*/ 184382 h 210575"/>
                  <a:gd name="connsiteX24" fmla="*/ 92924 w 124647"/>
                  <a:gd name="connsiteY24" fmla="*/ 167713 h 210575"/>
                  <a:gd name="connsiteX25" fmla="*/ 83399 w 124647"/>
                  <a:gd name="connsiteY25" fmla="*/ 136757 h 210575"/>
                  <a:gd name="connsiteX26" fmla="*/ 81018 w 124647"/>
                  <a:gd name="connsiteY26" fmla="*/ 122469 h 210575"/>
                  <a:gd name="connsiteX27" fmla="*/ 90543 w 124647"/>
                  <a:gd name="connsiteY27" fmla="*/ 110563 h 210575"/>
                  <a:gd name="connsiteX28" fmla="*/ 97687 w 124647"/>
                  <a:gd name="connsiteY28" fmla="*/ 103419 h 210575"/>
                  <a:gd name="connsiteX29" fmla="*/ 111974 w 124647"/>
                  <a:gd name="connsiteY29" fmla="*/ 98657 h 210575"/>
                  <a:gd name="connsiteX30" fmla="*/ 121499 w 124647"/>
                  <a:gd name="connsiteY30" fmla="*/ 31982 h 210575"/>
                  <a:gd name="connsiteX31" fmla="*/ 100068 w 124647"/>
                  <a:gd name="connsiteY31" fmla="*/ 1025 h 2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4647" h="210575">
                    <a:moveTo>
                      <a:pt x="100068" y="1025"/>
                    </a:moveTo>
                    <a:cubicBezTo>
                      <a:pt x="94512" y="-2944"/>
                      <a:pt x="92087" y="5716"/>
                      <a:pt x="88162" y="8169"/>
                    </a:cubicBezTo>
                    <a:cubicBezTo>
                      <a:pt x="85735" y="9686"/>
                      <a:pt x="83578" y="11652"/>
                      <a:pt x="81018" y="12932"/>
                    </a:cubicBezTo>
                    <a:cubicBezTo>
                      <a:pt x="78773" y="14055"/>
                      <a:pt x="76119" y="14191"/>
                      <a:pt x="73874" y="15313"/>
                    </a:cubicBezTo>
                    <a:cubicBezTo>
                      <a:pt x="71314" y="16593"/>
                      <a:pt x="69410" y="19070"/>
                      <a:pt x="66730" y="20075"/>
                    </a:cubicBezTo>
                    <a:cubicBezTo>
                      <a:pt x="62940" y="21496"/>
                      <a:pt x="58793" y="21663"/>
                      <a:pt x="54824" y="22457"/>
                    </a:cubicBezTo>
                    <a:cubicBezTo>
                      <a:pt x="51649" y="24044"/>
                      <a:pt x="48381" y="25458"/>
                      <a:pt x="45299" y="27219"/>
                    </a:cubicBezTo>
                    <a:cubicBezTo>
                      <a:pt x="42814" y="28639"/>
                      <a:pt x="40715" y="30702"/>
                      <a:pt x="38155" y="31982"/>
                    </a:cubicBezTo>
                    <a:cubicBezTo>
                      <a:pt x="18429" y="41846"/>
                      <a:pt x="44352" y="25471"/>
                      <a:pt x="23868" y="39125"/>
                    </a:cubicBezTo>
                    <a:cubicBezTo>
                      <a:pt x="11421" y="57794"/>
                      <a:pt x="17677" y="45316"/>
                      <a:pt x="21487" y="89132"/>
                    </a:cubicBezTo>
                    <a:cubicBezTo>
                      <a:pt x="22938" y="105812"/>
                      <a:pt x="22678" y="96279"/>
                      <a:pt x="28630" y="108182"/>
                    </a:cubicBezTo>
                    <a:cubicBezTo>
                      <a:pt x="38489" y="127899"/>
                      <a:pt x="22126" y="101995"/>
                      <a:pt x="35774" y="122469"/>
                    </a:cubicBezTo>
                    <a:cubicBezTo>
                      <a:pt x="34980" y="129613"/>
                      <a:pt x="38711" y="139065"/>
                      <a:pt x="33393" y="143900"/>
                    </a:cubicBezTo>
                    <a:cubicBezTo>
                      <a:pt x="27490" y="149266"/>
                      <a:pt x="17148" y="143759"/>
                      <a:pt x="9580" y="146282"/>
                    </a:cubicBezTo>
                    <a:cubicBezTo>
                      <a:pt x="6865" y="147187"/>
                      <a:pt x="6405" y="151044"/>
                      <a:pt x="4818" y="153425"/>
                    </a:cubicBezTo>
                    <a:cubicBezTo>
                      <a:pt x="3230" y="158188"/>
                      <a:pt x="-500" y="162723"/>
                      <a:pt x="55" y="167713"/>
                    </a:cubicBezTo>
                    <a:cubicBezTo>
                      <a:pt x="849" y="174857"/>
                      <a:pt x="-19" y="182389"/>
                      <a:pt x="2437" y="189144"/>
                    </a:cubicBezTo>
                    <a:cubicBezTo>
                      <a:pt x="3415" y="191833"/>
                      <a:pt x="6739" y="193566"/>
                      <a:pt x="9580" y="193907"/>
                    </a:cubicBezTo>
                    <a:cubicBezTo>
                      <a:pt x="26936" y="195990"/>
                      <a:pt x="44505" y="195494"/>
                      <a:pt x="61968" y="196288"/>
                    </a:cubicBezTo>
                    <a:cubicBezTo>
                      <a:pt x="64349" y="197082"/>
                      <a:pt x="66918" y="197450"/>
                      <a:pt x="69112" y="198669"/>
                    </a:cubicBezTo>
                    <a:cubicBezTo>
                      <a:pt x="74115" y="201449"/>
                      <a:pt x="77969" y="206384"/>
                      <a:pt x="83399" y="208194"/>
                    </a:cubicBezTo>
                    <a:lnTo>
                      <a:pt x="90543" y="210575"/>
                    </a:lnTo>
                    <a:cubicBezTo>
                      <a:pt x="94512" y="209781"/>
                      <a:pt x="101066" y="211998"/>
                      <a:pt x="102449" y="208194"/>
                    </a:cubicBezTo>
                    <a:cubicBezTo>
                      <a:pt x="105175" y="200697"/>
                      <a:pt x="101281" y="192266"/>
                      <a:pt x="100068" y="184382"/>
                    </a:cubicBezTo>
                    <a:cubicBezTo>
                      <a:pt x="99109" y="178150"/>
                      <a:pt x="95211" y="173430"/>
                      <a:pt x="92924" y="167713"/>
                    </a:cubicBezTo>
                    <a:cubicBezTo>
                      <a:pt x="90560" y="161804"/>
                      <a:pt x="84678" y="142298"/>
                      <a:pt x="83399" y="136757"/>
                    </a:cubicBezTo>
                    <a:cubicBezTo>
                      <a:pt x="82313" y="132052"/>
                      <a:pt x="81812" y="127232"/>
                      <a:pt x="81018" y="122469"/>
                    </a:cubicBezTo>
                    <a:cubicBezTo>
                      <a:pt x="84927" y="110741"/>
                      <a:pt x="80600" y="118848"/>
                      <a:pt x="90543" y="110563"/>
                    </a:cubicBezTo>
                    <a:cubicBezTo>
                      <a:pt x="93130" y="108407"/>
                      <a:pt x="94743" y="105054"/>
                      <a:pt x="97687" y="103419"/>
                    </a:cubicBezTo>
                    <a:cubicBezTo>
                      <a:pt x="102075" y="100981"/>
                      <a:pt x="111974" y="98657"/>
                      <a:pt x="111974" y="98657"/>
                    </a:cubicBezTo>
                    <a:cubicBezTo>
                      <a:pt x="136589" y="82246"/>
                      <a:pt x="116937" y="98135"/>
                      <a:pt x="121499" y="31982"/>
                    </a:cubicBezTo>
                    <a:cubicBezTo>
                      <a:pt x="124131" y="-6185"/>
                      <a:pt x="105624" y="4994"/>
                      <a:pt x="100068" y="10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0" name="Freeform 299"/>
              <p:cNvSpPr/>
              <p:nvPr/>
            </p:nvSpPr>
            <p:spPr>
              <a:xfrm>
                <a:off x="7191309" y="4247170"/>
                <a:ext cx="162391" cy="323850"/>
              </a:xfrm>
              <a:custGeom>
                <a:avLst/>
                <a:gdLst>
                  <a:gd name="connsiteX0" fmla="*/ 100479 w 162391"/>
                  <a:gd name="connsiteY0" fmla="*/ 0 h 323850"/>
                  <a:gd name="connsiteX1" fmla="*/ 83810 w 162391"/>
                  <a:gd name="connsiteY1" fmla="*/ 16669 h 323850"/>
                  <a:gd name="connsiteX2" fmla="*/ 76666 w 162391"/>
                  <a:gd name="connsiteY2" fmla="*/ 23813 h 323850"/>
                  <a:gd name="connsiteX3" fmla="*/ 69522 w 162391"/>
                  <a:gd name="connsiteY3" fmla="*/ 38100 h 323850"/>
                  <a:gd name="connsiteX4" fmla="*/ 67141 w 162391"/>
                  <a:gd name="connsiteY4" fmla="*/ 54769 h 323850"/>
                  <a:gd name="connsiteX5" fmla="*/ 64760 w 162391"/>
                  <a:gd name="connsiteY5" fmla="*/ 64294 h 323850"/>
                  <a:gd name="connsiteX6" fmla="*/ 62379 w 162391"/>
                  <a:gd name="connsiteY6" fmla="*/ 80963 h 323850"/>
                  <a:gd name="connsiteX7" fmla="*/ 59997 w 162391"/>
                  <a:gd name="connsiteY7" fmla="*/ 88107 h 323850"/>
                  <a:gd name="connsiteX8" fmla="*/ 57616 w 162391"/>
                  <a:gd name="connsiteY8" fmla="*/ 97632 h 323850"/>
                  <a:gd name="connsiteX9" fmla="*/ 55235 w 162391"/>
                  <a:gd name="connsiteY9" fmla="*/ 140494 h 323850"/>
                  <a:gd name="connsiteX10" fmla="*/ 50472 w 162391"/>
                  <a:gd name="connsiteY10" fmla="*/ 157163 h 323850"/>
                  <a:gd name="connsiteX11" fmla="*/ 48091 w 162391"/>
                  <a:gd name="connsiteY11" fmla="*/ 171450 h 323850"/>
                  <a:gd name="connsiteX12" fmla="*/ 45710 w 162391"/>
                  <a:gd name="connsiteY12" fmla="*/ 223838 h 323850"/>
                  <a:gd name="connsiteX13" fmla="*/ 43329 w 162391"/>
                  <a:gd name="connsiteY13" fmla="*/ 230982 h 323850"/>
                  <a:gd name="connsiteX14" fmla="*/ 38566 w 162391"/>
                  <a:gd name="connsiteY14" fmla="*/ 238125 h 323850"/>
                  <a:gd name="connsiteX15" fmla="*/ 29041 w 162391"/>
                  <a:gd name="connsiteY15" fmla="*/ 259557 h 323850"/>
                  <a:gd name="connsiteX16" fmla="*/ 21897 w 162391"/>
                  <a:gd name="connsiteY16" fmla="*/ 264319 h 323850"/>
                  <a:gd name="connsiteX17" fmla="*/ 9991 w 162391"/>
                  <a:gd name="connsiteY17" fmla="*/ 278607 h 323850"/>
                  <a:gd name="connsiteX18" fmla="*/ 7610 w 162391"/>
                  <a:gd name="connsiteY18" fmla="*/ 285750 h 323850"/>
                  <a:gd name="connsiteX19" fmla="*/ 466 w 162391"/>
                  <a:gd name="connsiteY19" fmla="*/ 297657 h 323850"/>
                  <a:gd name="connsiteX20" fmla="*/ 2847 w 162391"/>
                  <a:gd name="connsiteY20" fmla="*/ 321469 h 323850"/>
                  <a:gd name="connsiteX21" fmla="*/ 9991 w 162391"/>
                  <a:gd name="connsiteY21" fmla="*/ 323850 h 323850"/>
                  <a:gd name="connsiteX22" fmla="*/ 43329 w 162391"/>
                  <a:gd name="connsiteY22" fmla="*/ 321469 h 323850"/>
                  <a:gd name="connsiteX23" fmla="*/ 50472 w 162391"/>
                  <a:gd name="connsiteY23" fmla="*/ 319088 h 323850"/>
                  <a:gd name="connsiteX24" fmla="*/ 59997 w 162391"/>
                  <a:gd name="connsiteY24" fmla="*/ 316707 h 323850"/>
                  <a:gd name="connsiteX25" fmla="*/ 67141 w 162391"/>
                  <a:gd name="connsiteY25" fmla="*/ 278607 h 323850"/>
                  <a:gd name="connsiteX26" fmla="*/ 74285 w 162391"/>
                  <a:gd name="connsiteY26" fmla="*/ 264319 h 323850"/>
                  <a:gd name="connsiteX27" fmla="*/ 81429 w 162391"/>
                  <a:gd name="connsiteY27" fmla="*/ 261938 h 323850"/>
                  <a:gd name="connsiteX28" fmla="*/ 83810 w 162391"/>
                  <a:gd name="connsiteY28" fmla="*/ 254794 h 323850"/>
                  <a:gd name="connsiteX29" fmla="*/ 90954 w 162391"/>
                  <a:gd name="connsiteY29" fmla="*/ 250032 h 323850"/>
                  <a:gd name="connsiteX30" fmla="*/ 98097 w 162391"/>
                  <a:gd name="connsiteY30" fmla="*/ 247650 h 323850"/>
                  <a:gd name="connsiteX31" fmla="*/ 143341 w 162391"/>
                  <a:gd name="connsiteY31" fmla="*/ 245269 h 323850"/>
                  <a:gd name="connsiteX32" fmla="*/ 145722 w 162391"/>
                  <a:gd name="connsiteY32" fmla="*/ 235744 h 323850"/>
                  <a:gd name="connsiteX33" fmla="*/ 143341 w 162391"/>
                  <a:gd name="connsiteY33" fmla="*/ 197644 h 323850"/>
                  <a:gd name="connsiteX34" fmla="*/ 136197 w 162391"/>
                  <a:gd name="connsiteY34" fmla="*/ 188119 h 323850"/>
                  <a:gd name="connsiteX35" fmla="*/ 121910 w 162391"/>
                  <a:gd name="connsiteY35" fmla="*/ 178594 h 323850"/>
                  <a:gd name="connsiteX36" fmla="*/ 114766 w 162391"/>
                  <a:gd name="connsiteY36" fmla="*/ 173832 h 323850"/>
                  <a:gd name="connsiteX37" fmla="*/ 100479 w 162391"/>
                  <a:gd name="connsiteY37" fmla="*/ 166688 h 323850"/>
                  <a:gd name="connsiteX38" fmla="*/ 102860 w 162391"/>
                  <a:gd name="connsiteY38" fmla="*/ 95250 h 323850"/>
                  <a:gd name="connsiteX39" fmla="*/ 117147 w 162391"/>
                  <a:gd name="connsiteY39" fmla="*/ 90488 h 323850"/>
                  <a:gd name="connsiteX40" fmla="*/ 124291 w 162391"/>
                  <a:gd name="connsiteY40" fmla="*/ 88107 h 323850"/>
                  <a:gd name="connsiteX41" fmla="*/ 133816 w 162391"/>
                  <a:gd name="connsiteY41" fmla="*/ 83344 h 323850"/>
                  <a:gd name="connsiteX42" fmla="*/ 148104 w 162391"/>
                  <a:gd name="connsiteY42" fmla="*/ 80963 h 323850"/>
                  <a:gd name="connsiteX43" fmla="*/ 155247 w 162391"/>
                  <a:gd name="connsiteY43" fmla="*/ 76200 h 323850"/>
                  <a:gd name="connsiteX44" fmla="*/ 157629 w 162391"/>
                  <a:gd name="connsiteY44" fmla="*/ 69057 h 323850"/>
                  <a:gd name="connsiteX45" fmla="*/ 162391 w 162391"/>
                  <a:gd name="connsiteY45" fmla="*/ 52388 h 323850"/>
                  <a:gd name="connsiteX46" fmla="*/ 157629 w 162391"/>
                  <a:gd name="connsiteY46" fmla="*/ 35719 h 323850"/>
                  <a:gd name="connsiteX47" fmla="*/ 143341 w 162391"/>
                  <a:gd name="connsiteY47" fmla="*/ 21432 h 323850"/>
                  <a:gd name="connsiteX48" fmla="*/ 129054 w 162391"/>
                  <a:gd name="connsiteY48" fmla="*/ 11907 h 323850"/>
                  <a:gd name="connsiteX49" fmla="*/ 121910 w 162391"/>
                  <a:gd name="connsiteY49" fmla="*/ 7144 h 323850"/>
                  <a:gd name="connsiteX50" fmla="*/ 100479 w 162391"/>
                  <a:gd name="connsiteY50"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2391" h="323850">
                    <a:moveTo>
                      <a:pt x="100479" y="0"/>
                    </a:moveTo>
                    <a:cubicBezTo>
                      <a:pt x="76237" y="19392"/>
                      <a:pt x="97078" y="747"/>
                      <a:pt x="83810" y="16669"/>
                    </a:cubicBezTo>
                    <a:cubicBezTo>
                      <a:pt x="81654" y="19256"/>
                      <a:pt x="78822" y="21226"/>
                      <a:pt x="76666" y="23813"/>
                    </a:cubicBezTo>
                    <a:cubicBezTo>
                      <a:pt x="71539" y="29966"/>
                      <a:pt x="71909" y="30943"/>
                      <a:pt x="69522" y="38100"/>
                    </a:cubicBezTo>
                    <a:cubicBezTo>
                      <a:pt x="68728" y="43656"/>
                      <a:pt x="68145" y="49247"/>
                      <a:pt x="67141" y="54769"/>
                    </a:cubicBezTo>
                    <a:cubicBezTo>
                      <a:pt x="66556" y="57989"/>
                      <a:pt x="65345" y="61074"/>
                      <a:pt x="64760" y="64294"/>
                    </a:cubicBezTo>
                    <a:cubicBezTo>
                      <a:pt x="63756" y="69816"/>
                      <a:pt x="63480" y="75459"/>
                      <a:pt x="62379" y="80963"/>
                    </a:cubicBezTo>
                    <a:cubicBezTo>
                      <a:pt x="61887" y="83424"/>
                      <a:pt x="60687" y="85693"/>
                      <a:pt x="59997" y="88107"/>
                    </a:cubicBezTo>
                    <a:cubicBezTo>
                      <a:pt x="59098" y="91254"/>
                      <a:pt x="58410" y="94457"/>
                      <a:pt x="57616" y="97632"/>
                    </a:cubicBezTo>
                    <a:cubicBezTo>
                      <a:pt x="56822" y="111919"/>
                      <a:pt x="56530" y="126243"/>
                      <a:pt x="55235" y="140494"/>
                    </a:cubicBezTo>
                    <a:cubicBezTo>
                      <a:pt x="54861" y="144610"/>
                      <a:pt x="51883" y="152931"/>
                      <a:pt x="50472" y="157163"/>
                    </a:cubicBezTo>
                    <a:cubicBezTo>
                      <a:pt x="49678" y="161925"/>
                      <a:pt x="48435" y="166634"/>
                      <a:pt x="48091" y="171450"/>
                    </a:cubicBezTo>
                    <a:cubicBezTo>
                      <a:pt x="46846" y="188886"/>
                      <a:pt x="47104" y="206413"/>
                      <a:pt x="45710" y="223838"/>
                    </a:cubicBezTo>
                    <a:cubicBezTo>
                      <a:pt x="45510" y="226340"/>
                      <a:pt x="44452" y="228737"/>
                      <a:pt x="43329" y="230982"/>
                    </a:cubicBezTo>
                    <a:cubicBezTo>
                      <a:pt x="42049" y="233542"/>
                      <a:pt x="40154" y="235744"/>
                      <a:pt x="38566" y="238125"/>
                    </a:cubicBezTo>
                    <a:cubicBezTo>
                      <a:pt x="36208" y="245200"/>
                      <a:pt x="34702" y="253896"/>
                      <a:pt x="29041" y="259557"/>
                    </a:cubicBezTo>
                    <a:cubicBezTo>
                      <a:pt x="27017" y="261581"/>
                      <a:pt x="24096" y="262487"/>
                      <a:pt x="21897" y="264319"/>
                    </a:cubicBezTo>
                    <a:cubicBezTo>
                      <a:pt x="15024" y="270046"/>
                      <a:pt x="14672" y="271585"/>
                      <a:pt x="9991" y="278607"/>
                    </a:cubicBezTo>
                    <a:cubicBezTo>
                      <a:pt x="9197" y="280988"/>
                      <a:pt x="8732" y="283505"/>
                      <a:pt x="7610" y="285750"/>
                    </a:cubicBezTo>
                    <a:cubicBezTo>
                      <a:pt x="5540" y="289890"/>
                      <a:pt x="1078" y="293069"/>
                      <a:pt x="466" y="297657"/>
                    </a:cubicBezTo>
                    <a:cubicBezTo>
                      <a:pt x="-588" y="305564"/>
                      <a:pt x="121" y="313972"/>
                      <a:pt x="2847" y="321469"/>
                    </a:cubicBezTo>
                    <a:cubicBezTo>
                      <a:pt x="3705" y="323828"/>
                      <a:pt x="7610" y="323056"/>
                      <a:pt x="9991" y="323850"/>
                    </a:cubicBezTo>
                    <a:cubicBezTo>
                      <a:pt x="21104" y="323056"/>
                      <a:pt x="32264" y="322771"/>
                      <a:pt x="43329" y="321469"/>
                    </a:cubicBezTo>
                    <a:cubicBezTo>
                      <a:pt x="45822" y="321176"/>
                      <a:pt x="48059" y="319777"/>
                      <a:pt x="50472" y="319088"/>
                    </a:cubicBezTo>
                    <a:cubicBezTo>
                      <a:pt x="53619" y="318189"/>
                      <a:pt x="56822" y="317501"/>
                      <a:pt x="59997" y="316707"/>
                    </a:cubicBezTo>
                    <a:cubicBezTo>
                      <a:pt x="62716" y="294962"/>
                      <a:pt x="61313" y="299979"/>
                      <a:pt x="67141" y="278607"/>
                    </a:cubicBezTo>
                    <a:cubicBezTo>
                      <a:pt x="68345" y="274192"/>
                      <a:pt x="70503" y="267344"/>
                      <a:pt x="74285" y="264319"/>
                    </a:cubicBezTo>
                    <a:cubicBezTo>
                      <a:pt x="76245" y="262751"/>
                      <a:pt x="79048" y="262732"/>
                      <a:pt x="81429" y="261938"/>
                    </a:cubicBezTo>
                    <a:cubicBezTo>
                      <a:pt x="82223" y="259557"/>
                      <a:pt x="82242" y="256754"/>
                      <a:pt x="83810" y="254794"/>
                    </a:cubicBezTo>
                    <a:cubicBezTo>
                      <a:pt x="85598" y="252559"/>
                      <a:pt x="88394" y="251312"/>
                      <a:pt x="90954" y="250032"/>
                    </a:cubicBezTo>
                    <a:cubicBezTo>
                      <a:pt x="93199" y="248909"/>
                      <a:pt x="95597" y="247877"/>
                      <a:pt x="98097" y="247650"/>
                    </a:cubicBezTo>
                    <a:cubicBezTo>
                      <a:pt x="113137" y="246283"/>
                      <a:pt x="128260" y="246063"/>
                      <a:pt x="143341" y="245269"/>
                    </a:cubicBezTo>
                    <a:cubicBezTo>
                      <a:pt x="144135" y="242094"/>
                      <a:pt x="145722" y="239017"/>
                      <a:pt x="145722" y="235744"/>
                    </a:cubicBezTo>
                    <a:cubicBezTo>
                      <a:pt x="145722" y="223019"/>
                      <a:pt x="145837" y="210122"/>
                      <a:pt x="143341" y="197644"/>
                    </a:cubicBezTo>
                    <a:cubicBezTo>
                      <a:pt x="142563" y="193752"/>
                      <a:pt x="139163" y="190756"/>
                      <a:pt x="136197" y="188119"/>
                    </a:cubicBezTo>
                    <a:cubicBezTo>
                      <a:pt x="131919" y="184316"/>
                      <a:pt x="126672" y="181769"/>
                      <a:pt x="121910" y="178594"/>
                    </a:cubicBezTo>
                    <a:cubicBezTo>
                      <a:pt x="119529" y="177007"/>
                      <a:pt x="117481" y="174737"/>
                      <a:pt x="114766" y="173832"/>
                    </a:cubicBezTo>
                    <a:cubicBezTo>
                      <a:pt x="104907" y="170545"/>
                      <a:pt x="109711" y="172842"/>
                      <a:pt x="100479" y="166688"/>
                    </a:cubicBezTo>
                    <a:cubicBezTo>
                      <a:pt x="101273" y="142875"/>
                      <a:pt x="97769" y="118526"/>
                      <a:pt x="102860" y="95250"/>
                    </a:cubicBezTo>
                    <a:cubicBezTo>
                      <a:pt x="103933" y="90346"/>
                      <a:pt x="112385" y="92075"/>
                      <a:pt x="117147" y="90488"/>
                    </a:cubicBezTo>
                    <a:cubicBezTo>
                      <a:pt x="119528" y="89694"/>
                      <a:pt x="122046" y="89230"/>
                      <a:pt x="124291" y="88107"/>
                    </a:cubicBezTo>
                    <a:cubicBezTo>
                      <a:pt x="127466" y="86519"/>
                      <a:pt x="130416" y="84364"/>
                      <a:pt x="133816" y="83344"/>
                    </a:cubicBezTo>
                    <a:cubicBezTo>
                      <a:pt x="138441" y="81957"/>
                      <a:pt x="143341" y="81757"/>
                      <a:pt x="148104" y="80963"/>
                    </a:cubicBezTo>
                    <a:cubicBezTo>
                      <a:pt x="150485" y="79375"/>
                      <a:pt x="153459" y="78435"/>
                      <a:pt x="155247" y="76200"/>
                    </a:cubicBezTo>
                    <a:cubicBezTo>
                      <a:pt x="156815" y="74240"/>
                      <a:pt x="156939" y="71470"/>
                      <a:pt x="157629" y="69057"/>
                    </a:cubicBezTo>
                    <a:cubicBezTo>
                      <a:pt x="163620" y="48092"/>
                      <a:pt x="156673" y="69543"/>
                      <a:pt x="162391" y="52388"/>
                    </a:cubicBezTo>
                    <a:cubicBezTo>
                      <a:pt x="162214" y="51681"/>
                      <a:pt x="158887" y="37337"/>
                      <a:pt x="157629" y="35719"/>
                    </a:cubicBezTo>
                    <a:cubicBezTo>
                      <a:pt x="153494" y="30403"/>
                      <a:pt x="148945" y="25168"/>
                      <a:pt x="143341" y="21432"/>
                    </a:cubicBezTo>
                    <a:lnTo>
                      <a:pt x="129054" y="11907"/>
                    </a:lnTo>
                    <a:cubicBezTo>
                      <a:pt x="126673" y="10319"/>
                      <a:pt x="123934" y="9168"/>
                      <a:pt x="121910" y="7144"/>
                    </a:cubicBezTo>
                    <a:lnTo>
                      <a:pt x="100479" y="0"/>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1" name="Freeform 300"/>
              <p:cNvSpPr/>
              <p:nvPr/>
            </p:nvSpPr>
            <p:spPr>
              <a:xfrm>
                <a:off x="7267926" y="4128108"/>
                <a:ext cx="83393" cy="85725"/>
              </a:xfrm>
              <a:custGeom>
                <a:avLst/>
                <a:gdLst>
                  <a:gd name="connsiteX0" fmla="*/ 66724 w 83393"/>
                  <a:gd name="connsiteY0" fmla="*/ 7144 h 85725"/>
                  <a:gd name="connsiteX1" fmla="*/ 42912 w 83393"/>
                  <a:gd name="connsiteY1" fmla="*/ 4762 h 85725"/>
                  <a:gd name="connsiteX2" fmla="*/ 35768 w 83393"/>
                  <a:gd name="connsiteY2" fmla="*/ 2381 h 85725"/>
                  <a:gd name="connsiteX3" fmla="*/ 26243 w 83393"/>
                  <a:gd name="connsiteY3" fmla="*/ 0 h 85725"/>
                  <a:gd name="connsiteX4" fmla="*/ 2430 w 83393"/>
                  <a:gd name="connsiteY4" fmla="*/ 2381 h 85725"/>
                  <a:gd name="connsiteX5" fmla="*/ 49 w 83393"/>
                  <a:gd name="connsiteY5" fmla="*/ 11906 h 85725"/>
                  <a:gd name="connsiteX6" fmla="*/ 7193 w 83393"/>
                  <a:gd name="connsiteY6" fmla="*/ 26194 h 85725"/>
                  <a:gd name="connsiteX7" fmla="*/ 14337 w 83393"/>
                  <a:gd name="connsiteY7" fmla="*/ 30956 h 85725"/>
                  <a:gd name="connsiteX8" fmla="*/ 23862 w 83393"/>
                  <a:gd name="connsiteY8" fmla="*/ 52387 h 85725"/>
                  <a:gd name="connsiteX9" fmla="*/ 26243 w 83393"/>
                  <a:gd name="connsiteY9" fmla="*/ 59531 h 85725"/>
                  <a:gd name="connsiteX10" fmla="*/ 54818 w 83393"/>
                  <a:gd name="connsiteY10" fmla="*/ 83344 h 85725"/>
                  <a:gd name="connsiteX11" fmla="*/ 61962 w 83393"/>
                  <a:gd name="connsiteY11" fmla="*/ 85725 h 85725"/>
                  <a:gd name="connsiteX12" fmla="*/ 71487 w 83393"/>
                  <a:gd name="connsiteY12" fmla="*/ 83344 h 85725"/>
                  <a:gd name="connsiteX13" fmla="*/ 78630 w 83393"/>
                  <a:gd name="connsiteY13" fmla="*/ 69056 h 85725"/>
                  <a:gd name="connsiteX14" fmla="*/ 83393 w 83393"/>
                  <a:gd name="connsiteY14" fmla="*/ 59531 h 85725"/>
                  <a:gd name="connsiteX15" fmla="*/ 81012 w 83393"/>
                  <a:gd name="connsiteY15" fmla="*/ 23812 h 85725"/>
                  <a:gd name="connsiteX16" fmla="*/ 66724 w 83393"/>
                  <a:gd name="connsiteY16"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393" h="85725">
                    <a:moveTo>
                      <a:pt x="66724" y="7144"/>
                    </a:moveTo>
                    <a:cubicBezTo>
                      <a:pt x="60374" y="3969"/>
                      <a:pt x="50796" y="5975"/>
                      <a:pt x="42912" y="4762"/>
                    </a:cubicBezTo>
                    <a:cubicBezTo>
                      <a:pt x="40431" y="4380"/>
                      <a:pt x="38182" y="3071"/>
                      <a:pt x="35768" y="2381"/>
                    </a:cubicBezTo>
                    <a:cubicBezTo>
                      <a:pt x="32621" y="1482"/>
                      <a:pt x="29418" y="794"/>
                      <a:pt x="26243" y="0"/>
                    </a:cubicBezTo>
                    <a:cubicBezTo>
                      <a:pt x="18305" y="794"/>
                      <a:pt x="9692" y="-920"/>
                      <a:pt x="2430" y="2381"/>
                    </a:cubicBezTo>
                    <a:cubicBezTo>
                      <a:pt x="-549" y="3735"/>
                      <a:pt x="49" y="8633"/>
                      <a:pt x="49" y="11906"/>
                    </a:cubicBezTo>
                    <a:cubicBezTo>
                      <a:pt x="49" y="15780"/>
                      <a:pt x="4784" y="23785"/>
                      <a:pt x="7193" y="26194"/>
                    </a:cubicBezTo>
                    <a:cubicBezTo>
                      <a:pt x="9217" y="28218"/>
                      <a:pt x="11956" y="29369"/>
                      <a:pt x="14337" y="30956"/>
                    </a:cubicBezTo>
                    <a:cubicBezTo>
                      <a:pt x="20004" y="47959"/>
                      <a:pt x="16314" y="41067"/>
                      <a:pt x="23862" y="52387"/>
                    </a:cubicBezTo>
                    <a:cubicBezTo>
                      <a:pt x="24656" y="54768"/>
                      <a:pt x="24702" y="57550"/>
                      <a:pt x="26243" y="59531"/>
                    </a:cubicBezTo>
                    <a:cubicBezTo>
                      <a:pt x="30886" y="65501"/>
                      <a:pt x="46562" y="80592"/>
                      <a:pt x="54818" y="83344"/>
                    </a:cubicBezTo>
                    <a:lnTo>
                      <a:pt x="61962" y="85725"/>
                    </a:lnTo>
                    <a:cubicBezTo>
                      <a:pt x="65137" y="84931"/>
                      <a:pt x="68764" y="85159"/>
                      <a:pt x="71487" y="83344"/>
                    </a:cubicBezTo>
                    <a:cubicBezTo>
                      <a:pt x="76063" y="80293"/>
                      <a:pt x="76728" y="73493"/>
                      <a:pt x="78630" y="69056"/>
                    </a:cubicBezTo>
                    <a:cubicBezTo>
                      <a:pt x="80028" y="65793"/>
                      <a:pt x="81805" y="62706"/>
                      <a:pt x="83393" y="59531"/>
                    </a:cubicBezTo>
                    <a:cubicBezTo>
                      <a:pt x="82599" y="47625"/>
                      <a:pt x="82974" y="35582"/>
                      <a:pt x="81012" y="23812"/>
                    </a:cubicBezTo>
                    <a:cubicBezTo>
                      <a:pt x="80542" y="20989"/>
                      <a:pt x="73074" y="10319"/>
                      <a:pt x="66724" y="714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2" name="Freeform 301"/>
              <p:cNvSpPr/>
              <p:nvPr/>
            </p:nvSpPr>
            <p:spPr>
              <a:xfrm>
                <a:off x="6227369" y="3358956"/>
                <a:ext cx="291273" cy="676283"/>
              </a:xfrm>
              <a:custGeom>
                <a:avLst/>
                <a:gdLst>
                  <a:gd name="connsiteX0" fmla="*/ 202406 w 291273"/>
                  <a:gd name="connsiteY0" fmla="*/ 8 h 676283"/>
                  <a:gd name="connsiteX1" fmla="*/ 192881 w 291273"/>
                  <a:gd name="connsiteY1" fmla="*/ 19058 h 676283"/>
                  <a:gd name="connsiteX2" fmla="*/ 185737 w 291273"/>
                  <a:gd name="connsiteY2" fmla="*/ 23821 h 676283"/>
                  <a:gd name="connsiteX3" fmla="*/ 178594 w 291273"/>
                  <a:gd name="connsiteY3" fmla="*/ 26202 h 676283"/>
                  <a:gd name="connsiteX4" fmla="*/ 171450 w 291273"/>
                  <a:gd name="connsiteY4" fmla="*/ 40489 h 676283"/>
                  <a:gd name="connsiteX5" fmla="*/ 166687 w 291273"/>
                  <a:gd name="connsiteY5" fmla="*/ 54777 h 676283"/>
                  <a:gd name="connsiteX6" fmla="*/ 164306 w 291273"/>
                  <a:gd name="connsiteY6" fmla="*/ 61921 h 676283"/>
                  <a:gd name="connsiteX7" fmla="*/ 152400 w 291273"/>
                  <a:gd name="connsiteY7" fmla="*/ 76208 h 676283"/>
                  <a:gd name="connsiteX8" fmla="*/ 142875 w 291273"/>
                  <a:gd name="connsiteY8" fmla="*/ 90496 h 676283"/>
                  <a:gd name="connsiteX9" fmla="*/ 138112 w 291273"/>
                  <a:gd name="connsiteY9" fmla="*/ 104783 h 676283"/>
                  <a:gd name="connsiteX10" fmla="*/ 150019 w 291273"/>
                  <a:gd name="connsiteY10" fmla="*/ 133358 h 676283"/>
                  <a:gd name="connsiteX11" fmla="*/ 154781 w 291273"/>
                  <a:gd name="connsiteY11" fmla="*/ 173839 h 676283"/>
                  <a:gd name="connsiteX12" fmla="*/ 152400 w 291273"/>
                  <a:gd name="connsiteY12" fmla="*/ 214321 h 676283"/>
                  <a:gd name="connsiteX13" fmla="*/ 147637 w 291273"/>
                  <a:gd name="connsiteY13" fmla="*/ 228608 h 676283"/>
                  <a:gd name="connsiteX14" fmla="*/ 145256 w 291273"/>
                  <a:gd name="connsiteY14" fmla="*/ 235752 h 676283"/>
                  <a:gd name="connsiteX15" fmla="*/ 140494 w 291273"/>
                  <a:gd name="connsiteY15" fmla="*/ 242896 h 676283"/>
                  <a:gd name="connsiteX16" fmla="*/ 135731 w 291273"/>
                  <a:gd name="connsiteY16" fmla="*/ 257183 h 676283"/>
                  <a:gd name="connsiteX17" fmla="*/ 128587 w 291273"/>
                  <a:gd name="connsiteY17" fmla="*/ 271471 h 676283"/>
                  <a:gd name="connsiteX18" fmla="*/ 121444 w 291273"/>
                  <a:gd name="connsiteY18" fmla="*/ 276233 h 676283"/>
                  <a:gd name="connsiteX19" fmla="*/ 119062 w 291273"/>
                  <a:gd name="connsiteY19" fmla="*/ 283377 h 676283"/>
                  <a:gd name="connsiteX20" fmla="*/ 109537 w 291273"/>
                  <a:gd name="connsiteY20" fmla="*/ 300046 h 676283"/>
                  <a:gd name="connsiteX21" fmla="*/ 97631 w 291273"/>
                  <a:gd name="connsiteY21" fmla="*/ 335764 h 676283"/>
                  <a:gd name="connsiteX22" fmla="*/ 95250 w 291273"/>
                  <a:gd name="connsiteY22" fmla="*/ 342908 h 676283"/>
                  <a:gd name="connsiteX23" fmla="*/ 92869 w 291273"/>
                  <a:gd name="connsiteY23" fmla="*/ 350052 h 676283"/>
                  <a:gd name="connsiteX24" fmla="*/ 88106 w 291273"/>
                  <a:gd name="connsiteY24" fmla="*/ 376246 h 676283"/>
                  <a:gd name="connsiteX25" fmla="*/ 90487 w 291273"/>
                  <a:gd name="connsiteY25" fmla="*/ 404821 h 676283"/>
                  <a:gd name="connsiteX26" fmla="*/ 90487 w 291273"/>
                  <a:gd name="connsiteY26" fmla="*/ 419108 h 676283"/>
                  <a:gd name="connsiteX27" fmla="*/ 69056 w 291273"/>
                  <a:gd name="connsiteY27" fmla="*/ 426252 h 676283"/>
                  <a:gd name="connsiteX28" fmla="*/ 61912 w 291273"/>
                  <a:gd name="connsiteY28" fmla="*/ 428633 h 676283"/>
                  <a:gd name="connsiteX29" fmla="*/ 50006 w 291273"/>
                  <a:gd name="connsiteY29" fmla="*/ 450064 h 676283"/>
                  <a:gd name="connsiteX30" fmla="*/ 42862 w 291273"/>
                  <a:gd name="connsiteY30" fmla="*/ 454827 h 676283"/>
                  <a:gd name="connsiteX31" fmla="*/ 7144 w 291273"/>
                  <a:gd name="connsiteY31" fmla="*/ 457208 h 676283"/>
                  <a:gd name="connsiteX32" fmla="*/ 0 w 291273"/>
                  <a:gd name="connsiteY32" fmla="*/ 471496 h 676283"/>
                  <a:gd name="connsiteX33" fmla="*/ 2381 w 291273"/>
                  <a:gd name="connsiteY33" fmla="*/ 485783 h 676283"/>
                  <a:gd name="connsiteX34" fmla="*/ 19050 w 291273"/>
                  <a:gd name="connsiteY34" fmla="*/ 507214 h 676283"/>
                  <a:gd name="connsiteX35" fmla="*/ 21431 w 291273"/>
                  <a:gd name="connsiteY35" fmla="*/ 514358 h 676283"/>
                  <a:gd name="connsiteX36" fmla="*/ 26194 w 291273"/>
                  <a:gd name="connsiteY36" fmla="*/ 521502 h 676283"/>
                  <a:gd name="connsiteX37" fmla="*/ 23812 w 291273"/>
                  <a:gd name="connsiteY37" fmla="*/ 554839 h 676283"/>
                  <a:gd name="connsiteX38" fmla="*/ 16669 w 291273"/>
                  <a:gd name="connsiteY38" fmla="*/ 578652 h 676283"/>
                  <a:gd name="connsiteX39" fmla="*/ 11906 w 291273"/>
                  <a:gd name="connsiteY39" fmla="*/ 597702 h 676283"/>
                  <a:gd name="connsiteX40" fmla="*/ 7144 w 291273"/>
                  <a:gd name="connsiteY40" fmla="*/ 623896 h 676283"/>
                  <a:gd name="connsiteX41" fmla="*/ 2381 w 291273"/>
                  <a:gd name="connsiteY41" fmla="*/ 638183 h 676283"/>
                  <a:gd name="connsiteX42" fmla="*/ 0 w 291273"/>
                  <a:gd name="connsiteY42" fmla="*/ 645327 h 676283"/>
                  <a:gd name="connsiteX43" fmla="*/ 2381 w 291273"/>
                  <a:gd name="connsiteY43" fmla="*/ 659614 h 676283"/>
                  <a:gd name="connsiteX44" fmla="*/ 9525 w 291273"/>
                  <a:gd name="connsiteY44" fmla="*/ 666758 h 676283"/>
                  <a:gd name="connsiteX45" fmla="*/ 16669 w 291273"/>
                  <a:gd name="connsiteY45" fmla="*/ 671521 h 676283"/>
                  <a:gd name="connsiteX46" fmla="*/ 33337 w 291273"/>
                  <a:gd name="connsiteY46" fmla="*/ 676283 h 676283"/>
                  <a:gd name="connsiteX47" fmla="*/ 64294 w 291273"/>
                  <a:gd name="connsiteY47" fmla="*/ 673902 h 676283"/>
                  <a:gd name="connsiteX48" fmla="*/ 71437 w 291273"/>
                  <a:gd name="connsiteY48" fmla="*/ 671521 h 676283"/>
                  <a:gd name="connsiteX49" fmla="*/ 95250 w 291273"/>
                  <a:gd name="connsiteY49" fmla="*/ 664377 h 676283"/>
                  <a:gd name="connsiteX50" fmla="*/ 102394 w 291273"/>
                  <a:gd name="connsiteY50" fmla="*/ 661996 h 676283"/>
                  <a:gd name="connsiteX51" fmla="*/ 123825 w 291273"/>
                  <a:gd name="connsiteY51" fmla="*/ 659614 h 676283"/>
                  <a:gd name="connsiteX52" fmla="*/ 140494 w 291273"/>
                  <a:gd name="connsiteY52" fmla="*/ 654852 h 676283"/>
                  <a:gd name="connsiteX53" fmla="*/ 147637 w 291273"/>
                  <a:gd name="connsiteY53" fmla="*/ 650089 h 676283"/>
                  <a:gd name="connsiteX54" fmla="*/ 154781 w 291273"/>
                  <a:gd name="connsiteY54" fmla="*/ 647708 h 676283"/>
                  <a:gd name="connsiteX55" fmla="*/ 164306 w 291273"/>
                  <a:gd name="connsiteY55" fmla="*/ 642946 h 676283"/>
                  <a:gd name="connsiteX56" fmla="*/ 171450 w 291273"/>
                  <a:gd name="connsiteY56" fmla="*/ 628658 h 676283"/>
                  <a:gd name="connsiteX57" fmla="*/ 173831 w 291273"/>
                  <a:gd name="connsiteY57" fmla="*/ 621514 h 676283"/>
                  <a:gd name="connsiteX58" fmla="*/ 180975 w 291273"/>
                  <a:gd name="connsiteY58" fmla="*/ 616752 h 676283"/>
                  <a:gd name="connsiteX59" fmla="*/ 185737 w 291273"/>
                  <a:gd name="connsiteY59" fmla="*/ 602464 h 676283"/>
                  <a:gd name="connsiteX60" fmla="*/ 188119 w 291273"/>
                  <a:gd name="connsiteY60" fmla="*/ 595321 h 676283"/>
                  <a:gd name="connsiteX61" fmla="*/ 192881 w 291273"/>
                  <a:gd name="connsiteY61" fmla="*/ 557221 h 676283"/>
                  <a:gd name="connsiteX62" fmla="*/ 195262 w 291273"/>
                  <a:gd name="connsiteY62" fmla="*/ 550077 h 676283"/>
                  <a:gd name="connsiteX63" fmla="*/ 200025 w 291273"/>
                  <a:gd name="connsiteY63" fmla="*/ 502452 h 676283"/>
                  <a:gd name="connsiteX64" fmla="*/ 204787 w 291273"/>
                  <a:gd name="connsiteY64" fmla="*/ 495308 h 676283"/>
                  <a:gd name="connsiteX65" fmla="*/ 219075 w 291273"/>
                  <a:gd name="connsiteY65" fmla="*/ 485783 h 676283"/>
                  <a:gd name="connsiteX66" fmla="*/ 250031 w 291273"/>
                  <a:gd name="connsiteY66" fmla="*/ 481021 h 676283"/>
                  <a:gd name="connsiteX67" fmla="*/ 264319 w 291273"/>
                  <a:gd name="connsiteY67" fmla="*/ 476258 h 676283"/>
                  <a:gd name="connsiteX68" fmla="*/ 271462 w 291273"/>
                  <a:gd name="connsiteY68" fmla="*/ 473877 h 676283"/>
                  <a:gd name="connsiteX69" fmla="*/ 278606 w 291273"/>
                  <a:gd name="connsiteY69" fmla="*/ 466733 h 676283"/>
                  <a:gd name="connsiteX70" fmla="*/ 288131 w 291273"/>
                  <a:gd name="connsiteY70" fmla="*/ 452446 h 676283"/>
                  <a:gd name="connsiteX71" fmla="*/ 288131 w 291273"/>
                  <a:gd name="connsiteY71" fmla="*/ 416727 h 676283"/>
                  <a:gd name="connsiteX72" fmla="*/ 283369 w 291273"/>
                  <a:gd name="connsiteY72" fmla="*/ 378627 h 676283"/>
                  <a:gd name="connsiteX73" fmla="*/ 276225 w 291273"/>
                  <a:gd name="connsiteY73" fmla="*/ 364339 h 676283"/>
                  <a:gd name="connsiteX74" fmla="*/ 269081 w 291273"/>
                  <a:gd name="connsiteY74" fmla="*/ 350052 h 676283"/>
                  <a:gd name="connsiteX75" fmla="*/ 269081 w 291273"/>
                  <a:gd name="connsiteY75" fmla="*/ 285758 h 676283"/>
                  <a:gd name="connsiteX76" fmla="*/ 271462 w 291273"/>
                  <a:gd name="connsiteY76" fmla="*/ 269089 h 676283"/>
                  <a:gd name="connsiteX77" fmla="*/ 278606 w 291273"/>
                  <a:gd name="connsiteY77" fmla="*/ 247658 h 676283"/>
                  <a:gd name="connsiteX78" fmla="*/ 280987 w 291273"/>
                  <a:gd name="connsiteY78" fmla="*/ 240514 h 676283"/>
                  <a:gd name="connsiteX79" fmla="*/ 283369 w 291273"/>
                  <a:gd name="connsiteY79" fmla="*/ 233371 h 676283"/>
                  <a:gd name="connsiteX80" fmla="*/ 280987 w 291273"/>
                  <a:gd name="connsiteY80" fmla="*/ 211939 h 676283"/>
                  <a:gd name="connsiteX81" fmla="*/ 269081 w 291273"/>
                  <a:gd name="connsiteY81" fmla="*/ 202414 h 676283"/>
                  <a:gd name="connsiteX82" fmla="*/ 259556 w 291273"/>
                  <a:gd name="connsiteY82" fmla="*/ 200033 h 676283"/>
                  <a:gd name="connsiteX83" fmla="*/ 247650 w 291273"/>
                  <a:gd name="connsiteY83" fmla="*/ 185746 h 676283"/>
                  <a:gd name="connsiteX84" fmla="*/ 245269 w 291273"/>
                  <a:gd name="connsiteY84" fmla="*/ 178602 h 676283"/>
                  <a:gd name="connsiteX85" fmla="*/ 235744 w 291273"/>
                  <a:gd name="connsiteY85" fmla="*/ 164314 h 676283"/>
                  <a:gd name="connsiteX86" fmla="*/ 226219 w 291273"/>
                  <a:gd name="connsiteY86" fmla="*/ 147646 h 676283"/>
                  <a:gd name="connsiteX87" fmla="*/ 221456 w 291273"/>
                  <a:gd name="connsiteY87" fmla="*/ 114308 h 676283"/>
                  <a:gd name="connsiteX88" fmla="*/ 219075 w 291273"/>
                  <a:gd name="connsiteY88" fmla="*/ 107164 h 676283"/>
                  <a:gd name="connsiteX89" fmla="*/ 211931 w 291273"/>
                  <a:gd name="connsiteY89" fmla="*/ 100021 h 676283"/>
                  <a:gd name="connsiteX90" fmla="*/ 207169 w 291273"/>
                  <a:gd name="connsiteY90" fmla="*/ 52396 h 676283"/>
                  <a:gd name="connsiteX91" fmla="*/ 202406 w 291273"/>
                  <a:gd name="connsiteY91" fmla="*/ 16677 h 676283"/>
                  <a:gd name="connsiteX92" fmla="*/ 202406 w 291273"/>
                  <a:gd name="connsiteY92" fmla="*/ 8 h 676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91273" h="676283">
                    <a:moveTo>
                      <a:pt x="202406" y="8"/>
                    </a:moveTo>
                    <a:cubicBezTo>
                      <a:pt x="200819" y="405"/>
                      <a:pt x="197638" y="14301"/>
                      <a:pt x="192881" y="19058"/>
                    </a:cubicBezTo>
                    <a:cubicBezTo>
                      <a:pt x="190857" y="21082"/>
                      <a:pt x="188297" y="22541"/>
                      <a:pt x="185737" y="23821"/>
                    </a:cubicBezTo>
                    <a:cubicBezTo>
                      <a:pt x="183492" y="24943"/>
                      <a:pt x="180975" y="25408"/>
                      <a:pt x="178594" y="26202"/>
                    </a:cubicBezTo>
                    <a:cubicBezTo>
                      <a:pt x="169902" y="52269"/>
                      <a:pt x="183765" y="12780"/>
                      <a:pt x="171450" y="40489"/>
                    </a:cubicBezTo>
                    <a:cubicBezTo>
                      <a:pt x="169411" y="45077"/>
                      <a:pt x="168275" y="50014"/>
                      <a:pt x="166687" y="54777"/>
                    </a:cubicBezTo>
                    <a:cubicBezTo>
                      <a:pt x="165893" y="57158"/>
                      <a:pt x="165698" y="59832"/>
                      <a:pt x="164306" y="61921"/>
                    </a:cubicBezTo>
                    <a:cubicBezTo>
                      <a:pt x="147287" y="87449"/>
                      <a:pt x="173793" y="48702"/>
                      <a:pt x="152400" y="76208"/>
                    </a:cubicBezTo>
                    <a:cubicBezTo>
                      <a:pt x="148886" y="80726"/>
                      <a:pt x="144685" y="85066"/>
                      <a:pt x="142875" y="90496"/>
                    </a:cubicBezTo>
                    <a:lnTo>
                      <a:pt x="138112" y="104783"/>
                    </a:lnTo>
                    <a:cubicBezTo>
                      <a:pt x="146161" y="128929"/>
                      <a:pt x="141079" y="119949"/>
                      <a:pt x="150019" y="133358"/>
                    </a:cubicBezTo>
                    <a:cubicBezTo>
                      <a:pt x="155346" y="149341"/>
                      <a:pt x="154781" y="145679"/>
                      <a:pt x="154781" y="173839"/>
                    </a:cubicBezTo>
                    <a:cubicBezTo>
                      <a:pt x="154781" y="187356"/>
                      <a:pt x="154148" y="200917"/>
                      <a:pt x="152400" y="214321"/>
                    </a:cubicBezTo>
                    <a:cubicBezTo>
                      <a:pt x="151751" y="219299"/>
                      <a:pt x="149225" y="223846"/>
                      <a:pt x="147637" y="228608"/>
                    </a:cubicBezTo>
                    <a:cubicBezTo>
                      <a:pt x="146843" y="230989"/>
                      <a:pt x="146648" y="233663"/>
                      <a:pt x="145256" y="235752"/>
                    </a:cubicBezTo>
                    <a:cubicBezTo>
                      <a:pt x="143669" y="238133"/>
                      <a:pt x="141656" y="240281"/>
                      <a:pt x="140494" y="242896"/>
                    </a:cubicBezTo>
                    <a:cubicBezTo>
                      <a:pt x="138455" y="247483"/>
                      <a:pt x="137319" y="252421"/>
                      <a:pt x="135731" y="257183"/>
                    </a:cubicBezTo>
                    <a:cubicBezTo>
                      <a:pt x="133794" y="262995"/>
                      <a:pt x="133205" y="266853"/>
                      <a:pt x="128587" y="271471"/>
                    </a:cubicBezTo>
                    <a:cubicBezTo>
                      <a:pt x="126564" y="273494"/>
                      <a:pt x="123825" y="274646"/>
                      <a:pt x="121444" y="276233"/>
                    </a:cubicBezTo>
                    <a:cubicBezTo>
                      <a:pt x="120650" y="278614"/>
                      <a:pt x="120051" y="281070"/>
                      <a:pt x="119062" y="283377"/>
                    </a:cubicBezTo>
                    <a:cubicBezTo>
                      <a:pt x="115435" y="291840"/>
                      <a:pt x="114322" y="292869"/>
                      <a:pt x="109537" y="300046"/>
                    </a:cubicBezTo>
                    <a:lnTo>
                      <a:pt x="97631" y="335764"/>
                    </a:lnTo>
                    <a:lnTo>
                      <a:pt x="95250" y="342908"/>
                    </a:lnTo>
                    <a:cubicBezTo>
                      <a:pt x="94456" y="345289"/>
                      <a:pt x="93361" y="347591"/>
                      <a:pt x="92869" y="350052"/>
                    </a:cubicBezTo>
                    <a:cubicBezTo>
                      <a:pt x="89540" y="366693"/>
                      <a:pt x="91152" y="357966"/>
                      <a:pt x="88106" y="376246"/>
                    </a:cubicBezTo>
                    <a:cubicBezTo>
                      <a:pt x="88900" y="385771"/>
                      <a:pt x="89224" y="395347"/>
                      <a:pt x="90487" y="404821"/>
                    </a:cubicBezTo>
                    <a:cubicBezTo>
                      <a:pt x="91039" y="408964"/>
                      <a:pt x="96287" y="414965"/>
                      <a:pt x="90487" y="419108"/>
                    </a:cubicBezTo>
                    <a:cubicBezTo>
                      <a:pt x="90483" y="419111"/>
                      <a:pt x="72630" y="425061"/>
                      <a:pt x="69056" y="426252"/>
                    </a:cubicBezTo>
                    <a:lnTo>
                      <a:pt x="61912" y="428633"/>
                    </a:lnTo>
                    <a:cubicBezTo>
                      <a:pt x="57311" y="442439"/>
                      <a:pt x="59878" y="441838"/>
                      <a:pt x="50006" y="450064"/>
                    </a:cubicBezTo>
                    <a:cubicBezTo>
                      <a:pt x="47807" y="451896"/>
                      <a:pt x="45685" y="454356"/>
                      <a:pt x="42862" y="454827"/>
                    </a:cubicBezTo>
                    <a:cubicBezTo>
                      <a:pt x="31092" y="456789"/>
                      <a:pt x="19050" y="456414"/>
                      <a:pt x="7144" y="457208"/>
                    </a:cubicBezTo>
                    <a:cubicBezTo>
                      <a:pt x="4735" y="460821"/>
                      <a:pt x="0" y="466565"/>
                      <a:pt x="0" y="471496"/>
                    </a:cubicBezTo>
                    <a:cubicBezTo>
                      <a:pt x="0" y="476324"/>
                      <a:pt x="524" y="481326"/>
                      <a:pt x="2381" y="485783"/>
                    </a:cubicBezTo>
                    <a:cubicBezTo>
                      <a:pt x="6451" y="495551"/>
                      <a:pt x="12166" y="500331"/>
                      <a:pt x="19050" y="507214"/>
                    </a:cubicBezTo>
                    <a:cubicBezTo>
                      <a:pt x="19844" y="509595"/>
                      <a:pt x="20308" y="512113"/>
                      <a:pt x="21431" y="514358"/>
                    </a:cubicBezTo>
                    <a:cubicBezTo>
                      <a:pt x="22711" y="516918"/>
                      <a:pt x="26026" y="518645"/>
                      <a:pt x="26194" y="521502"/>
                    </a:cubicBezTo>
                    <a:cubicBezTo>
                      <a:pt x="26848" y="532623"/>
                      <a:pt x="25042" y="543766"/>
                      <a:pt x="23812" y="554839"/>
                    </a:cubicBezTo>
                    <a:cubicBezTo>
                      <a:pt x="23212" y="560237"/>
                      <a:pt x="17866" y="575061"/>
                      <a:pt x="16669" y="578652"/>
                    </a:cubicBezTo>
                    <a:cubicBezTo>
                      <a:pt x="13600" y="587860"/>
                      <a:pt x="13823" y="586198"/>
                      <a:pt x="11906" y="597702"/>
                    </a:cubicBezTo>
                    <a:cubicBezTo>
                      <a:pt x="9601" y="611531"/>
                      <a:pt x="10572" y="612471"/>
                      <a:pt x="7144" y="623896"/>
                    </a:cubicBezTo>
                    <a:cubicBezTo>
                      <a:pt x="5701" y="628704"/>
                      <a:pt x="3969" y="633421"/>
                      <a:pt x="2381" y="638183"/>
                    </a:cubicBezTo>
                    <a:lnTo>
                      <a:pt x="0" y="645327"/>
                    </a:lnTo>
                    <a:cubicBezTo>
                      <a:pt x="794" y="650089"/>
                      <a:pt x="420" y="655202"/>
                      <a:pt x="2381" y="659614"/>
                    </a:cubicBezTo>
                    <a:cubicBezTo>
                      <a:pt x="3749" y="662691"/>
                      <a:pt x="6938" y="664602"/>
                      <a:pt x="9525" y="666758"/>
                    </a:cubicBezTo>
                    <a:cubicBezTo>
                      <a:pt x="11724" y="668590"/>
                      <a:pt x="14109" y="670241"/>
                      <a:pt x="16669" y="671521"/>
                    </a:cubicBezTo>
                    <a:cubicBezTo>
                      <a:pt x="20085" y="673229"/>
                      <a:pt x="30285" y="675520"/>
                      <a:pt x="33337" y="676283"/>
                    </a:cubicBezTo>
                    <a:cubicBezTo>
                      <a:pt x="43656" y="675489"/>
                      <a:pt x="54024" y="675186"/>
                      <a:pt x="64294" y="673902"/>
                    </a:cubicBezTo>
                    <a:cubicBezTo>
                      <a:pt x="66784" y="673591"/>
                      <a:pt x="69024" y="672211"/>
                      <a:pt x="71437" y="671521"/>
                    </a:cubicBezTo>
                    <a:cubicBezTo>
                      <a:pt x="96638" y="664320"/>
                      <a:pt x="61282" y="675698"/>
                      <a:pt x="95250" y="664377"/>
                    </a:cubicBezTo>
                    <a:cubicBezTo>
                      <a:pt x="97631" y="663583"/>
                      <a:pt x="99899" y="662273"/>
                      <a:pt x="102394" y="661996"/>
                    </a:cubicBezTo>
                    <a:lnTo>
                      <a:pt x="123825" y="659614"/>
                    </a:lnTo>
                    <a:cubicBezTo>
                      <a:pt x="126875" y="658852"/>
                      <a:pt x="137079" y="656559"/>
                      <a:pt x="140494" y="654852"/>
                    </a:cubicBezTo>
                    <a:cubicBezTo>
                      <a:pt x="143054" y="653572"/>
                      <a:pt x="145077" y="651369"/>
                      <a:pt x="147637" y="650089"/>
                    </a:cubicBezTo>
                    <a:cubicBezTo>
                      <a:pt x="149882" y="648966"/>
                      <a:pt x="152474" y="648697"/>
                      <a:pt x="154781" y="647708"/>
                    </a:cubicBezTo>
                    <a:cubicBezTo>
                      <a:pt x="158044" y="646310"/>
                      <a:pt x="161131" y="644533"/>
                      <a:pt x="164306" y="642946"/>
                    </a:cubicBezTo>
                    <a:cubicBezTo>
                      <a:pt x="170291" y="624990"/>
                      <a:pt x="162218" y="647123"/>
                      <a:pt x="171450" y="628658"/>
                    </a:cubicBezTo>
                    <a:cubicBezTo>
                      <a:pt x="172573" y="626413"/>
                      <a:pt x="172263" y="623474"/>
                      <a:pt x="173831" y="621514"/>
                    </a:cubicBezTo>
                    <a:cubicBezTo>
                      <a:pt x="175619" y="619279"/>
                      <a:pt x="178594" y="618339"/>
                      <a:pt x="180975" y="616752"/>
                    </a:cubicBezTo>
                    <a:lnTo>
                      <a:pt x="185737" y="602464"/>
                    </a:lnTo>
                    <a:lnTo>
                      <a:pt x="188119" y="595321"/>
                    </a:lnTo>
                    <a:cubicBezTo>
                      <a:pt x="189317" y="583342"/>
                      <a:pt x="190195" y="569307"/>
                      <a:pt x="192881" y="557221"/>
                    </a:cubicBezTo>
                    <a:cubicBezTo>
                      <a:pt x="193425" y="554771"/>
                      <a:pt x="194468" y="552458"/>
                      <a:pt x="195262" y="550077"/>
                    </a:cubicBezTo>
                    <a:cubicBezTo>
                      <a:pt x="195401" y="547714"/>
                      <a:pt x="193814" y="514876"/>
                      <a:pt x="200025" y="502452"/>
                    </a:cubicBezTo>
                    <a:cubicBezTo>
                      <a:pt x="201305" y="499892"/>
                      <a:pt x="202633" y="497193"/>
                      <a:pt x="204787" y="495308"/>
                    </a:cubicBezTo>
                    <a:cubicBezTo>
                      <a:pt x="209095" y="491539"/>
                      <a:pt x="213395" y="486493"/>
                      <a:pt x="219075" y="485783"/>
                    </a:cubicBezTo>
                    <a:cubicBezTo>
                      <a:pt x="227986" y="484669"/>
                      <a:pt x="240802" y="483538"/>
                      <a:pt x="250031" y="481021"/>
                    </a:cubicBezTo>
                    <a:cubicBezTo>
                      <a:pt x="254874" y="479700"/>
                      <a:pt x="259556" y="477846"/>
                      <a:pt x="264319" y="476258"/>
                    </a:cubicBezTo>
                    <a:lnTo>
                      <a:pt x="271462" y="473877"/>
                    </a:lnTo>
                    <a:cubicBezTo>
                      <a:pt x="273843" y="471496"/>
                      <a:pt x="276538" y="469391"/>
                      <a:pt x="278606" y="466733"/>
                    </a:cubicBezTo>
                    <a:cubicBezTo>
                      <a:pt x="282120" y="462215"/>
                      <a:pt x="288131" y="452446"/>
                      <a:pt x="288131" y="452446"/>
                    </a:cubicBezTo>
                    <a:cubicBezTo>
                      <a:pt x="293459" y="436461"/>
                      <a:pt x="291008" y="446940"/>
                      <a:pt x="288131" y="416727"/>
                    </a:cubicBezTo>
                    <a:cubicBezTo>
                      <a:pt x="287531" y="410428"/>
                      <a:pt x="284892" y="386239"/>
                      <a:pt x="283369" y="378627"/>
                    </a:cubicBezTo>
                    <a:cubicBezTo>
                      <a:pt x="281374" y="368655"/>
                      <a:pt x="280906" y="373701"/>
                      <a:pt x="276225" y="364339"/>
                    </a:cubicBezTo>
                    <a:cubicBezTo>
                      <a:pt x="266371" y="344630"/>
                      <a:pt x="282726" y="370518"/>
                      <a:pt x="269081" y="350052"/>
                    </a:cubicBezTo>
                    <a:cubicBezTo>
                      <a:pt x="262459" y="323560"/>
                      <a:pt x="265495" y="339547"/>
                      <a:pt x="269081" y="285758"/>
                    </a:cubicBezTo>
                    <a:cubicBezTo>
                      <a:pt x="269454" y="280158"/>
                      <a:pt x="270101" y="274534"/>
                      <a:pt x="271462" y="269089"/>
                    </a:cubicBezTo>
                    <a:cubicBezTo>
                      <a:pt x="273288" y="261784"/>
                      <a:pt x="276225" y="254802"/>
                      <a:pt x="278606" y="247658"/>
                    </a:cubicBezTo>
                    <a:lnTo>
                      <a:pt x="280987" y="240514"/>
                    </a:lnTo>
                    <a:lnTo>
                      <a:pt x="283369" y="233371"/>
                    </a:lnTo>
                    <a:cubicBezTo>
                      <a:pt x="282575" y="226227"/>
                      <a:pt x="282730" y="218912"/>
                      <a:pt x="280987" y="211939"/>
                    </a:cubicBezTo>
                    <a:cubicBezTo>
                      <a:pt x="279119" y="204468"/>
                      <a:pt x="275179" y="204157"/>
                      <a:pt x="269081" y="202414"/>
                    </a:cubicBezTo>
                    <a:cubicBezTo>
                      <a:pt x="265934" y="201515"/>
                      <a:pt x="262731" y="200827"/>
                      <a:pt x="259556" y="200033"/>
                    </a:cubicBezTo>
                    <a:cubicBezTo>
                      <a:pt x="254290" y="194767"/>
                      <a:pt x="250965" y="192376"/>
                      <a:pt x="247650" y="185746"/>
                    </a:cubicBezTo>
                    <a:cubicBezTo>
                      <a:pt x="246528" y="183501"/>
                      <a:pt x="246488" y="180796"/>
                      <a:pt x="245269" y="178602"/>
                    </a:cubicBezTo>
                    <a:cubicBezTo>
                      <a:pt x="242489" y="173598"/>
                      <a:pt x="237555" y="169744"/>
                      <a:pt x="235744" y="164314"/>
                    </a:cubicBezTo>
                    <a:cubicBezTo>
                      <a:pt x="232107" y="153406"/>
                      <a:pt x="234868" y="159179"/>
                      <a:pt x="226219" y="147646"/>
                    </a:cubicBezTo>
                    <a:cubicBezTo>
                      <a:pt x="224737" y="134313"/>
                      <a:pt x="224488" y="126437"/>
                      <a:pt x="221456" y="114308"/>
                    </a:cubicBezTo>
                    <a:cubicBezTo>
                      <a:pt x="220847" y="111873"/>
                      <a:pt x="220467" y="109253"/>
                      <a:pt x="219075" y="107164"/>
                    </a:cubicBezTo>
                    <a:cubicBezTo>
                      <a:pt x="217207" y="104362"/>
                      <a:pt x="214312" y="102402"/>
                      <a:pt x="211931" y="100021"/>
                    </a:cubicBezTo>
                    <a:cubicBezTo>
                      <a:pt x="205053" y="79386"/>
                      <a:pt x="210896" y="98979"/>
                      <a:pt x="207169" y="52396"/>
                    </a:cubicBezTo>
                    <a:cubicBezTo>
                      <a:pt x="203335" y="4478"/>
                      <a:pt x="206355" y="60116"/>
                      <a:pt x="202406" y="16677"/>
                    </a:cubicBezTo>
                    <a:cubicBezTo>
                      <a:pt x="202119" y="13515"/>
                      <a:pt x="203993" y="-389"/>
                      <a:pt x="202406" y="8"/>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3" name="Freeform 302"/>
              <p:cNvSpPr/>
              <p:nvPr/>
            </p:nvSpPr>
            <p:spPr>
              <a:xfrm>
                <a:off x="6428014" y="2811277"/>
                <a:ext cx="959169" cy="1137690"/>
              </a:xfrm>
              <a:custGeom>
                <a:avLst/>
                <a:gdLst>
                  <a:gd name="connsiteX0" fmla="*/ 6524 w 959169"/>
                  <a:gd name="connsiteY0" fmla="*/ 538162 h 1137690"/>
                  <a:gd name="connsiteX1" fmla="*/ 18430 w 959169"/>
                  <a:gd name="connsiteY1" fmla="*/ 531018 h 1137690"/>
                  <a:gd name="connsiteX2" fmla="*/ 20811 w 959169"/>
                  <a:gd name="connsiteY2" fmla="*/ 523875 h 1137690"/>
                  <a:gd name="connsiteX3" fmla="*/ 30336 w 959169"/>
                  <a:gd name="connsiteY3" fmla="*/ 509587 h 1137690"/>
                  <a:gd name="connsiteX4" fmla="*/ 42242 w 959169"/>
                  <a:gd name="connsiteY4" fmla="*/ 488156 h 1137690"/>
                  <a:gd name="connsiteX5" fmla="*/ 49386 w 959169"/>
                  <a:gd name="connsiteY5" fmla="*/ 483393 h 1137690"/>
                  <a:gd name="connsiteX6" fmla="*/ 56530 w 959169"/>
                  <a:gd name="connsiteY6" fmla="*/ 469106 h 1137690"/>
                  <a:gd name="connsiteX7" fmla="*/ 63674 w 959169"/>
                  <a:gd name="connsiteY7" fmla="*/ 454818 h 1137690"/>
                  <a:gd name="connsiteX8" fmla="*/ 68436 w 959169"/>
                  <a:gd name="connsiteY8" fmla="*/ 438150 h 1137690"/>
                  <a:gd name="connsiteX9" fmla="*/ 61292 w 959169"/>
                  <a:gd name="connsiteY9" fmla="*/ 361950 h 1137690"/>
                  <a:gd name="connsiteX10" fmla="*/ 54149 w 959169"/>
                  <a:gd name="connsiteY10" fmla="*/ 345281 h 1137690"/>
                  <a:gd name="connsiteX11" fmla="*/ 51767 w 959169"/>
                  <a:gd name="connsiteY11" fmla="*/ 338137 h 1137690"/>
                  <a:gd name="connsiteX12" fmla="*/ 54149 w 959169"/>
                  <a:gd name="connsiteY12" fmla="*/ 311943 h 1137690"/>
                  <a:gd name="connsiteX13" fmla="*/ 56530 w 959169"/>
                  <a:gd name="connsiteY13" fmla="*/ 304800 h 1137690"/>
                  <a:gd name="connsiteX14" fmla="*/ 58911 w 959169"/>
                  <a:gd name="connsiteY14" fmla="*/ 292893 h 1137690"/>
                  <a:gd name="connsiteX15" fmla="*/ 61292 w 959169"/>
                  <a:gd name="connsiteY15" fmla="*/ 261937 h 1137690"/>
                  <a:gd name="connsiteX16" fmla="*/ 63674 w 959169"/>
                  <a:gd name="connsiteY16" fmla="*/ 254793 h 1137690"/>
                  <a:gd name="connsiteX17" fmla="*/ 70817 w 959169"/>
                  <a:gd name="connsiteY17" fmla="*/ 230981 h 1137690"/>
                  <a:gd name="connsiteX18" fmla="*/ 75580 w 959169"/>
                  <a:gd name="connsiteY18" fmla="*/ 223837 h 1137690"/>
                  <a:gd name="connsiteX19" fmla="*/ 77961 w 959169"/>
                  <a:gd name="connsiteY19" fmla="*/ 216693 h 1137690"/>
                  <a:gd name="connsiteX20" fmla="*/ 85105 w 959169"/>
                  <a:gd name="connsiteY20" fmla="*/ 214312 h 1137690"/>
                  <a:gd name="connsiteX21" fmla="*/ 111299 w 959169"/>
                  <a:gd name="connsiteY21" fmla="*/ 211931 h 1137690"/>
                  <a:gd name="connsiteX22" fmla="*/ 118442 w 959169"/>
                  <a:gd name="connsiteY22" fmla="*/ 207168 h 1137690"/>
                  <a:gd name="connsiteX23" fmla="*/ 123205 w 959169"/>
                  <a:gd name="connsiteY23" fmla="*/ 192881 h 1137690"/>
                  <a:gd name="connsiteX24" fmla="*/ 125586 w 959169"/>
                  <a:gd name="connsiteY24" fmla="*/ 169068 h 1137690"/>
                  <a:gd name="connsiteX25" fmla="*/ 154161 w 959169"/>
                  <a:gd name="connsiteY25" fmla="*/ 159543 h 1137690"/>
                  <a:gd name="connsiteX26" fmla="*/ 168449 w 959169"/>
                  <a:gd name="connsiteY26" fmla="*/ 152400 h 1137690"/>
                  <a:gd name="connsiteX27" fmla="*/ 173211 w 959169"/>
                  <a:gd name="connsiteY27" fmla="*/ 138112 h 1137690"/>
                  <a:gd name="connsiteX28" fmla="*/ 177974 w 959169"/>
                  <a:gd name="connsiteY28" fmla="*/ 119062 h 1137690"/>
                  <a:gd name="connsiteX29" fmla="*/ 182736 w 959169"/>
                  <a:gd name="connsiteY29" fmla="*/ 102393 h 1137690"/>
                  <a:gd name="connsiteX30" fmla="*/ 187499 w 959169"/>
                  <a:gd name="connsiteY30" fmla="*/ 95250 h 1137690"/>
                  <a:gd name="connsiteX31" fmla="*/ 197024 w 959169"/>
                  <a:gd name="connsiteY31" fmla="*/ 90487 h 1137690"/>
                  <a:gd name="connsiteX32" fmla="*/ 204167 w 959169"/>
                  <a:gd name="connsiteY32" fmla="*/ 116681 h 1137690"/>
                  <a:gd name="connsiteX33" fmla="*/ 206549 w 959169"/>
                  <a:gd name="connsiteY33" fmla="*/ 123825 h 1137690"/>
                  <a:gd name="connsiteX34" fmla="*/ 218455 w 959169"/>
                  <a:gd name="connsiteY34" fmla="*/ 138112 h 1137690"/>
                  <a:gd name="connsiteX35" fmla="*/ 220836 w 959169"/>
                  <a:gd name="connsiteY35" fmla="*/ 145256 h 1137690"/>
                  <a:gd name="connsiteX36" fmla="*/ 235124 w 959169"/>
                  <a:gd name="connsiteY36" fmla="*/ 150018 h 1137690"/>
                  <a:gd name="connsiteX37" fmla="*/ 249411 w 959169"/>
                  <a:gd name="connsiteY37" fmla="*/ 147637 h 1137690"/>
                  <a:gd name="connsiteX38" fmla="*/ 263699 w 959169"/>
                  <a:gd name="connsiteY38" fmla="*/ 135731 h 1137690"/>
                  <a:gd name="connsiteX39" fmla="*/ 268461 w 959169"/>
                  <a:gd name="connsiteY39" fmla="*/ 121443 h 1137690"/>
                  <a:gd name="connsiteX40" fmla="*/ 270842 w 959169"/>
                  <a:gd name="connsiteY40" fmla="*/ 114300 h 1137690"/>
                  <a:gd name="connsiteX41" fmla="*/ 277986 w 959169"/>
                  <a:gd name="connsiteY41" fmla="*/ 107156 h 1137690"/>
                  <a:gd name="connsiteX42" fmla="*/ 282749 w 959169"/>
                  <a:gd name="connsiteY42" fmla="*/ 100012 h 1137690"/>
                  <a:gd name="connsiteX43" fmla="*/ 289892 w 959169"/>
                  <a:gd name="connsiteY43" fmla="*/ 95250 h 1137690"/>
                  <a:gd name="connsiteX44" fmla="*/ 294655 w 959169"/>
                  <a:gd name="connsiteY44" fmla="*/ 88106 h 1137690"/>
                  <a:gd name="connsiteX45" fmla="*/ 306561 w 959169"/>
                  <a:gd name="connsiteY45" fmla="*/ 76200 h 1137690"/>
                  <a:gd name="connsiteX46" fmla="*/ 311324 w 959169"/>
                  <a:gd name="connsiteY46" fmla="*/ 61912 h 1137690"/>
                  <a:gd name="connsiteX47" fmla="*/ 320849 w 959169"/>
                  <a:gd name="connsiteY47" fmla="*/ 30956 h 1137690"/>
                  <a:gd name="connsiteX48" fmla="*/ 325611 w 959169"/>
                  <a:gd name="connsiteY48" fmla="*/ 16668 h 1137690"/>
                  <a:gd name="connsiteX49" fmla="*/ 332755 w 959169"/>
                  <a:gd name="connsiteY49" fmla="*/ 9525 h 1137690"/>
                  <a:gd name="connsiteX50" fmla="*/ 347042 w 959169"/>
                  <a:gd name="connsiteY50" fmla="*/ 4762 h 1137690"/>
                  <a:gd name="connsiteX51" fmla="*/ 363711 w 959169"/>
                  <a:gd name="connsiteY51" fmla="*/ 0 h 1137690"/>
                  <a:gd name="connsiteX52" fmla="*/ 389905 w 959169"/>
                  <a:gd name="connsiteY52" fmla="*/ 2381 h 1137690"/>
                  <a:gd name="connsiteX53" fmla="*/ 404192 w 959169"/>
                  <a:gd name="connsiteY53" fmla="*/ 11906 h 1137690"/>
                  <a:gd name="connsiteX54" fmla="*/ 420861 w 959169"/>
                  <a:gd name="connsiteY54" fmla="*/ 23812 h 1137690"/>
                  <a:gd name="connsiteX55" fmla="*/ 468486 w 959169"/>
                  <a:gd name="connsiteY55" fmla="*/ 28575 h 1137690"/>
                  <a:gd name="connsiteX56" fmla="*/ 480392 w 959169"/>
                  <a:gd name="connsiteY56" fmla="*/ 42862 h 1137690"/>
                  <a:gd name="connsiteX57" fmla="*/ 489917 w 959169"/>
                  <a:gd name="connsiteY57" fmla="*/ 69056 h 1137690"/>
                  <a:gd name="connsiteX58" fmla="*/ 532780 w 959169"/>
                  <a:gd name="connsiteY58" fmla="*/ 69056 h 1137690"/>
                  <a:gd name="connsiteX59" fmla="*/ 566117 w 959169"/>
                  <a:gd name="connsiteY59" fmla="*/ 73818 h 1137690"/>
                  <a:gd name="connsiteX60" fmla="*/ 589930 w 959169"/>
                  <a:gd name="connsiteY60" fmla="*/ 80962 h 1137690"/>
                  <a:gd name="connsiteX61" fmla="*/ 625649 w 959169"/>
                  <a:gd name="connsiteY61" fmla="*/ 83343 h 1137690"/>
                  <a:gd name="connsiteX62" fmla="*/ 632792 w 959169"/>
                  <a:gd name="connsiteY62" fmla="*/ 85725 h 1137690"/>
                  <a:gd name="connsiteX63" fmla="*/ 639936 w 959169"/>
                  <a:gd name="connsiteY63" fmla="*/ 90487 h 1137690"/>
                  <a:gd name="connsiteX64" fmla="*/ 649461 w 959169"/>
                  <a:gd name="connsiteY64" fmla="*/ 92868 h 1137690"/>
                  <a:gd name="connsiteX65" fmla="*/ 656605 w 959169"/>
                  <a:gd name="connsiteY65" fmla="*/ 95250 h 1137690"/>
                  <a:gd name="connsiteX66" fmla="*/ 654224 w 959169"/>
                  <a:gd name="connsiteY66" fmla="*/ 109537 h 1137690"/>
                  <a:gd name="connsiteX67" fmla="*/ 647080 w 959169"/>
                  <a:gd name="connsiteY67" fmla="*/ 114300 h 1137690"/>
                  <a:gd name="connsiteX68" fmla="*/ 639936 w 959169"/>
                  <a:gd name="connsiteY68" fmla="*/ 116681 h 1137690"/>
                  <a:gd name="connsiteX69" fmla="*/ 623267 w 959169"/>
                  <a:gd name="connsiteY69" fmla="*/ 123825 h 1137690"/>
                  <a:gd name="connsiteX70" fmla="*/ 539924 w 959169"/>
                  <a:gd name="connsiteY70" fmla="*/ 119062 h 1137690"/>
                  <a:gd name="connsiteX71" fmla="*/ 501824 w 959169"/>
                  <a:gd name="connsiteY71" fmla="*/ 116681 h 1137690"/>
                  <a:gd name="connsiteX72" fmla="*/ 432767 w 959169"/>
                  <a:gd name="connsiteY72" fmla="*/ 116681 h 1137690"/>
                  <a:gd name="connsiteX73" fmla="*/ 425624 w 959169"/>
                  <a:gd name="connsiteY73" fmla="*/ 119062 h 1137690"/>
                  <a:gd name="connsiteX74" fmla="*/ 411336 w 959169"/>
                  <a:gd name="connsiteY74" fmla="*/ 121443 h 1137690"/>
                  <a:gd name="connsiteX75" fmla="*/ 394667 w 959169"/>
                  <a:gd name="connsiteY75" fmla="*/ 126206 h 1137690"/>
                  <a:gd name="connsiteX76" fmla="*/ 389905 w 959169"/>
                  <a:gd name="connsiteY76" fmla="*/ 133350 h 1137690"/>
                  <a:gd name="connsiteX77" fmla="*/ 382761 w 959169"/>
                  <a:gd name="connsiteY77" fmla="*/ 138112 h 1137690"/>
                  <a:gd name="connsiteX78" fmla="*/ 377999 w 959169"/>
                  <a:gd name="connsiteY78" fmla="*/ 152400 h 1137690"/>
                  <a:gd name="connsiteX79" fmla="*/ 382761 w 959169"/>
                  <a:gd name="connsiteY79" fmla="*/ 164306 h 1137690"/>
                  <a:gd name="connsiteX80" fmla="*/ 385142 w 959169"/>
                  <a:gd name="connsiteY80" fmla="*/ 171450 h 1137690"/>
                  <a:gd name="connsiteX81" fmla="*/ 394667 w 959169"/>
                  <a:gd name="connsiteY81" fmla="*/ 173831 h 1137690"/>
                  <a:gd name="connsiteX82" fmla="*/ 401811 w 959169"/>
                  <a:gd name="connsiteY82" fmla="*/ 176212 h 1137690"/>
                  <a:gd name="connsiteX83" fmla="*/ 418480 w 959169"/>
                  <a:gd name="connsiteY83" fmla="*/ 192881 h 1137690"/>
                  <a:gd name="connsiteX84" fmla="*/ 416099 w 959169"/>
                  <a:gd name="connsiteY84" fmla="*/ 216693 h 1137690"/>
                  <a:gd name="connsiteX85" fmla="*/ 413717 w 959169"/>
                  <a:gd name="connsiteY85" fmla="*/ 223837 h 1137690"/>
                  <a:gd name="connsiteX86" fmla="*/ 406574 w 959169"/>
                  <a:gd name="connsiteY86" fmla="*/ 228600 h 1137690"/>
                  <a:gd name="connsiteX87" fmla="*/ 397049 w 959169"/>
                  <a:gd name="connsiteY87" fmla="*/ 230981 h 1137690"/>
                  <a:gd name="connsiteX88" fmla="*/ 366092 w 959169"/>
                  <a:gd name="connsiteY88" fmla="*/ 226218 h 1137690"/>
                  <a:gd name="connsiteX89" fmla="*/ 344661 w 959169"/>
                  <a:gd name="connsiteY89" fmla="*/ 216693 h 1137690"/>
                  <a:gd name="connsiteX90" fmla="*/ 337517 w 959169"/>
                  <a:gd name="connsiteY90" fmla="*/ 214312 h 1137690"/>
                  <a:gd name="connsiteX91" fmla="*/ 285130 w 959169"/>
                  <a:gd name="connsiteY91" fmla="*/ 209550 h 1137690"/>
                  <a:gd name="connsiteX92" fmla="*/ 213692 w 959169"/>
                  <a:gd name="connsiteY92" fmla="*/ 211931 h 1137690"/>
                  <a:gd name="connsiteX93" fmla="*/ 199405 w 959169"/>
                  <a:gd name="connsiteY93" fmla="*/ 219075 h 1137690"/>
                  <a:gd name="connsiteX94" fmla="*/ 189880 w 959169"/>
                  <a:gd name="connsiteY94" fmla="*/ 221456 h 1137690"/>
                  <a:gd name="connsiteX95" fmla="*/ 175592 w 959169"/>
                  <a:gd name="connsiteY95" fmla="*/ 230981 h 1137690"/>
                  <a:gd name="connsiteX96" fmla="*/ 170830 w 959169"/>
                  <a:gd name="connsiteY96" fmla="*/ 238125 h 1137690"/>
                  <a:gd name="connsiteX97" fmla="*/ 166067 w 959169"/>
                  <a:gd name="connsiteY97" fmla="*/ 247650 h 1137690"/>
                  <a:gd name="connsiteX98" fmla="*/ 158924 w 959169"/>
                  <a:gd name="connsiteY98" fmla="*/ 254793 h 1137690"/>
                  <a:gd name="connsiteX99" fmla="*/ 149399 w 959169"/>
                  <a:gd name="connsiteY99" fmla="*/ 269081 h 1137690"/>
                  <a:gd name="connsiteX100" fmla="*/ 144636 w 959169"/>
                  <a:gd name="connsiteY100" fmla="*/ 283368 h 1137690"/>
                  <a:gd name="connsiteX101" fmla="*/ 139874 w 959169"/>
                  <a:gd name="connsiteY101" fmla="*/ 314325 h 1137690"/>
                  <a:gd name="connsiteX102" fmla="*/ 137492 w 959169"/>
                  <a:gd name="connsiteY102" fmla="*/ 323850 h 1137690"/>
                  <a:gd name="connsiteX103" fmla="*/ 132730 w 959169"/>
                  <a:gd name="connsiteY103" fmla="*/ 330993 h 1137690"/>
                  <a:gd name="connsiteX104" fmla="*/ 130349 w 959169"/>
                  <a:gd name="connsiteY104" fmla="*/ 340518 h 1137690"/>
                  <a:gd name="connsiteX105" fmla="*/ 127967 w 959169"/>
                  <a:gd name="connsiteY105" fmla="*/ 347662 h 1137690"/>
                  <a:gd name="connsiteX106" fmla="*/ 125586 w 959169"/>
                  <a:gd name="connsiteY106" fmla="*/ 364331 h 1137690"/>
                  <a:gd name="connsiteX107" fmla="*/ 123205 w 959169"/>
                  <a:gd name="connsiteY107" fmla="*/ 376237 h 1137690"/>
                  <a:gd name="connsiteX108" fmla="*/ 120824 w 959169"/>
                  <a:gd name="connsiteY108" fmla="*/ 385762 h 1137690"/>
                  <a:gd name="connsiteX109" fmla="*/ 118442 w 959169"/>
                  <a:gd name="connsiteY109" fmla="*/ 392906 h 1137690"/>
                  <a:gd name="connsiteX110" fmla="*/ 116061 w 959169"/>
                  <a:gd name="connsiteY110" fmla="*/ 404812 h 1137690"/>
                  <a:gd name="connsiteX111" fmla="*/ 118442 w 959169"/>
                  <a:gd name="connsiteY111" fmla="*/ 445293 h 1137690"/>
                  <a:gd name="connsiteX112" fmla="*/ 123205 w 959169"/>
                  <a:gd name="connsiteY112" fmla="*/ 459581 h 1137690"/>
                  <a:gd name="connsiteX113" fmla="*/ 125586 w 959169"/>
                  <a:gd name="connsiteY113" fmla="*/ 469106 h 1137690"/>
                  <a:gd name="connsiteX114" fmla="*/ 127967 w 959169"/>
                  <a:gd name="connsiteY114" fmla="*/ 495300 h 1137690"/>
                  <a:gd name="connsiteX115" fmla="*/ 135111 w 959169"/>
                  <a:gd name="connsiteY115" fmla="*/ 509587 h 1137690"/>
                  <a:gd name="connsiteX116" fmla="*/ 139874 w 959169"/>
                  <a:gd name="connsiteY116" fmla="*/ 521493 h 1137690"/>
                  <a:gd name="connsiteX117" fmla="*/ 151780 w 959169"/>
                  <a:gd name="connsiteY117" fmla="*/ 535781 h 1137690"/>
                  <a:gd name="connsiteX118" fmla="*/ 156542 w 959169"/>
                  <a:gd name="connsiteY118" fmla="*/ 542925 h 1137690"/>
                  <a:gd name="connsiteX119" fmla="*/ 177974 w 959169"/>
                  <a:gd name="connsiteY119" fmla="*/ 554831 h 1137690"/>
                  <a:gd name="connsiteX120" fmla="*/ 192261 w 959169"/>
                  <a:gd name="connsiteY120" fmla="*/ 564356 h 1137690"/>
                  <a:gd name="connsiteX121" fmla="*/ 199405 w 959169"/>
                  <a:gd name="connsiteY121" fmla="*/ 569118 h 1137690"/>
                  <a:gd name="connsiteX122" fmla="*/ 213692 w 959169"/>
                  <a:gd name="connsiteY122" fmla="*/ 576262 h 1137690"/>
                  <a:gd name="connsiteX123" fmla="*/ 227980 w 959169"/>
                  <a:gd name="connsiteY123" fmla="*/ 581025 h 1137690"/>
                  <a:gd name="connsiteX124" fmla="*/ 244649 w 959169"/>
                  <a:gd name="connsiteY124" fmla="*/ 592931 h 1137690"/>
                  <a:gd name="connsiteX125" fmla="*/ 258936 w 959169"/>
                  <a:gd name="connsiteY125" fmla="*/ 607218 h 1137690"/>
                  <a:gd name="connsiteX126" fmla="*/ 263699 w 959169"/>
                  <a:gd name="connsiteY126" fmla="*/ 614362 h 1137690"/>
                  <a:gd name="connsiteX127" fmla="*/ 273224 w 959169"/>
                  <a:gd name="connsiteY127" fmla="*/ 628650 h 1137690"/>
                  <a:gd name="connsiteX128" fmla="*/ 282749 w 959169"/>
                  <a:gd name="connsiteY128" fmla="*/ 642937 h 1137690"/>
                  <a:gd name="connsiteX129" fmla="*/ 287511 w 959169"/>
                  <a:gd name="connsiteY129" fmla="*/ 650081 h 1137690"/>
                  <a:gd name="connsiteX130" fmla="*/ 289892 w 959169"/>
                  <a:gd name="connsiteY130" fmla="*/ 657225 h 1137690"/>
                  <a:gd name="connsiteX131" fmla="*/ 297036 w 959169"/>
                  <a:gd name="connsiteY131" fmla="*/ 661987 h 1137690"/>
                  <a:gd name="connsiteX132" fmla="*/ 299417 w 959169"/>
                  <a:gd name="connsiteY132" fmla="*/ 669131 h 1137690"/>
                  <a:gd name="connsiteX133" fmla="*/ 332755 w 959169"/>
                  <a:gd name="connsiteY133" fmla="*/ 681037 h 1137690"/>
                  <a:gd name="connsiteX134" fmla="*/ 366092 w 959169"/>
                  <a:gd name="connsiteY134" fmla="*/ 688181 h 1137690"/>
                  <a:gd name="connsiteX135" fmla="*/ 389905 w 959169"/>
                  <a:gd name="connsiteY135" fmla="*/ 685800 h 1137690"/>
                  <a:gd name="connsiteX136" fmla="*/ 404192 w 959169"/>
                  <a:gd name="connsiteY136" fmla="*/ 678656 h 1137690"/>
                  <a:gd name="connsiteX137" fmla="*/ 411336 w 959169"/>
                  <a:gd name="connsiteY137" fmla="*/ 676275 h 1137690"/>
                  <a:gd name="connsiteX138" fmla="*/ 416099 w 959169"/>
                  <a:gd name="connsiteY138" fmla="*/ 661987 h 1137690"/>
                  <a:gd name="connsiteX139" fmla="*/ 418480 w 959169"/>
                  <a:gd name="connsiteY139" fmla="*/ 626268 h 1137690"/>
                  <a:gd name="connsiteX140" fmla="*/ 420861 w 959169"/>
                  <a:gd name="connsiteY140" fmla="*/ 616743 h 1137690"/>
                  <a:gd name="connsiteX141" fmla="*/ 430386 w 959169"/>
                  <a:gd name="connsiteY141" fmla="*/ 602456 h 1137690"/>
                  <a:gd name="connsiteX142" fmla="*/ 435149 w 959169"/>
                  <a:gd name="connsiteY142" fmla="*/ 595312 h 1137690"/>
                  <a:gd name="connsiteX143" fmla="*/ 439911 w 959169"/>
                  <a:gd name="connsiteY143" fmla="*/ 588168 h 1137690"/>
                  <a:gd name="connsiteX144" fmla="*/ 447055 w 959169"/>
                  <a:gd name="connsiteY144" fmla="*/ 578643 h 1137690"/>
                  <a:gd name="connsiteX145" fmla="*/ 458961 w 959169"/>
                  <a:gd name="connsiteY145" fmla="*/ 564356 h 1137690"/>
                  <a:gd name="connsiteX146" fmla="*/ 463724 w 959169"/>
                  <a:gd name="connsiteY146" fmla="*/ 557212 h 1137690"/>
                  <a:gd name="connsiteX147" fmla="*/ 473249 w 959169"/>
                  <a:gd name="connsiteY147" fmla="*/ 554831 h 1137690"/>
                  <a:gd name="connsiteX148" fmla="*/ 487536 w 959169"/>
                  <a:gd name="connsiteY148" fmla="*/ 550068 h 1137690"/>
                  <a:gd name="connsiteX149" fmla="*/ 494680 w 959169"/>
                  <a:gd name="connsiteY149" fmla="*/ 547687 h 1137690"/>
                  <a:gd name="connsiteX150" fmla="*/ 520874 w 959169"/>
                  <a:gd name="connsiteY150" fmla="*/ 550068 h 1137690"/>
                  <a:gd name="connsiteX151" fmla="*/ 535161 w 959169"/>
                  <a:gd name="connsiteY151" fmla="*/ 552450 h 1137690"/>
                  <a:gd name="connsiteX152" fmla="*/ 549449 w 959169"/>
                  <a:gd name="connsiteY152" fmla="*/ 561975 h 1137690"/>
                  <a:gd name="connsiteX153" fmla="*/ 554211 w 959169"/>
                  <a:gd name="connsiteY153" fmla="*/ 569118 h 1137690"/>
                  <a:gd name="connsiteX154" fmla="*/ 561355 w 959169"/>
                  <a:gd name="connsiteY154" fmla="*/ 571500 h 1137690"/>
                  <a:gd name="connsiteX155" fmla="*/ 582786 w 959169"/>
                  <a:gd name="connsiteY155" fmla="*/ 573881 h 1137690"/>
                  <a:gd name="connsiteX156" fmla="*/ 597074 w 959169"/>
                  <a:gd name="connsiteY156" fmla="*/ 576262 h 1137690"/>
                  <a:gd name="connsiteX157" fmla="*/ 616124 w 959169"/>
                  <a:gd name="connsiteY157" fmla="*/ 578643 h 1137690"/>
                  <a:gd name="connsiteX158" fmla="*/ 647080 w 959169"/>
                  <a:gd name="connsiteY158" fmla="*/ 576262 h 1137690"/>
                  <a:gd name="connsiteX159" fmla="*/ 654224 w 959169"/>
                  <a:gd name="connsiteY159" fmla="*/ 573881 h 1137690"/>
                  <a:gd name="connsiteX160" fmla="*/ 661367 w 959169"/>
                  <a:gd name="connsiteY160" fmla="*/ 547687 h 1137690"/>
                  <a:gd name="connsiteX161" fmla="*/ 668511 w 959169"/>
                  <a:gd name="connsiteY161" fmla="*/ 545306 h 1137690"/>
                  <a:gd name="connsiteX162" fmla="*/ 732805 w 959169"/>
                  <a:gd name="connsiteY162" fmla="*/ 540543 h 1137690"/>
                  <a:gd name="connsiteX163" fmla="*/ 756617 w 959169"/>
                  <a:gd name="connsiteY163" fmla="*/ 533400 h 1137690"/>
                  <a:gd name="connsiteX164" fmla="*/ 763761 w 959169"/>
                  <a:gd name="connsiteY164" fmla="*/ 531018 h 1137690"/>
                  <a:gd name="connsiteX165" fmla="*/ 782811 w 959169"/>
                  <a:gd name="connsiteY165" fmla="*/ 526256 h 1137690"/>
                  <a:gd name="connsiteX166" fmla="*/ 820911 w 959169"/>
                  <a:gd name="connsiteY166" fmla="*/ 528637 h 1137690"/>
                  <a:gd name="connsiteX167" fmla="*/ 832817 w 959169"/>
                  <a:gd name="connsiteY167" fmla="*/ 526256 h 1137690"/>
                  <a:gd name="connsiteX168" fmla="*/ 828055 w 959169"/>
                  <a:gd name="connsiteY168" fmla="*/ 519112 h 1137690"/>
                  <a:gd name="connsiteX169" fmla="*/ 804242 w 959169"/>
                  <a:gd name="connsiteY169" fmla="*/ 504825 h 1137690"/>
                  <a:gd name="connsiteX170" fmla="*/ 806624 w 959169"/>
                  <a:gd name="connsiteY170" fmla="*/ 490537 h 1137690"/>
                  <a:gd name="connsiteX171" fmla="*/ 820911 w 959169"/>
                  <a:gd name="connsiteY171" fmla="*/ 485775 h 1137690"/>
                  <a:gd name="connsiteX172" fmla="*/ 916161 w 959169"/>
                  <a:gd name="connsiteY172" fmla="*/ 490537 h 1137690"/>
                  <a:gd name="connsiteX173" fmla="*/ 925686 w 959169"/>
                  <a:gd name="connsiteY173" fmla="*/ 492918 h 1137690"/>
                  <a:gd name="connsiteX174" fmla="*/ 937592 w 959169"/>
                  <a:gd name="connsiteY174" fmla="*/ 495300 h 1137690"/>
                  <a:gd name="connsiteX175" fmla="*/ 956642 w 959169"/>
                  <a:gd name="connsiteY175" fmla="*/ 500062 h 1137690"/>
                  <a:gd name="connsiteX176" fmla="*/ 956642 w 959169"/>
                  <a:gd name="connsiteY176" fmla="*/ 545306 h 1137690"/>
                  <a:gd name="connsiteX177" fmla="*/ 951880 w 959169"/>
                  <a:gd name="connsiteY177" fmla="*/ 564356 h 1137690"/>
                  <a:gd name="connsiteX178" fmla="*/ 947117 w 959169"/>
                  <a:gd name="connsiteY178" fmla="*/ 588168 h 1137690"/>
                  <a:gd name="connsiteX179" fmla="*/ 918542 w 959169"/>
                  <a:gd name="connsiteY179" fmla="*/ 581025 h 1137690"/>
                  <a:gd name="connsiteX180" fmla="*/ 916161 w 959169"/>
                  <a:gd name="connsiteY180" fmla="*/ 573881 h 1137690"/>
                  <a:gd name="connsiteX181" fmla="*/ 904255 w 959169"/>
                  <a:gd name="connsiteY181" fmla="*/ 559593 h 1137690"/>
                  <a:gd name="connsiteX182" fmla="*/ 901874 w 959169"/>
                  <a:gd name="connsiteY182" fmla="*/ 552450 h 1137690"/>
                  <a:gd name="connsiteX183" fmla="*/ 870917 w 959169"/>
                  <a:gd name="connsiteY183" fmla="*/ 547687 h 1137690"/>
                  <a:gd name="connsiteX184" fmla="*/ 866155 w 959169"/>
                  <a:gd name="connsiteY184" fmla="*/ 557212 h 1137690"/>
                  <a:gd name="connsiteX185" fmla="*/ 837580 w 959169"/>
                  <a:gd name="connsiteY185" fmla="*/ 571500 h 1137690"/>
                  <a:gd name="connsiteX186" fmla="*/ 823292 w 959169"/>
                  <a:gd name="connsiteY186" fmla="*/ 576262 h 1137690"/>
                  <a:gd name="connsiteX187" fmla="*/ 801861 w 959169"/>
                  <a:gd name="connsiteY187" fmla="*/ 581025 h 1137690"/>
                  <a:gd name="connsiteX188" fmla="*/ 782811 w 959169"/>
                  <a:gd name="connsiteY188" fmla="*/ 597693 h 1137690"/>
                  <a:gd name="connsiteX189" fmla="*/ 780430 w 959169"/>
                  <a:gd name="connsiteY189" fmla="*/ 604837 h 1137690"/>
                  <a:gd name="connsiteX190" fmla="*/ 773286 w 959169"/>
                  <a:gd name="connsiteY190" fmla="*/ 619125 h 1137690"/>
                  <a:gd name="connsiteX191" fmla="*/ 770905 w 959169"/>
                  <a:gd name="connsiteY191" fmla="*/ 628650 h 1137690"/>
                  <a:gd name="connsiteX192" fmla="*/ 763761 w 959169"/>
                  <a:gd name="connsiteY192" fmla="*/ 647700 h 1137690"/>
                  <a:gd name="connsiteX193" fmla="*/ 761380 w 959169"/>
                  <a:gd name="connsiteY193" fmla="*/ 654843 h 1137690"/>
                  <a:gd name="connsiteX194" fmla="*/ 754236 w 959169"/>
                  <a:gd name="connsiteY194" fmla="*/ 661987 h 1137690"/>
                  <a:gd name="connsiteX195" fmla="*/ 749474 w 959169"/>
                  <a:gd name="connsiteY195" fmla="*/ 669131 h 1137690"/>
                  <a:gd name="connsiteX196" fmla="*/ 725661 w 959169"/>
                  <a:gd name="connsiteY196" fmla="*/ 685800 h 1137690"/>
                  <a:gd name="connsiteX197" fmla="*/ 718517 w 959169"/>
                  <a:gd name="connsiteY197" fmla="*/ 690562 h 1137690"/>
                  <a:gd name="connsiteX198" fmla="*/ 694705 w 959169"/>
                  <a:gd name="connsiteY198" fmla="*/ 700087 h 1137690"/>
                  <a:gd name="connsiteX199" fmla="*/ 687561 w 959169"/>
                  <a:gd name="connsiteY199" fmla="*/ 704850 h 1137690"/>
                  <a:gd name="connsiteX200" fmla="*/ 668511 w 959169"/>
                  <a:gd name="connsiteY200" fmla="*/ 714375 h 1137690"/>
                  <a:gd name="connsiteX201" fmla="*/ 654224 w 959169"/>
                  <a:gd name="connsiteY201" fmla="*/ 721518 h 1137690"/>
                  <a:gd name="connsiteX202" fmla="*/ 647080 w 959169"/>
                  <a:gd name="connsiteY202" fmla="*/ 726281 h 1137690"/>
                  <a:gd name="connsiteX203" fmla="*/ 644699 w 959169"/>
                  <a:gd name="connsiteY203" fmla="*/ 733425 h 1137690"/>
                  <a:gd name="connsiteX204" fmla="*/ 639936 w 959169"/>
                  <a:gd name="connsiteY204" fmla="*/ 740568 h 1137690"/>
                  <a:gd name="connsiteX205" fmla="*/ 637555 w 959169"/>
                  <a:gd name="connsiteY205" fmla="*/ 747712 h 1137690"/>
                  <a:gd name="connsiteX206" fmla="*/ 620886 w 959169"/>
                  <a:gd name="connsiteY206" fmla="*/ 754856 h 1137690"/>
                  <a:gd name="connsiteX207" fmla="*/ 558974 w 959169"/>
                  <a:gd name="connsiteY207" fmla="*/ 757237 h 1137690"/>
                  <a:gd name="connsiteX208" fmla="*/ 558974 w 959169"/>
                  <a:gd name="connsiteY208" fmla="*/ 790575 h 1137690"/>
                  <a:gd name="connsiteX209" fmla="*/ 547067 w 959169"/>
                  <a:gd name="connsiteY209" fmla="*/ 795337 h 1137690"/>
                  <a:gd name="connsiteX210" fmla="*/ 535161 w 959169"/>
                  <a:gd name="connsiteY210" fmla="*/ 797718 h 1137690"/>
                  <a:gd name="connsiteX211" fmla="*/ 525636 w 959169"/>
                  <a:gd name="connsiteY211" fmla="*/ 800100 h 1137690"/>
                  <a:gd name="connsiteX212" fmla="*/ 478011 w 959169"/>
                  <a:gd name="connsiteY212" fmla="*/ 792956 h 1137690"/>
                  <a:gd name="connsiteX213" fmla="*/ 475630 w 959169"/>
                  <a:gd name="connsiteY213" fmla="*/ 785812 h 1137690"/>
                  <a:gd name="connsiteX214" fmla="*/ 470867 w 959169"/>
                  <a:gd name="connsiteY214" fmla="*/ 776287 h 1137690"/>
                  <a:gd name="connsiteX215" fmla="*/ 456580 w 959169"/>
                  <a:gd name="connsiteY215" fmla="*/ 766762 h 1137690"/>
                  <a:gd name="connsiteX216" fmla="*/ 430386 w 959169"/>
                  <a:gd name="connsiteY216" fmla="*/ 769143 h 1137690"/>
                  <a:gd name="connsiteX217" fmla="*/ 439911 w 959169"/>
                  <a:gd name="connsiteY217" fmla="*/ 795337 h 1137690"/>
                  <a:gd name="connsiteX218" fmla="*/ 444674 w 959169"/>
                  <a:gd name="connsiteY218" fmla="*/ 804862 h 1137690"/>
                  <a:gd name="connsiteX219" fmla="*/ 451817 w 959169"/>
                  <a:gd name="connsiteY219" fmla="*/ 807243 h 1137690"/>
                  <a:gd name="connsiteX220" fmla="*/ 458961 w 959169"/>
                  <a:gd name="connsiteY220" fmla="*/ 812006 h 1137690"/>
                  <a:gd name="connsiteX221" fmla="*/ 473249 w 959169"/>
                  <a:gd name="connsiteY221" fmla="*/ 819150 h 1137690"/>
                  <a:gd name="connsiteX222" fmla="*/ 482774 w 959169"/>
                  <a:gd name="connsiteY222" fmla="*/ 826293 h 1137690"/>
                  <a:gd name="connsiteX223" fmla="*/ 489917 w 959169"/>
                  <a:gd name="connsiteY223" fmla="*/ 831056 h 1137690"/>
                  <a:gd name="connsiteX224" fmla="*/ 508967 w 959169"/>
                  <a:gd name="connsiteY224" fmla="*/ 842962 h 1137690"/>
                  <a:gd name="connsiteX225" fmla="*/ 516111 w 959169"/>
                  <a:gd name="connsiteY225" fmla="*/ 847725 h 1137690"/>
                  <a:gd name="connsiteX226" fmla="*/ 523255 w 959169"/>
                  <a:gd name="connsiteY226" fmla="*/ 854868 h 1137690"/>
                  <a:gd name="connsiteX227" fmla="*/ 532780 w 959169"/>
                  <a:gd name="connsiteY227" fmla="*/ 859631 h 1137690"/>
                  <a:gd name="connsiteX228" fmla="*/ 542305 w 959169"/>
                  <a:gd name="connsiteY228" fmla="*/ 866775 h 1137690"/>
                  <a:gd name="connsiteX229" fmla="*/ 556592 w 959169"/>
                  <a:gd name="connsiteY229" fmla="*/ 876300 h 1137690"/>
                  <a:gd name="connsiteX230" fmla="*/ 578024 w 959169"/>
                  <a:gd name="connsiteY230" fmla="*/ 900112 h 1137690"/>
                  <a:gd name="connsiteX231" fmla="*/ 582786 w 959169"/>
                  <a:gd name="connsiteY231" fmla="*/ 914400 h 1137690"/>
                  <a:gd name="connsiteX232" fmla="*/ 585167 w 959169"/>
                  <a:gd name="connsiteY232" fmla="*/ 926306 h 1137690"/>
                  <a:gd name="connsiteX233" fmla="*/ 594692 w 959169"/>
                  <a:gd name="connsiteY233" fmla="*/ 942975 h 1137690"/>
                  <a:gd name="connsiteX234" fmla="*/ 597074 w 959169"/>
                  <a:gd name="connsiteY234" fmla="*/ 950118 h 1137690"/>
                  <a:gd name="connsiteX235" fmla="*/ 599455 w 959169"/>
                  <a:gd name="connsiteY235" fmla="*/ 973931 h 1137690"/>
                  <a:gd name="connsiteX236" fmla="*/ 601836 w 959169"/>
                  <a:gd name="connsiteY236" fmla="*/ 981075 h 1137690"/>
                  <a:gd name="connsiteX237" fmla="*/ 608980 w 959169"/>
                  <a:gd name="connsiteY237" fmla="*/ 988218 h 1137690"/>
                  <a:gd name="connsiteX238" fmla="*/ 618505 w 959169"/>
                  <a:gd name="connsiteY238" fmla="*/ 1002506 h 1137690"/>
                  <a:gd name="connsiteX239" fmla="*/ 623267 w 959169"/>
                  <a:gd name="connsiteY239" fmla="*/ 1009650 h 1137690"/>
                  <a:gd name="connsiteX240" fmla="*/ 637555 w 959169"/>
                  <a:gd name="connsiteY240" fmla="*/ 1021556 h 1137690"/>
                  <a:gd name="connsiteX241" fmla="*/ 642317 w 959169"/>
                  <a:gd name="connsiteY241" fmla="*/ 1028700 h 1137690"/>
                  <a:gd name="connsiteX242" fmla="*/ 658986 w 959169"/>
                  <a:gd name="connsiteY242" fmla="*/ 1042987 h 1137690"/>
                  <a:gd name="connsiteX243" fmla="*/ 678036 w 959169"/>
                  <a:gd name="connsiteY243" fmla="*/ 1050131 h 1137690"/>
                  <a:gd name="connsiteX244" fmla="*/ 694705 w 959169"/>
                  <a:gd name="connsiteY244" fmla="*/ 1071562 h 1137690"/>
                  <a:gd name="connsiteX245" fmla="*/ 699467 w 959169"/>
                  <a:gd name="connsiteY245" fmla="*/ 1078706 h 1137690"/>
                  <a:gd name="connsiteX246" fmla="*/ 706611 w 959169"/>
                  <a:gd name="connsiteY246" fmla="*/ 1085850 h 1137690"/>
                  <a:gd name="connsiteX247" fmla="*/ 711374 w 959169"/>
                  <a:gd name="connsiteY247" fmla="*/ 1092993 h 1137690"/>
                  <a:gd name="connsiteX248" fmla="*/ 716136 w 959169"/>
                  <a:gd name="connsiteY248" fmla="*/ 1102518 h 1137690"/>
                  <a:gd name="connsiteX249" fmla="*/ 725661 w 959169"/>
                  <a:gd name="connsiteY249" fmla="*/ 1109662 h 1137690"/>
                  <a:gd name="connsiteX250" fmla="*/ 732805 w 959169"/>
                  <a:gd name="connsiteY250" fmla="*/ 1116806 h 1137690"/>
                  <a:gd name="connsiteX251" fmla="*/ 730424 w 959169"/>
                  <a:gd name="connsiteY251" fmla="*/ 1135856 h 1137690"/>
                  <a:gd name="connsiteX252" fmla="*/ 699467 w 959169"/>
                  <a:gd name="connsiteY252" fmla="*/ 1133475 h 1137690"/>
                  <a:gd name="connsiteX253" fmla="*/ 678036 w 959169"/>
                  <a:gd name="connsiteY253" fmla="*/ 1123950 h 1137690"/>
                  <a:gd name="connsiteX254" fmla="*/ 675655 w 959169"/>
                  <a:gd name="connsiteY254" fmla="*/ 1116806 h 1137690"/>
                  <a:gd name="connsiteX255" fmla="*/ 661367 w 959169"/>
                  <a:gd name="connsiteY255" fmla="*/ 1109662 h 1137690"/>
                  <a:gd name="connsiteX256" fmla="*/ 651842 w 959169"/>
                  <a:gd name="connsiteY256" fmla="*/ 1104900 h 1137690"/>
                  <a:gd name="connsiteX257" fmla="*/ 630411 w 959169"/>
                  <a:gd name="connsiteY257" fmla="*/ 1100137 h 1137690"/>
                  <a:gd name="connsiteX258" fmla="*/ 620886 w 959169"/>
                  <a:gd name="connsiteY258" fmla="*/ 1095375 h 1137690"/>
                  <a:gd name="connsiteX259" fmla="*/ 613742 w 959169"/>
                  <a:gd name="connsiteY259" fmla="*/ 1092993 h 1137690"/>
                  <a:gd name="connsiteX260" fmla="*/ 599455 w 959169"/>
                  <a:gd name="connsiteY260" fmla="*/ 1076325 h 1137690"/>
                  <a:gd name="connsiteX261" fmla="*/ 592311 w 959169"/>
                  <a:gd name="connsiteY261" fmla="*/ 1071562 h 1137690"/>
                  <a:gd name="connsiteX262" fmla="*/ 566117 w 959169"/>
                  <a:gd name="connsiteY262" fmla="*/ 1066800 h 1137690"/>
                  <a:gd name="connsiteX263" fmla="*/ 547067 w 959169"/>
                  <a:gd name="connsiteY263" fmla="*/ 1059656 h 1137690"/>
                  <a:gd name="connsiteX264" fmla="*/ 535161 w 959169"/>
                  <a:gd name="connsiteY264" fmla="*/ 1057275 h 1137690"/>
                  <a:gd name="connsiteX265" fmla="*/ 537542 w 959169"/>
                  <a:gd name="connsiteY265" fmla="*/ 1042987 h 1137690"/>
                  <a:gd name="connsiteX266" fmla="*/ 551830 w 959169"/>
                  <a:gd name="connsiteY266" fmla="*/ 1038225 h 1137690"/>
                  <a:gd name="connsiteX267" fmla="*/ 561355 w 959169"/>
                  <a:gd name="connsiteY267" fmla="*/ 1033462 h 1137690"/>
                  <a:gd name="connsiteX268" fmla="*/ 561355 w 959169"/>
                  <a:gd name="connsiteY268" fmla="*/ 1004887 h 1137690"/>
                  <a:gd name="connsiteX269" fmla="*/ 554211 w 959169"/>
                  <a:gd name="connsiteY269" fmla="*/ 981075 h 1137690"/>
                  <a:gd name="connsiteX270" fmla="*/ 547067 w 959169"/>
                  <a:gd name="connsiteY270" fmla="*/ 976312 h 1137690"/>
                  <a:gd name="connsiteX271" fmla="*/ 537542 w 959169"/>
                  <a:gd name="connsiteY271" fmla="*/ 969168 h 1137690"/>
                  <a:gd name="connsiteX272" fmla="*/ 516111 w 959169"/>
                  <a:gd name="connsiteY272" fmla="*/ 950118 h 1137690"/>
                  <a:gd name="connsiteX273" fmla="*/ 497061 w 959169"/>
                  <a:gd name="connsiteY273" fmla="*/ 940593 h 1137690"/>
                  <a:gd name="connsiteX274" fmla="*/ 487536 w 959169"/>
                  <a:gd name="connsiteY274" fmla="*/ 935831 h 1137690"/>
                  <a:gd name="connsiteX275" fmla="*/ 475630 w 959169"/>
                  <a:gd name="connsiteY275" fmla="*/ 928687 h 1137690"/>
                  <a:gd name="connsiteX276" fmla="*/ 463724 w 959169"/>
                  <a:gd name="connsiteY276" fmla="*/ 926306 h 1137690"/>
                  <a:gd name="connsiteX277" fmla="*/ 411336 w 959169"/>
                  <a:gd name="connsiteY277" fmla="*/ 923925 h 1137690"/>
                  <a:gd name="connsiteX278" fmla="*/ 397049 w 959169"/>
                  <a:gd name="connsiteY278" fmla="*/ 916781 h 1137690"/>
                  <a:gd name="connsiteX279" fmla="*/ 389905 w 959169"/>
                  <a:gd name="connsiteY279" fmla="*/ 914400 h 1137690"/>
                  <a:gd name="connsiteX280" fmla="*/ 368474 w 959169"/>
                  <a:gd name="connsiteY280" fmla="*/ 909637 h 1137690"/>
                  <a:gd name="connsiteX281" fmla="*/ 361330 w 959169"/>
                  <a:gd name="connsiteY281" fmla="*/ 907256 h 1137690"/>
                  <a:gd name="connsiteX282" fmla="*/ 347042 w 959169"/>
                  <a:gd name="connsiteY282" fmla="*/ 904875 h 1137690"/>
                  <a:gd name="connsiteX283" fmla="*/ 327992 w 959169"/>
                  <a:gd name="connsiteY283" fmla="*/ 900112 h 1137690"/>
                  <a:gd name="connsiteX284" fmla="*/ 320849 w 959169"/>
                  <a:gd name="connsiteY284" fmla="*/ 897731 h 1137690"/>
                  <a:gd name="connsiteX285" fmla="*/ 311324 w 959169"/>
                  <a:gd name="connsiteY285" fmla="*/ 895350 h 1137690"/>
                  <a:gd name="connsiteX286" fmla="*/ 299417 w 959169"/>
                  <a:gd name="connsiteY286" fmla="*/ 885825 h 1137690"/>
                  <a:gd name="connsiteX287" fmla="*/ 294655 w 959169"/>
                  <a:gd name="connsiteY287" fmla="*/ 878681 h 1137690"/>
                  <a:gd name="connsiteX288" fmla="*/ 287511 w 959169"/>
                  <a:gd name="connsiteY288" fmla="*/ 873918 h 1137690"/>
                  <a:gd name="connsiteX289" fmla="*/ 275605 w 959169"/>
                  <a:gd name="connsiteY289" fmla="*/ 857250 h 1137690"/>
                  <a:gd name="connsiteX290" fmla="*/ 261317 w 959169"/>
                  <a:gd name="connsiteY290" fmla="*/ 838200 h 1137690"/>
                  <a:gd name="connsiteX291" fmla="*/ 247030 w 959169"/>
                  <a:gd name="connsiteY291" fmla="*/ 823912 h 1137690"/>
                  <a:gd name="connsiteX292" fmla="*/ 230361 w 959169"/>
                  <a:gd name="connsiteY292" fmla="*/ 804862 h 1137690"/>
                  <a:gd name="connsiteX293" fmla="*/ 197024 w 959169"/>
                  <a:gd name="connsiteY293" fmla="*/ 800100 h 1137690"/>
                  <a:gd name="connsiteX294" fmla="*/ 185117 w 959169"/>
                  <a:gd name="connsiteY294" fmla="*/ 797718 h 1137690"/>
                  <a:gd name="connsiteX295" fmla="*/ 170830 w 959169"/>
                  <a:gd name="connsiteY295" fmla="*/ 795337 h 1137690"/>
                  <a:gd name="connsiteX296" fmla="*/ 158924 w 959169"/>
                  <a:gd name="connsiteY296" fmla="*/ 790575 h 1137690"/>
                  <a:gd name="connsiteX297" fmla="*/ 111299 w 959169"/>
                  <a:gd name="connsiteY297" fmla="*/ 795337 h 1137690"/>
                  <a:gd name="connsiteX298" fmla="*/ 77961 w 959169"/>
                  <a:gd name="connsiteY298" fmla="*/ 790575 h 1137690"/>
                  <a:gd name="connsiteX299" fmla="*/ 70817 w 959169"/>
                  <a:gd name="connsiteY299" fmla="*/ 788193 h 1137690"/>
                  <a:gd name="connsiteX300" fmla="*/ 73199 w 959169"/>
                  <a:gd name="connsiteY300" fmla="*/ 781050 h 1137690"/>
                  <a:gd name="connsiteX301" fmla="*/ 75580 w 959169"/>
                  <a:gd name="connsiteY301" fmla="*/ 771525 h 1137690"/>
                  <a:gd name="connsiteX302" fmla="*/ 73199 w 959169"/>
                  <a:gd name="connsiteY302" fmla="*/ 757237 h 1137690"/>
                  <a:gd name="connsiteX303" fmla="*/ 51767 w 959169"/>
                  <a:gd name="connsiteY303" fmla="*/ 738187 h 1137690"/>
                  <a:gd name="connsiteX304" fmla="*/ 39861 w 959169"/>
                  <a:gd name="connsiteY304" fmla="*/ 721518 h 1137690"/>
                  <a:gd name="connsiteX305" fmla="*/ 35099 w 959169"/>
                  <a:gd name="connsiteY305" fmla="*/ 707231 h 1137690"/>
                  <a:gd name="connsiteX306" fmla="*/ 32717 w 959169"/>
                  <a:gd name="connsiteY306" fmla="*/ 697706 h 1137690"/>
                  <a:gd name="connsiteX307" fmla="*/ 27955 w 959169"/>
                  <a:gd name="connsiteY307" fmla="*/ 690562 h 1137690"/>
                  <a:gd name="connsiteX308" fmla="*/ 18430 w 959169"/>
                  <a:gd name="connsiteY308" fmla="*/ 666750 h 1137690"/>
                  <a:gd name="connsiteX309" fmla="*/ 16049 w 959169"/>
                  <a:gd name="connsiteY309" fmla="*/ 652462 h 1137690"/>
                  <a:gd name="connsiteX310" fmla="*/ 11286 w 959169"/>
                  <a:gd name="connsiteY310" fmla="*/ 616743 h 1137690"/>
                  <a:gd name="connsiteX311" fmla="*/ 8905 w 959169"/>
                  <a:gd name="connsiteY311" fmla="*/ 607218 h 1137690"/>
                  <a:gd name="connsiteX312" fmla="*/ 6524 w 959169"/>
                  <a:gd name="connsiteY312" fmla="*/ 592931 h 1137690"/>
                  <a:gd name="connsiteX313" fmla="*/ 4142 w 959169"/>
                  <a:gd name="connsiteY313" fmla="*/ 585787 h 1137690"/>
                  <a:gd name="connsiteX314" fmla="*/ 1761 w 959169"/>
                  <a:gd name="connsiteY314" fmla="*/ 573881 h 1137690"/>
                  <a:gd name="connsiteX315" fmla="*/ 6524 w 959169"/>
                  <a:gd name="connsiteY315" fmla="*/ 538162 h 113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Lst>
                <a:rect l="l" t="t" r="r" b="b"/>
                <a:pathLst>
                  <a:path w="959169" h="1137690">
                    <a:moveTo>
                      <a:pt x="6524" y="538162"/>
                    </a:moveTo>
                    <a:cubicBezTo>
                      <a:pt x="9302" y="531018"/>
                      <a:pt x="15157" y="534291"/>
                      <a:pt x="18430" y="531018"/>
                    </a:cubicBezTo>
                    <a:cubicBezTo>
                      <a:pt x="20205" y="529243"/>
                      <a:pt x="19592" y="526069"/>
                      <a:pt x="20811" y="523875"/>
                    </a:cubicBezTo>
                    <a:cubicBezTo>
                      <a:pt x="23591" y="518871"/>
                      <a:pt x="28526" y="515017"/>
                      <a:pt x="30336" y="509587"/>
                    </a:cubicBezTo>
                    <a:cubicBezTo>
                      <a:pt x="32817" y="502142"/>
                      <a:pt x="35223" y="492836"/>
                      <a:pt x="42242" y="488156"/>
                    </a:cubicBezTo>
                    <a:lnTo>
                      <a:pt x="49386" y="483393"/>
                    </a:lnTo>
                    <a:cubicBezTo>
                      <a:pt x="55371" y="465437"/>
                      <a:pt x="47296" y="487573"/>
                      <a:pt x="56530" y="469106"/>
                    </a:cubicBezTo>
                    <a:cubicBezTo>
                      <a:pt x="66389" y="449388"/>
                      <a:pt x="50024" y="475292"/>
                      <a:pt x="63674" y="454818"/>
                    </a:cubicBezTo>
                    <a:cubicBezTo>
                      <a:pt x="64730" y="451651"/>
                      <a:pt x="68524" y="440877"/>
                      <a:pt x="68436" y="438150"/>
                    </a:cubicBezTo>
                    <a:cubicBezTo>
                      <a:pt x="67951" y="423110"/>
                      <a:pt x="67028" y="384892"/>
                      <a:pt x="61292" y="361950"/>
                    </a:cubicBezTo>
                    <a:cubicBezTo>
                      <a:pt x="59058" y="353013"/>
                      <a:pt x="58239" y="354824"/>
                      <a:pt x="54149" y="345281"/>
                    </a:cubicBezTo>
                    <a:cubicBezTo>
                      <a:pt x="53160" y="342974"/>
                      <a:pt x="52561" y="340518"/>
                      <a:pt x="51767" y="338137"/>
                    </a:cubicBezTo>
                    <a:cubicBezTo>
                      <a:pt x="52561" y="329406"/>
                      <a:pt x="52909" y="320622"/>
                      <a:pt x="54149" y="311943"/>
                    </a:cubicBezTo>
                    <a:cubicBezTo>
                      <a:pt x="54504" y="309458"/>
                      <a:pt x="55921" y="307235"/>
                      <a:pt x="56530" y="304800"/>
                    </a:cubicBezTo>
                    <a:cubicBezTo>
                      <a:pt x="57512" y="300873"/>
                      <a:pt x="58117" y="296862"/>
                      <a:pt x="58911" y="292893"/>
                    </a:cubicBezTo>
                    <a:cubicBezTo>
                      <a:pt x="59705" y="282574"/>
                      <a:pt x="60008" y="272206"/>
                      <a:pt x="61292" y="261937"/>
                    </a:cubicBezTo>
                    <a:cubicBezTo>
                      <a:pt x="61603" y="259446"/>
                      <a:pt x="62984" y="257207"/>
                      <a:pt x="63674" y="254793"/>
                    </a:cubicBezTo>
                    <a:cubicBezTo>
                      <a:pt x="65338" y="248969"/>
                      <a:pt x="67987" y="235226"/>
                      <a:pt x="70817" y="230981"/>
                    </a:cubicBezTo>
                    <a:lnTo>
                      <a:pt x="75580" y="223837"/>
                    </a:lnTo>
                    <a:cubicBezTo>
                      <a:pt x="76374" y="221456"/>
                      <a:pt x="76186" y="218468"/>
                      <a:pt x="77961" y="216693"/>
                    </a:cubicBezTo>
                    <a:cubicBezTo>
                      <a:pt x="79736" y="214918"/>
                      <a:pt x="82620" y="214667"/>
                      <a:pt x="85105" y="214312"/>
                    </a:cubicBezTo>
                    <a:cubicBezTo>
                      <a:pt x="93784" y="213072"/>
                      <a:pt x="102568" y="212725"/>
                      <a:pt x="111299" y="211931"/>
                    </a:cubicBezTo>
                    <a:cubicBezTo>
                      <a:pt x="113680" y="210343"/>
                      <a:pt x="116925" y="209595"/>
                      <a:pt x="118442" y="207168"/>
                    </a:cubicBezTo>
                    <a:cubicBezTo>
                      <a:pt x="121103" y="202911"/>
                      <a:pt x="123205" y="192881"/>
                      <a:pt x="123205" y="192881"/>
                    </a:cubicBezTo>
                    <a:cubicBezTo>
                      <a:pt x="123999" y="184943"/>
                      <a:pt x="122722" y="176514"/>
                      <a:pt x="125586" y="169068"/>
                    </a:cubicBezTo>
                    <a:cubicBezTo>
                      <a:pt x="129283" y="159454"/>
                      <a:pt x="148826" y="160210"/>
                      <a:pt x="154161" y="159543"/>
                    </a:cubicBezTo>
                    <a:cubicBezTo>
                      <a:pt x="158053" y="158246"/>
                      <a:pt x="166020" y="156287"/>
                      <a:pt x="168449" y="152400"/>
                    </a:cubicBezTo>
                    <a:cubicBezTo>
                      <a:pt x="171110" y="148143"/>
                      <a:pt x="171993" y="142982"/>
                      <a:pt x="173211" y="138112"/>
                    </a:cubicBezTo>
                    <a:lnTo>
                      <a:pt x="177974" y="119062"/>
                    </a:lnTo>
                    <a:cubicBezTo>
                      <a:pt x="178737" y="116012"/>
                      <a:pt x="181028" y="105808"/>
                      <a:pt x="182736" y="102393"/>
                    </a:cubicBezTo>
                    <a:cubicBezTo>
                      <a:pt x="184016" y="99833"/>
                      <a:pt x="185911" y="97631"/>
                      <a:pt x="187499" y="95250"/>
                    </a:cubicBezTo>
                    <a:cubicBezTo>
                      <a:pt x="188365" y="92653"/>
                      <a:pt x="189808" y="80384"/>
                      <a:pt x="197024" y="90487"/>
                    </a:cubicBezTo>
                    <a:cubicBezTo>
                      <a:pt x="200953" y="95988"/>
                      <a:pt x="202504" y="110031"/>
                      <a:pt x="204167" y="116681"/>
                    </a:cubicBezTo>
                    <a:cubicBezTo>
                      <a:pt x="204776" y="119116"/>
                      <a:pt x="205426" y="121580"/>
                      <a:pt x="206549" y="123825"/>
                    </a:cubicBezTo>
                    <a:cubicBezTo>
                      <a:pt x="209864" y="130456"/>
                      <a:pt x="213188" y="132845"/>
                      <a:pt x="218455" y="138112"/>
                    </a:cubicBezTo>
                    <a:cubicBezTo>
                      <a:pt x="219249" y="140493"/>
                      <a:pt x="218793" y="143797"/>
                      <a:pt x="220836" y="145256"/>
                    </a:cubicBezTo>
                    <a:cubicBezTo>
                      <a:pt x="224921" y="148174"/>
                      <a:pt x="235124" y="150018"/>
                      <a:pt x="235124" y="150018"/>
                    </a:cubicBezTo>
                    <a:cubicBezTo>
                      <a:pt x="239886" y="149224"/>
                      <a:pt x="244831" y="149164"/>
                      <a:pt x="249411" y="147637"/>
                    </a:cubicBezTo>
                    <a:cubicBezTo>
                      <a:pt x="254385" y="145979"/>
                      <a:pt x="260382" y="139048"/>
                      <a:pt x="263699" y="135731"/>
                    </a:cubicBezTo>
                    <a:lnTo>
                      <a:pt x="268461" y="121443"/>
                    </a:lnTo>
                    <a:cubicBezTo>
                      <a:pt x="269255" y="119062"/>
                      <a:pt x="269067" y="116075"/>
                      <a:pt x="270842" y="114300"/>
                    </a:cubicBezTo>
                    <a:cubicBezTo>
                      <a:pt x="273223" y="111919"/>
                      <a:pt x="275830" y="109743"/>
                      <a:pt x="277986" y="107156"/>
                    </a:cubicBezTo>
                    <a:cubicBezTo>
                      <a:pt x="279818" y="104957"/>
                      <a:pt x="280725" y="102036"/>
                      <a:pt x="282749" y="100012"/>
                    </a:cubicBezTo>
                    <a:cubicBezTo>
                      <a:pt x="284772" y="97989"/>
                      <a:pt x="287511" y="96837"/>
                      <a:pt x="289892" y="95250"/>
                    </a:cubicBezTo>
                    <a:cubicBezTo>
                      <a:pt x="291480" y="92869"/>
                      <a:pt x="292631" y="90130"/>
                      <a:pt x="294655" y="88106"/>
                    </a:cubicBezTo>
                    <a:cubicBezTo>
                      <a:pt x="310529" y="72232"/>
                      <a:pt x="293863" y="95246"/>
                      <a:pt x="306561" y="76200"/>
                    </a:cubicBezTo>
                    <a:cubicBezTo>
                      <a:pt x="308149" y="71437"/>
                      <a:pt x="310340" y="66835"/>
                      <a:pt x="311324" y="61912"/>
                    </a:cubicBezTo>
                    <a:cubicBezTo>
                      <a:pt x="316647" y="35294"/>
                      <a:pt x="311596" y="44835"/>
                      <a:pt x="320849" y="30956"/>
                    </a:cubicBezTo>
                    <a:cubicBezTo>
                      <a:pt x="322436" y="26193"/>
                      <a:pt x="322061" y="20218"/>
                      <a:pt x="325611" y="16668"/>
                    </a:cubicBezTo>
                    <a:cubicBezTo>
                      <a:pt x="327992" y="14287"/>
                      <a:pt x="329811" y="11160"/>
                      <a:pt x="332755" y="9525"/>
                    </a:cubicBezTo>
                    <a:cubicBezTo>
                      <a:pt x="337143" y="7087"/>
                      <a:pt x="342280" y="6350"/>
                      <a:pt x="347042" y="4762"/>
                    </a:cubicBezTo>
                    <a:cubicBezTo>
                      <a:pt x="357283" y="1348"/>
                      <a:pt x="351761" y="2987"/>
                      <a:pt x="363711" y="0"/>
                    </a:cubicBezTo>
                    <a:cubicBezTo>
                      <a:pt x="372442" y="794"/>
                      <a:pt x="381494" y="-93"/>
                      <a:pt x="389905" y="2381"/>
                    </a:cubicBezTo>
                    <a:cubicBezTo>
                      <a:pt x="395396" y="3996"/>
                      <a:pt x="399613" y="8472"/>
                      <a:pt x="404192" y="11906"/>
                    </a:cubicBezTo>
                    <a:cubicBezTo>
                      <a:pt x="406354" y="13527"/>
                      <a:pt x="417375" y="22069"/>
                      <a:pt x="420861" y="23812"/>
                    </a:cubicBezTo>
                    <a:cubicBezTo>
                      <a:pt x="433285" y="30023"/>
                      <a:pt x="466123" y="28436"/>
                      <a:pt x="468486" y="28575"/>
                    </a:cubicBezTo>
                    <a:cubicBezTo>
                      <a:pt x="471154" y="31242"/>
                      <a:pt x="479286" y="38439"/>
                      <a:pt x="480392" y="42862"/>
                    </a:cubicBezTo>
                    <a:cubicBezTo>
                      <a:pt x="487135" y="69835"/>
                      <a:pt x="475183" y="59231"/>
                      <a:pt x="489917" y="69056"/>
                    </a:cubicBezTo>
                    <a:cubicBezTo>
                      <a:pt x="510468" y="64946"/>
                      <a:pt x="501634" y="65596"/>
                      <a:pt x="532780" y="69056"/>
                    </a:cubicBezTo>
                    <a:cubicBezTo>
                      <a:pt x="543936" y="70295"/>
                      <a:pt x="566117" y="73818"/>
                      <a:pt x="566117" y="73818"/>
                    </a:cubicBezTo>
                    <a:cubicBezTo>
                      <a:pt x="569499" y="74946"/>
                      <a:pt x="584668" y="80408"/>
                      <a:pt x="589930" y="80962"/>
                    </a:cubicBezTo>
                    <a:cubicBezTo>
                      <a:pt x="601797" y="82211"/>
                      <a:pt x="613743" y="82549"/>
                      <a:pt x="625649" y="83343"/>
                    </a:cubicBezTo>
                    <a:cubicBezTo>
                      <a:pt x="628030" y="84137"/>
                      <a:pt x="630547" y="84602"/>
                      <a:pt x="632792" y="85725"/>
                    </a:cubicBezTo>
                    <a:cubicBezTo>
                      <a:pt x="635352" y="87005"/>
                      <a:pt x="637305" y="89360"/>
                      <a:pt x="639936" y="90487"/>
                    </a:cubicBezTo>
                    <a:cubicBezTo>
                      <a:pt x="642944" y="91776"/>
                      <a:pt x="646314" y="91969"/>
                      <a:pt x="649461" y="92868"/>
                    </a:cubicBezTo>
                    <a:cubicBezTo>
                      <a:pt x="651875" y="93558"/>
                      <a:pt x="654224" y="94456"/>
                      <a:pt x="656605" y="95250"/>
                    </a:cubicBezTo>
                    <a:cubicBezTo>
                      <a:pt x="655811" y="100012"/>
                      <a:pt x="656383" y="105219"/>
                      <a:pt x="654224" y="109537"/>
                    </a:cubicBezTo>
                    <a:cubicBezTo>
                      <a:pt x="652944" y="112097"/>
                      <a:pt x="649640" y="113020"/>
                      <a:pt x="647080" y="114300"/>
                    </a:cubicBezTo>
                    <a:cubicBezTo>
                      <a:pt x="644835" y="115423"/>
                      <a:pt x="642243" y="115692"/>
                      <a:pt x="639936" y="116681"/>
                    </a:cubicBezTo>
                    <a:cubicBezTo>
                      <a:pt x="619325" y="125513"/>
                      <a:pt x="640030" y="118236"/>
                      <a:pt x="623267" y="123825"/>
                    </a:cubicBezTo>
                    <a:lnTo>
                      <a:pt x="539924" y="119062"/>
                    </a:lnTo>
                    <a:lnTo>
                      <a:pt x="501824" y="116681"/>
                    </a:lnTo>
                    <a:cubicBezTo>
                      <a:pt x="470737" y="112240"/>
                      <a:pt x="481772" y="112761"/>
                      <a:pt x="432767" y="116681"/>
                    </a:cubicBezTo>
                    <a:cubicBezTo>
                      <a:pt x="430265" y="116881"/>
                      <a:pt x="428074" y="118518"/>
                      <a:pt x="425624" y="119062"/>
                    </a:cubicBezTo>
                    <a:cubicBezTo>
                      <a:pt x="420911" y="120109"/>
                      <a:pt x="416071" y="120496"/>
                      <a:pt x="411336" y="121443"/>
                    </a:cubicBezTo>
                    <a:cubicBezTo>
                      <a:pt x="403869" y="122937"/>
                      <a:pt x="401470" y="123939"/>
                      <a:pt x="394667" y="126206"/>
                    </a:cubicBezTo>
                    <a:cubicBezTo>
                      <a:pt x="393080" y="128587"/>
                      <a:pt x="391929" y="131326"/>
                      <a:pt x="389905" y="133350"/>
                    </a:cubicBezTo>
                    <a:cubicBezTo>
                      <a:pt x="387881" y="135374"/>
                      <a:pt x="384278" y="135685"/>
                      <a:pt x="382761" y="138112"/>
                    </a:cubicBezTo>
                    <a:cubicBezTo>
                      <a:pt x="380100" y="142369"/>
                      <a:pt x="377999" y="152400"/>
                      <a:pt x="377999" y="152400"/>
                    </a:cubicBezTo>
                    <a:cubicBezTo>
                      <a:pt x="379586" y="156369"/>
                      <a:pt x="381260" y="160304"/>
                      <a:pt x="382761" y="164306"/>
                    </a:cubicBezTo>
                    <a:cubicBezTo>
                      <a:pt x="383642" y="166656"/>
                      <a:pt x="383182" y="169882"/>
                      <a:pt x="385142" y="171450"/>
                    </a:cubicBezTo>
                    <a:cubicBezTo>
                      <a:pt x="387698" y="173494"/>
                      <a:pt x="391520" y="172932"/>
                      <a:pt x="394667" y="173831"/>
                    </a:cubicBezTo>
                    <a:cubicBezTo>
                      <a:pt x="397081" y="174521"/>
                      <a:pt x="399430" y="175418"/>
                      <a:pt x="401811" y="176212"/>
                    </a:cubicBezTo>
                    <a:cubicBezTo>
                      <a:pt x="418188" y="187129"/>
                      <a:pt x="414289" y="180307"/>
                      <a:pt x="418480" y="192881"/>
                    </a:cubicBezTo>
                    <a:cubicBezTo>
                      <a:pt x="417686" y="200818"/>
                      <a:pt x="417312" y="208809"/>
                      <a:pt x="416099" y="216693"/>
                    </a:cubicBezTo>
                    <a:cubicBezTo>
                      <a:pt x="415717" y="219174"/>
                      <a:pt x="415285" y="221877"/>
                      <a:pt x="413717" y="223837"/>
                    </a:cubicBezTo>
                    <a:cubicBezTo>
                      <a:pt x="411929" y="226072"/>
                      <a:pt x="409204" y="227473"/>
                      <a:pt x="406574" y="228600"/>
                    </a:cubicBezTo>
                    <a:cubicBezTo>
                      <a:pt x="403566" y="229889"/>
                      <a:pt x="400224" y="230187"/>
                      <a:pt x="397049" y="230981"/>
                    </a:cubicBezTo>
                    <a:cubicBezTo>
                      <a:pt x="390209" y="230297"/>
                      <a:pt x="374677" y="230511"/>
                      <a:pt x="366092" y="226218"/>
                    </a:cubicBezTo>
                    <a:cubicBezTo>
                      <a:pt x="343458" y="214900"/>
                      <a:pt x="381513" y="228977"/>
                      <a:pt x="344661" y="216693"/>
                    </a:cubicBezTo>
                    <a:cubicBezTo>
                      <a:pt x="342280" y="215899"/>
                      <a:pt x="340017" y="214539"/>
                      <a:pt x="337517" y="214312"/>
                    </a:cubicBezTo>
                    <a:lnTo>
                      <a:pt x="285130" y="209550"/>
                    </a:lnTo>
                    <a:cubicBezTo>
                      <a:pt x="261317" y="210344"/>
                      <a:pt x="237474" y="210490"/>
                      <a:pt x="213692" y="211931"/>
                    </a:cubicBezTo>
                    <a:cubicBezTo>
                      <a:pt x="205901" y="212403"/>
                      <a:pt x="206280" y="216129"/>
                      <a:pt x="199405" y="219075"/>
                    </a:cubicBezTo>
                    <a:cubicBezTo>
                      <a:pt x="196397" y="220364"/>
                      <a:pt x="193055" y="220662"/>
                      <a:pt x="189880" y="221456"/>
                    </a:cubicBezTo>
                    <a:cubicBezTo>
                      <a:pt x="185117" y="224631"/>
                      <a:pt x="178767" y="226218"/>
                      <a:pt x="175592" y="230981"/>
                    </a:cubicBezTo>
                    <a:cubicBezTo>
                      <a:pt x="174005" y="233362"/>
                      <a:pt x="172250" y="235640"/>
                      <a:pt x="170830" y="238125"/>
                    </a:cubicBezTo>
                    <a:cubicBezTo>
                      <a:pt x="169069" y="241207"/>
                      <a:pt x="168130" y="244761"/>
                      <a:pt x="166067" y="247650"/>
                    </a:cubicBezTo>
                    <a:cubicBezTo>
                      <a:pt x="164110" y="250390"/>
                      <a:pt x="160991" y="252135"/>
                      <a:pt x="158924" y="254793"/>
                    </a:cubicBezTo>
                    <a:cubicBezTo>
                      <a:pt x="155410" y="259311"/>
                      <a:pt x="151209" y="263651"/>
                      <a:pt x="149399" y="269081"/>
                    </a:cubicBezTo>
                    <a:lnTo>
                      <a:pt x="144636" y="283368"/>
                    </a:lnTo>
                    <a:cubicBezTo>
                      <a:pt x="140809" y="321647"/>
                      <a:pt x="145154" y="295847"/>
                      <a:pt x="139874" y="314325"/>
                    </a:cubicBezTo>
                    <a:cubicBezTo>
                      <a:pt x="138975" y="317472"/>
                      <a:pt x="138781" y="320842"/>
                      <a:pt x="137492" y="323850"/>
                    </a:cubicBezTo>
                    <a:cubicBezTo>
                      <a:pt x="136365" y="326480"/>
                      <a:pt x="134317" y="328612"/>
                      <a:pt x="132730" y="330993"/>
                    </a:cubicBezTo>
                    <a:cubicBezTo>
                      <a:pt x="131936" y="334168"/>
                      <a:pt x="131248" y="337371"/>
                      <a:pt x="130349" y="340518"/>
                    </a:cubicBezTo>
                    <a:cubicBezTo>
                      <a:pt x="129659" y="342932"/>
                      <a:pt x="128459" y="345201"/>
                      <a:pt x="127967" y="347662"/>
                    </a:cubicBezTo>
                    <a:cubicBezTo>
                      <a:pt x="126866" y="353166"/>
                      <a:pt x="126509" y="358795"/>
                      <a:pt x="125586" y="364331"/>
                    </a:cubicBezTo>
                    <a:cubicBezTo>
                      <a:pt x="124921" y="368323"/>
                      <a:pt x="124083" y="372286"/>
                      <a:pt x="123205" y="376237"/>
                    </a:cubicBezTo>
                    <a:cubicBezTo>
                      <a:pt x="122495" y="379432"/>
                      <a:pt x="121723" y="382615"/>
                      <a:pt x="120824" y="385762"/>
                    </a:cubicBezTo>
                    <a:cubicBezTo>
                      <a:pt x="120134" y="388176"/>
                      <a:pt x="119051" y="390471"/>
                      <a:pt x="118442" y="392906"/>
                    </a:cubicBezTo>
                    <a:cubicBezTo>
                      <a:pt x="117460" y="396832"/>
                      <a:pt x="116855" y="400843"/>
                      <a:pt x="116061" y="404812"/>
                    </a:cubicBezTo>
                    <a:cubicBezTo>
                      <a:pt x="116855" y="418306"/>
                      <a:pt x="116694" y="431890"/>
                      <a:pt x="118442" y="445293"/>
                    </a:cubicBezTo>
                    <a:cubicBezTo>
                      <a:pt x="119091" y="450271"/>
                      <a:pt x="121988" y="454711"/>
                      <a:pt x="123205" y="459581"/>
                    </a:cubicBezTo>
                    <a:lnTo>
                      <a:pt x="125586" y="469106"/>
                    </a:lnTo>
                    <a:cubicBezTo>
                      <a:pt x="126380" y="477837"/>
                      <a:pt x="126727" y="486621"/>
                      <a:pt x="127967" y="495300"/>
                    </a:cubicBezTo>
                    <a:cubicBezTo>
                      <a:pt x="129163" y="503673"/>
                      <a:pt x="131341" y="502047"/>
                      <a:pt x="135111" y="509587"/>
                    </a:cubicBezTo>
                    <a:cubicBezTo>
                      <a:pt x="137023" y="513410"/>
                      <a:pt x="137962" y="517670"/>
                      <a:pt x="139874" y="521493"/>
                    </a:cubicBezTo>
                    <a:cubicBezTo>
                      <a:pt x="144310" y="530365"/>
                      <a:pt x="145194" y="527877"/>
                      <a:pt x="151780" y="535781"/>
                    </a:cubicBezTo>
                    <a:cubicBezTo>
                      <a:pt x="153612" y="537980"/>
                      <a:pt x="154388" y="541040"/>
                      <a:pt x="156542" y="542925"/>
                    </a:cubicBezTo>
                    <a:cubicBezTo>
                      <a:pt x="166619" y="551743"/>
                      <a:pt x="168162" y="551561"/>
                      <a:pt x="177974" y="554831"/>
                    </a:cubicBezTo>
                    <a:lnTo>
                      <a:pt x="192261" y="564356"/>
                    </a:lnTo>
                    <a:cubicBezTo>
                      <a:pt x="194642" y="565943"/>
                      <a:pt x="196690" y="568213"/>
                      <a:pt x="199405" y="569118"/>
                    </a:cubicBezTo>
                    <a:cubicBezTo>
                      <a:pt x="225472" y="577810"/>
                      <a:pt x="185983" y="563947"/>
                      <a:pt x="213692" y="576262"/>
                    </a:cubicBezTo>
                    <a:cubicBezTo>
                      <a:pt x="218280" y="578301"/>
                      <a:pt x="223803" y="578240"/>
                      <a:pt x="227980" y="581025"/>
                    </a:cubicBezTo>
                    <a:cubicBezTo>
                      <a:pt x="232953" y="584340"/>
                      <a:pt x="240425" y="589130"/>
                      <a:pt x="244649" y="592931"/>
                    </a:cubicBezTo>
                    <a:cubicBezTo>
                      <a:pt x="249655" y="597436"/>
                      <a:pt x="255200" y="601614"/>
                      <a:pt x="258936" y="607218"/>
                    </a:cubicBezTo>
                    <a:lnTo>
                      <a:pt x="263699" y="614362"/>
                    </a:lnTo>
                    <a:cubicBezTo>
                      <a:pt x="268252" y="628024"/>
                      <a:pt x="262819" y="615273"/>
                      <a:pt x="273224" y="628650"/>
                    </a:cubicBezTo>
                    <a:cubicBezTo>
                      <a:pt x="276738" y="633168"/>
                      <a:pt x="279574" y="638175"/>
                      <a:pt x="282749" y="642937"/>
                    </a:cubicBezTo>
                    <a:cubicBezTo>
                      <a:pt x="284336" y="645318"/>
                      <a:pt x="286606" y="647366"/>
                      <a:pt x="287511" y="650081"/>
                    </a:cubicBezTo>
                    <a:cubicBezTo>
                      <a:pt x="288305" y="652462"/>
                      <a:pt x="288324" y="655265"/>
                      <a:pt x="289892" y="657225"/>
                    </a:cubicBezTo>
                    <a:cubicBezTo>
                      <a:pt x="291680" y="659460"/>
                      <a:pt x="294655" y="660400"/>
                      <a:pt x="297036" y="661987"/>
                    </a:cubicBezTo>
                    <a:cubicBezTo>
                      <a:pt x="297830" y="664368"/>
                      <a:pt x="297642" y="667356"/>
                      <a:pt x="299417" y="669131"/>
                    </a:cubicBezTo>
                    <a:cubicBezTo>
                      <a:pt x="311558" y="681272"/>
                      <a:pt x="316379" y="678990"/>
                      <a:pt x="332755" y="681037"/>
                    </a:cubicBezTo>
                    <a:cubicBezTo>
                      <a:pt x="353113" y="687824"/>
                      <a:pt x="342061" y="685177"/>
                      <a:pt x="366092" y="688181"/>
                    </a:cubicBezTo>
                    <a:cubicBezTo>
                      <a:pt x="374030" y="687387"/>
                      <a:pt x="382021" y="687013"/>
                      <a:pt x="389905" y="685800"/>
                    </a:cubicBezTo>
                    <a:cubicBezTo>
                      <a:pt x="398549" y="684470"/>
                      <a:pt x="396345" y="682579"/>
                      <a:pt x="404192" y="678656"/>
                    </a:cubicBezTo>
                    <a:cubicBezTo>
                      <a:pt x="406437" y="677534"/>
                      <a:pt x="408955" y="677069"/>
                      <a:pt x="411336" y="676275"/>
                    </a:cubicBezTo>
                    <a:cubicBezTo>
                      <a:pt x="412924" y="671512"/>
                      <a:pt x="415765" y="666996"/>
                      <a:pt x="416099" y="661987"/>
                    </a:cubicBezTo>
                    <a:cubicBezTo>
                      <a:pt x="416893" y="650081"/>
                      <a:pt x="417231" y="638135"/>
                      <a:pt x="418480" y="626268"/>
                    </a:cubicBezTo>
                    <a:cubicBezTo>
                      <a:pt x="418823" y="623013"/>
                      <a:pt x="419397" y="619670"/>
                      <a:pt x="420861" y="616743"/>
                    </a:cubicBezTo>
                    <a:cubicBezTo>
                      <a:pt x="423421" y="611624"/>
                      <a:pt x="427211" y="607218"/>
                      <a:pt x="430386" y="602456"/>
                    </a:cubicBezTo>
                    <a:lnTo>
                      <a:pt x="435149" y="595312"/>
                    </a:lnTo>
                    <a:cubicBezTo>
                      <a:pt x="436736" y="592931"/>
                      <a:pt x="438194" y="590457"/>
                      <a:pt x="439911" y="588168"/>
                    </a:cubicBezTo>
                    <a:cubicBezTo>
                      <a:pt x="442292" y="584993"/>
                      <a:pt x="444748" y="581873"/>
                      <a:pt x="447055" y="578643"/>
                    </a:cubicBezTo>
                    <a:cubicBezTo>
                      <a:pt x="464790" y="553815"/>
                      <a:pt x="436725" y="591038"/>
                      <a:pt x="458961" y="564356"/>
                    </a:cubicBezTo>
                    <a:cubicBezTo>
                      <a:pt x="460793" y="562157"/>
                      <a:pt x="461343" y="558800"/>
                      <a:pt x="463724" y="557212"/>
                    </a:cubicBezTo>
                    <a:cubicBezTo>
                      <a:pt x="466447" y="555397"/>
                      <a:pt x="470114" y="555771"/>
                      <a:pt x="473249" y="554831"/>
                    </a:cubicBezTo>
                    <a:cubicBezTo>
                      <a:pt x="478057" y="553388"/>
                      <a:pt x="482774" y="551656"/>
                      <a:pt x="487536" y="550068"/>
                    </a:cubicBezTo>
                    <a:lnTo>
                      <a:pt x="494680" y="547687"/>
                    </a:lnTo>
                    <a:cubicBezTo>
                      <a:pt x="503411" y="548481"/>
                      <a:pt x="512167" y="549044"/>
                      <a:pt x="520874" y="550068"/>
                    </a:cubicBezTo>
                    <a:cubicBezTo>
                      <a:pt x="525669" y="550632"/>
                      <a:pt x="530704" y="550593"/>
                      <a:pt x="535161" y="552450"/>
                    </a:cubicBezTo>
                    <a:cubicBezTo>
                      <a:pt x="540445" y="554652"/>
                      <a:pt x="549449" y="561975"/>
                      <a:pt x="549449" y="561975"/>
                    </a:cubicBezTo>
                    <a:cubicBezTo>
                      <a:pt x="551036" y="564356"/>
                      <a:pt x="551976" y="567330"/>
                      <a:pt x="554211" y="569118"/>
                    </a:cubicBezTo>
                    <a:cubicBezTo>
                      <a:pt x="556171" y="570686"/>
                      <a:pt x="558879" y="571087"/>
                      <a:pt x="561355" y="571500"/>
                    </a:cubicBezTo>
                    <a:cubicBezTo>
                      <a:pt x="568445" y="572682"/>
                      <a:pt x="575661" y="572931"/>
                      <a:pt x="582786" y="573881"/>
                    </a:cubicBezTo>
                    <a:cubicBezTo>
                      <a:pt x="587572" y="574519"/>
                      <a:pt x="592294" y="575579"/>
                      <a:pt x="597074" y="576262"/>
                    </a:cubicBezTo>
                    <a:cubicBezTo>
                      <a:pt x="603409" y="577167"/>
                      <a:pt x="609774" y="577849"/>
                      <a:pt x="616124" y="578643"/>
                    </a:cubicBezTo>
                    <a:cubicBezTo>
                      <a:pt x="626443" y="577849"/>
                      <a:pt x="636811" y="577546"/>
                      <a:pt x="647080" y="576262"/>
                    </a:cubicBezTo>
                    <a:cubicBezTo>
                      <a:pt x="649571" y="575951"/>
                      <a:pt x="653205" y="576175"/>
                      <a:pt x="654224" y="573881"/>
                    </a:cubicBezTo>
                    <a:cubicBezTo>
                      <a:pt x="658836" y="563503"/>
                      <a:pt x="652216" y="555008"/>
                      <a:pt x="661367" y="547687"/>
                    </a:cubicBezTo>
                    <a:cubicBezTo>
                      <a:pt x="663327" y="546119"/>
                      <a:pt x="666013" y="545556"/>
                      <a:pt x="668511" y="545306"/>
                    </a:cubicBezTo>
                    <a:cubicBezTo>
                      <a:pt x="689894" y="543168"/>
                      <a:pt x="732805" y="540543"/>
                      <a:pt x="732805" y="540543"/>
                    </a:cubicBezTo>
                    <a:cubicBezTo>
                      <a:pt x="747195" y="536946"/>
                      <a:pt x="739233" y="539195"/>
                      <a:pt x="756617" y="533400"/>
                    </a:cubicBezTo>
                    <a:cubicBezTo>
                      <a:pt x="758998" y="532606"/>
                      <a:pt x="761300" y="531510"/>
                      <a:pt x="763761" y="531018"/>
                    </a:cubicBezTo>
                    <a:cubicBezTo>
                      <a:pt x="778128" y="528145"/>
                      <a:pt x="771827" y="529917"/>
                      <a:pt x="782811" y="526256"/>
                    </a:cubicBezTo>
                    <a:cubicBezTo>
                      <a:pt x="795511" y="527050"/>
                      <a:pt x="808186" y="528637"/>
                      <a:pt x="820911" y="528637"/>
                    </a:cubicBezTo>
                    <a:cubicBezTo>
                      <a:pt x="824958" y="528637"/>
                      <a:pt x="830389" y="529494"/>
                      <a:pt x="832817" y="526256"/>
                    </a:cubicBezTo>
                    <a:cubicBezTo>
                      <a:pt x="834534" y="523967"/>
                      <a:pt x="830209" y="520997"/>
                      <a:pt x="828055" y="519112"/>
                    </a:cubicBezTo>
                    <a:cubicBezTo>
                      <a:pt x="820392" y="512407"/>
                      <a:pt x="812947" y="509177"/>
                      <a:pt x="804242" y="504825"/>
                    </a:cubicBezTo>
                    <a:cubicBezTo>
                      <a:pt x="802259" y="498875"/>
                      <a:pt x="798983" y="495312"/>
                      <a:pt x="806624" y="490537"/>
                    </a:cubicBezTo>
                    <a:cubicBezTo>
                      <a:pt x="810881" y="487876"/>
                      <a:pt x="820911" y="485775"/>
                      <a:pt x="820911" y="485775"/>
                    </a:cubicBezTo>
                    <a:cubicBezTo>
                      <a:pt x="833333" y="486315"/>
                      <a:pt x="898751" y="488879"/>
                      <a:pt x="916161" y="490537"/>
                    </a:cubicBezTo>
                    <a:cubicBezTo>
                      <a:pt x="919419" y="490847"/>
                      <a:pt x="922491" y="492208"/>
                      <a:pt x="925686" y="492918"/>
                    </a:cubicBezTo>
                    <a:cubicBezTo>
                      <a:pt x="929637" y="493796"/>
                      <a:pt x="933666" y="494318"/>
                      <a:pt x="937592" y="495300"/>
                    </a:cubicBezTo>
                    <a:cubicBezTo>
                      <a:pt x="966850" y="502615"/>
                      <a:pt x="912810" y="491296"/>
                      <a:pt x="956642" y="500062"/>
                    </a:cubicBezTo>
                    <a:cubicBezTo>
                      <a:pt x="959408" y="522186"/>
                      <a:pt x="960567" y="520446"/>
                      <a:pt x="956642" y="545306"/>
                    </a:cubicBezTo>
                    <a:cubicBezTo>
                      <a:pt x="955621" y="551771"/>
                      <a:pt x="952806" y="557876"/>
                      <a:pt x="951880" y="564356"/>
                    </a:cubicBezTo>
                    <a:cubicBezTo>
                      <a:pt x="949144" y="583510"/>
                      <a:pt x="951275" y="575701"/>
                      <a:pt x="947117" y="588168"/>
                    </a:cubicBezTo>
                    <a:cubicBezTo>
                      <a:pt x="940255" y="587310"/>
                      <a:pt x="925076" y="587559"/>
                      <a:pt x="918542" y="581025"/>
                    </a:cubicBezTo>
                    <a:cubicBezTo>
                      <a:pt x="916767" y="579250"/>
                      <a:pt x="917283" y="576126"/>
                      <a:pt x="916161" y="573881"/>
                    </a:cubicBezTo>
                    <a:cubicBezTo>
                      <a:pt x="912846" y="567249"/>
                      <a:pt x="909522" y="564860"/>
                      <a:pt x="904255" y="559593"/>
                    </a:cubicBezTo>
                    <a:cubicBezTo>
                      <a:pt x="903461" y="557212"/>
                      <a:pt x="902996" y="554695"/>
                      <a:pt x="901874" y="552450"/>
                    </a:cubicBezTo>
                    <a:cubicBezTo>
                      <a:pt x="894550" y="537802"/>
                      <a:pt x="892910" y="545688"/>
                      <a:pt x="870917" y="547687"/>
                    </a:cubicBezTo>
                    <a:cubicBezTo>
                      <a:pt x="869330" y="550862"/>
                      <a:pt x="868665" y="554702"/>
                      <a:pt x="866155" y="557212"/>
                    </a:cubicBezTo>
                    <a:cubicBezTo>
                      <a:pt x="856925" y="566442"/>
                      <a:pt x="849198" y="567627"/>
                      <a:pt x="837580" y="571500"/>
                    </a:cubicBezTo>
                    <a:cubicBezTo>
                      <a:pt x="832817" y="573088"/>
                      <a:pt x="828215" y="575278"/>
                      <a:pt x="823292" y="576262"/>
                    </a:cubicBezTo>
                    <a:cubicBezTo>
                      <a:pt x="808177" y="579285"/>
                      <a:pt x="815312" y="577661"/>
                      <a:pt x="801861" y="581025"/>
                    </a:cubicBezTo>
                    <a:cubicBezTo>
                      <a:pt x="785193" y="592137"/>
                      <a:pt x="790749" y="585788"/>
                      <a:pt x="782811" y="597693"/>
                    </a:cubicBezTo>
                    <a:cubicBezTo>
                      <a:pt x="782017" y="600074"/>
                      <a:pt x="781553" y="602592"/>
                      <a:pt x="780430" y="604837"/>
                    </a:cubicBezTo>
                    <a:cubicBezTo>
                      <a:pt x="773471" y="618754"/>
                      <a:pt x="777276" y="605157"/>
                      <a:pt x="773286" y="619125"/>
                    </a:cubicBezTo>
                    <a:cubicBezTo>
                      <a:pt x="772387" y="622272"/>
                      <a:pt x="771804" y="625503"/>
                      <a:pt x="770905" y="628650"/>
                    </a:cubicBezTo>
                    <a:cubicBezTo>
                      <a:pt x="768743" y="636216"/>
                      <a:pt x="766780" y="639650"/>
                      <a:pt x="763761" y="647700"/>
                    </a:cubicBezTo>
                    <a:cubicBezTo>
                      <a:pt x="762880" y="650050"/>
                      <a:pt x="762772" y="652755"/>
                      <a:pt x="761380" y="654843"/>
                    </a:cubicBezTo>
                    <a:cubicBezTo>
                      <a:pt x="759512" y="657645"/>
                      <a:pt x="756392" y="659400"/>
                      <a:pt x="754236" y="661987"/>
                    </a:cubicBezTo>
                    <a:cubicBezTo>
                      <a:pt x="752404" y="664186"/>
                      <a:pt x="751498" y="667107"/>
                      <a:pt x="749474" y="669131"/>
                    </a:cubicBezTo>
                    <a:cubicBezTo>
                      <a:pt x="745947" y="672658"/>
                      <a:pt x="727997" y="684243"/>
                      <a:pt x="725661" y="685800"/>
                    </a:cubicBezTo>
                    <a:cubicBezTo>
                      <a:pt x="723280" y="687387"/>
                      <a:pt x="721174" y="689499"/>
                      <a:pt x="718517" y="690562"/>
                    </a:cubicBezTo>
                    <a:cubicBezTo>
                      <a:pt x="710580" y="693737"/>
                      <a:pt x="701818" y="695345"/>
                      <a:pt x="694705" y="700087"/>
                    </a:cubicBezTo>
                    <a:cubicBezTo>
                      <a:pt x="692324" y="701675"/>
                      <a:pt x="690074" y="703479"/>
                      <a:pt x="687561" y="704850"/>
                    </a:cubicBezTo>
                    <a:cubicBezTo>
                      <a:pt x="681328" y="708250"/>
                      <a:pt x="674418" y="710437"/>
                      <a:pt x="668511" y="714375"/>
                    </a:cubicBezTo>
                    <a:cubicBezTo>
                      <a:pt x="659279" y="720529"/>
                      <a:pt x="664082" y="718232"/>
                      <a:pt x="654224" y="721518"/>
                    </a:cubicBezTo>
                    <a:cubicBezTo>
                      <a:pt x="651843" y="723106"/>
                      <a:pt x="648868" y="724046"/>
                      <a:pt x="647080" y="726281"/>
                    </a:cubicBezTo>
                    <a:cubicBezTo>
                      <a:pt x="645512" y="728241"/>
                      <a:pt x="645822" y="731180"/>
                      <a:pt x="644699" y="733425"/>
                    </a:cubicBezTo>
                    <a:cubicBezTo>
                      <a:pt x="643419" y="735985"/>
                      <a:pt x="641524" y="738187"/>
                      <a:pt x="639936" y="740568"/>
                    </a:cubicBezTo>
                    <a:cubicBezTo>
                      <a:pt x="639142" y="742949"/>
                      <a:pt x="639123" y="745752"/>
                      <a:pt x="637555" y="747712"/>
                    </a:cubicBezTo>
                    <a:cubicBezTo>
                      <a:pt x="634218" y="751883"/>
                      <a:pt x="625720" y="754534"/>
                      <a:pt x="620886" y="754856"/>
                    </a:cubicBezTo>
                    <a:cubicBezTo>
                      <a:pt x="600279" y="756230"/>
                      <a:pt x="579611" y="756443"/>
                      <a:pt x="558974" y="757237"/>
                    </a:cubicBezTo>
                    <a:cubicBezTo>
                      <a:pt x="560094" y="765080"/>
                      <a:pt x="564203" y="782732"/>
                      <a:pt x="558974" y="790575"/>
                    </a:cubicBezTo>
                    <a:cubicBezTo>
                      <a:pt x="556603" y="794132"/>
                      <a:pt x="551161" y="794109"/>
                      <a:pt x="547067" y="795337"/>
                    </a:cubicBezTo>
                    <a:cubicBezTo>
                      <a:pt x="543190" y="796500"/>
                      <a:pt x="539112" y="796840"/>
                      <a:pt x="535161" y="797718"/>
                    </a:cubicBezTo>
                    <a:cubicBezTo>
                      <a:pt x="531966" y="798428"/>
                      <a:pt x="528811" y="799306"/>
                      <a:pt x="525636" y="800100"/>
                    </a:cubicBezTo>
                    <a:cubicBezTo>
                      <a:pt x="509761" y="797719"/>
                      <a:pt x="493446" y="797366"/>
                      <a:pt x="478011" y="792956"/>
                    </a:cubicBezTo>
                    <a:cubicBezTo>
                      <a:pt x="475597" y="792266"/>
                      <a:pt x="476619" y="788119"/>
                      <a:pt x="475630" y="785812"/>
                    </a:cubicBezTo>
                    <a:cubicBezTo>
                      <a:pt x="474232" y="782549"/>
                      <a:pt x="472930" y="779176"/>
                      <a:pt x="470867" y="776287"/>
                    </a:cubicBezTo>
                    <a:cubicBezTo>
                      <a:pt x="465292" y="768482"/>
                      <a:pt x="464427" y="769377"/>
                      <a:pt x="456580" y="766762"/>
                    </a:cubicBezTo>
                    <a:cubicBezTo>
                      <a:pt x="447849" y="767556"/>
                      <a:pt x="436903" y="763278"/>
                      <a:pt x="430386" y="769143"/>
                    </a:cubicBezTo>
                    <a:cubicBezTo>
                      <a:pt x="418498" y="779842"/>
                      <a:pt x="435971" y="789821"/>
                      <a:pt x="439911" y="795337"/>
                    </a:cubicBezTo>
                    <a:cubicBezTo>
                      <a:pt x="441974" y="798226"/>
                      <a:pt x="442164" y="802352"/>
                      <a:pt x="444674" y="804862"/>
                    </a:cubicBezTo>
                    <a:cubicBezTo>
                      <a:pt x="446449" y="806637"/>
                      <a:pt x="449436" y="806449"/>
                      <a:pt x="451817" y="807243"/>
                    </a:cubicBezTo>
                    <a:cubicBezTo>
                      <a:pt x="454198" y="808831"/>
                      <a:pt x="456401" y="810726"/>
                      <a:pt x="458961" y="812006"/>
                    </a:cubicBezTo>
                    <a:cubicBezTo>
                      <a:pt x="474695" y="819873"/>
                      <a:pt x="457318" y="807771"/>
                      <a:pt x="473249" y="819150"/>
                    </a:cubicBezTo>
                    <a:cubicBezTo>
                      <a:pt x="476478" y="821457"/>
                      <a:pt x="479545" y="823986"/>
                      <a:pt x="482774" y="826293"/>
                    </a:cubicBezTo>
                    <a:cubicBezTo>
                      <a:pt x="485103" y="827956"/>
                      <a:pt x="487628" y="829339"/>
                      <a:pt x="489917" y="831056"/>
                    </a:cubicBezTo>
                    <a:cubicBezTo>
                      <a:pt x="505445" y="842703"/>
                      <a:pt x="496182" y="838700"/>
                      <a:pt x="508967" y="842962"/>
                    </a:cubicBezTo>
                    <a:cubicBezTo>
                      <a:pt x="511348" y="844550"/>
                      <a:pt x="513912" y="845893"/>
                      <a:pt x="516111" y="847725"/>
                    </a:cubicBezTo>
                    <a:cubicBezTo>
                      <a:pt x="518698" y="849881"/>
                      <a:pt x="520515" y="852911"/>
                      <a:pt x="523255" y="854868"/>
                    </a:cubicBezTo>
                    <a:cubicBezTo>
                      <a:pt x="526144" y="856931"/>
                      <a:pt x="529770" y="857750"/>
                      <a:pt x="532780" y="859631"/>
                    </a:cubicBezTo>
                    <a:cubicBezTo>
                      <a:pt x="536145" y="861735"/>
                      <a:pt x="539054" y="864499"/>
                      <a:pt x="542305" y="866775"/>
                    </a:cubicBezTo>
                    <a:cubicBezTo>
                      <a:pt x="546994" y="870057"/>
                      <a:pt x="552545" y="872253"/>
                      <a:pt x="556592" y="876300"/>
                    </a:cubicBezTo>
                    <a:cubicBezTo>
                      <a:pt x="575285" y="894992"/>
                      <a:pt x="568902" y="886430"/>
                      <a:pt x="578024" y="900112"/>
                    </a:cubicBezTo>
                    <a:cubicBezTo>
                      <a:pt x="579611" y="904875"/>
                      <a:pt x="581802" y="909477"/>
                      <a:pt x="582786" y="914400"/>
                    </a:cubicBezTo>
                    <a:cubicBezTo>
                      <a:pt x="583580" y="918369"/>
                      <a:pt x="583887" y="922466"/>
                      <a:pt x="585167" y="926306"/>
                    </a:cubicBezTo>
                    <a:cubicBezTo>
                      <a:pt x="589338" y="938819"/>
                      <a:pt x="589470" y="932532"/>
                      <a:pt x="594692" y="942975"/>
                    </a:cubicBezTo>
                    <a:cubicBezTo>
                      <a:pt x="595815" y="945220"/>
                      <a:pt x="596280" y="947737"/>
                      <a:pt x="597074" y="950118"/>
                    </a:cubicBezTo>
                    <a:cubicBezTo>
                      <a:pt x="597868" y="958056"/>
                      <a:pt x="598242" y="966046"/>
                      <a:pt x="599455" y="973931"/>
                    </a:cubicBezTo>
                    <a:cubicBezTo>
                      <a:pt x="599837" y="976412"/>
                      <a:pt x="600444" y="978986"/>
                      <a:pt x="601836" y="981075"/>
                    </a:cubicBezTo>
                    <a:cubicBezTo>
                      <a:pt x="603704" y="983877"/>
                      <a:pt x="606913" y="985560"/>
                      <a:pt x="608980" y="988218"/>
                    </a:cubicBezTo>
                    <a:cubicBezTo>
                      <a:pt x="612494" y="992736"/>
                      <a:pt x="615330" y="997743"/>
                      <a:pt x="618505" y="1002506"/>
                    </a:cubicBezTo>
                    <a:cubicBezTo>
                      <a:pt x="620092" y="1004887"/>
                      <a:pt x="621243" y="1007626"/>
                      <a:pt x="623267" y="1009650"/>
                    </a:cubicBezTo>
                    <a:cubicBezTo>
                      <a:pt x="632435" y="1018817"/>
                      <a:pt x="627609" y="1014925"/>
                      <a:pt x="637555" y="1021556"/>
                    </a:cubicBezTo>
                    <a:cubicBezTo>
                      <a:pt x="639142" y="1023937"/>
                      <a:pt x="640485" y="1026501"/>
                      <a:pt x="642317" y="1028700"/>
                    </a:cubicBezTo>
                    <a:cubicBezTo>
                      <a:pt x="646049" y="1033178"/>
                      <a:pt x="654096" y="1040270"/>
                      <a:pt x="658986" y="1042987"/>
                    </a:cubicBezTo>
                    <a:cubicBezTo>
                      <a:pt x="663261" y="1045362"/>
                      <a:pt x="672686" y="1048348"/>
                      <a:pt x="678036" y="1050131"/>
                    </a:cubicBezTo>
                    <a:cubicBezTo>
                      <a:pt x="702119" y="1086254"/>
                      <a:pt x="676047" y="1049172"/>
                      <a:pt x="694705" y="1071562"/>
                    </a:cubicBezTo>
                    <a:cubicBezTo>
                      <a:pt x="696537" y="1073761"/>
                      <a:pt x="697635" y="1076507"/>
                      <a:pt x="699467" y="1078706"/>
                    </a:cubicBezTo>
                    <a:cubicBezTo>
                      <a:pt x="701623" y="1081293"/>
                      <a:pt x="704455" y="1083263"/>
                      <a:pt x="706611" y="1085850"/>
                    </a:cubicBezTo>
                    <a:cubicBezTo>
                      <a:pt x="708443" y="1088048"/>
                      <a:pt x="709954" y="1090508"/>
                      <a:pt x="711374" y="1092993"/>
                    </a:cubicBezTo>
                    <a:cubicBezTo>
                      <a:pt x="713135" y="1096075"/>
                      <a:pt x="713826" y="1099823"/>
                      <a:pt x="716136" y="1102518"/>
                    </a:cubicBezTo>
                    <a:cubicBezTo>
                      <a:pt x="718719" y="1105531"/>
                      <a:pt x="722648" y="1107079"/>
                      <a:pt x="725661" y="1109662"/>
                    </a:cubicBezTo>
                    <a:cubicBezTo>
                      <a:pt x="728218" y="1111854"/>
                      <a:pt x="730424" y="1114425"/>
                      <a:pt x="732805" y="1116806"/>
                    </a:cubicBezTo>
                    <a:cubicBezTo>
                      <a:pt x="732011" y="1123156"/>
                      <a:pt x="736148" y="1132994"/>
                      <a:pt x="730424" y="1135856"/>
                    </a:cubicBezTo>
                    <a:cubicBezTo>
                      <a:pt x="721167" y="1140484"/>
                      <a:pt x="709690" y="1135089"/>
                      <a:pt x="699467" y="1133475"/>
                    </a:cubicBezTo>
                    <a:cubicBezTo>
                      <a:pt x="688330" y="1131717"/>
                      <a:pt x="686013" y="1129267"/>
                      <a:pt x="678036" y="1123950"/>
                    </a:cubicBezTo>
                    <a:cubicBezTo>
                      <a:pt x="677242" y="1121569"/>
                      <a:pt x="677223" y="1118766"/>
                      <a:pt x="675655" y="1116806"/>
                    </a:cubicBezTo>
                    <a:cubicBezTo>
                      <a:pt x="671675" y="1111831"/>
                      <a:pt x="666620" y="1111913"/>
                      <a:pt x="661367" y="1109662"/>
                    </a:cubicBezTo>
                    <a:cubicBezTo>
                      <a:pt x="658104" y="1108264"/>
                      <a:pt x="655166" y="1106146"/>
                      <a:pt x="651842" y="1104900"/>
                    </a:cubicBezTo>
                    <a:cubicBezTo>
                      <a:pt x="647992" y="1103456"/>
                      <a:pt x="633653" y="1100785"/>
                      <a:pt x="630411" y="1100137"/>
                    </a:cubicBezTo>
                    <a:cubicBezTo>
                      <a:pt x="627236" y="1098550"/>
                      <a:pt x="624149" y="1096773"/>
                      <a:pt x="620886" y="1095375"/>
                    </a:cubicBezTo>
                    <a:cubicBezTo>
                      <a:pt x="618579" y="1094386"/>
                      <a:pt x="615831" y="1094385"/>
                      <a:pt x="613742" y="1092993"/>
                    </a:cubicBezTo>
                    <a:cubicBezTo>
                      <a:pt x="605967" y="1087810"/>
                      <a:pt x="606056" y="1082926"/>
                      <a:pt x="599455" y="1076325"/>
                    </a:cubicBezTo>
                    <a:cubicBezTo>
                      <a:pt x="597431" y="1074301"/>
                      <a:pt x="594871" y="1072842"/>
                      <a:pt x="592311" y="1071562"/>
                    </a:cubicBezTo>
                    <a:cubicBezTo>
                      <a:pt x="584971" y="1067892"/>
                      <a:pt x="572680" y="1067620"/>
                      <a:pt x="566117" y="1066800"/>
                    </a:cubicBezTo>
                    <a:cubicBezTo>
                      <a:pt x="562467" y="1065340"/>
                      <a:pt x="552049" y="1060901"/>
                      <a:pt x="547067" y="1059656"/>
                    </a:cubicBezTo>
                    <a:cubicBezTo>
                      <a:pt x="543141" y="1058674"/>
                      <a:pt x="539130" y="1058069"/>
                      <a:pt x="535161" y="1057275"/>
                    </a:cubicBezTo>
                    <a:cubicBezTo>
                      <a:pt x="535955" y="1052512"/>
                      <a:pt x="534362" y="1046621"/>
                      <a:pt x="537542" y="1042987"/>
                    </a:cubicBezTo>
                    <a:cubicBezTo>
                      <a:pt x="540848" y="1039209"/>
                      <a:pt x="547340" y="1040470"/>
                      <a:pt x="551830" y="1038225"/>
                    </a:cubicBezTo>
                    <a:lnTo>
                      <a:pt x="561355" y="1033462"/>
                    </a:lnTo>
                    <a:cubicBezTo>
                      <a:pt x="565876" y="1019897"/>
                      <a:pt x="564393" y="1027673"/>
                      <a:pt x="561355" y="1004887"/>
                    </a:cubicBezTo>
                    <a:cubicBezTo>
                      <a:pt x="560291" y="996910"/>
                      <a:pt x="559736" y="987704"/>
                      <a:pt x="554211" y="981075"/>
                    </a:cubicBezTo>
                    <a:cubicBezTo>
                      <a:pt x="552379" y="978876"/>
                      <a:pt x="549396" y="977976"/>
                      <a:pt x="547067" y="976312"/>
                    </a:cubicBezTo>
                    <a:cubicBezTo>
                      <a:pt x="543838" y="974005"/>
                      <a:pt x="540492" y="971823"/>
                      <a:pt x="537542" y="969168"/>
                    </a:cubicBezTo>
                    <a:cubicBezTo>
                      <a:pt x="526890" y="959581"/>
                      <a:pt x="526454" y="955760"/>
                      <a:pt x="516111" y="950118"/>
                    </a:cubicBezTo>
                    <a:cubicBezTo>
                      <a:pt x="509878" y="946718"/>
                      <a:pt x="503411" y="943768"/>
                      <a:pt x="497061" y="940593"/>
                    </a:cubicBezTo>
                    <a:cubicBezTo>
                      <a:pt x="493886" y="939006"/>
                      <a:pt x="490580" y="937657"/>
                      <a:pt x="487536" y="935831"/>
                    </a:cubicBezTo>
                    <a:cubicBezTo>
                      <a:pt x="483567" y="933450"/>
                      <a:pt x="479927" y="930406"/>
                      <a:pt x="475630" y="928687"/>
                    </a:cubicBezTo>
                    <a:cubicBezTo>
                      <a:pt x="471872" y="927184"/>
                      <a:pt x="467760" y="926605"/>
                      <a:pt x="463724" y="926306"/>
                    </a:cubicBezTo>
                    <a:cubicBezTo>
                      <a:pt x="446291" y="925015"/>
                      <a:pt x="428799" y="924719"/>
                      <a:pt x="411336" y="923925"/>
                    </a:cubicBezTo>
                    <a:cubicBezTo>
                      <a:pt x="393371" y="917935"/>
                      <a:pt x="415521" y="926017"/>
                      <a:pt x="397049" y="916781"/>
                    </a:cubicBezTo>
                    <a:cubicBezTo>
                      <a:pt x="394804" y="915659"/>
                      <a:pt x="392319" y="915090"/>
                      <a:pt x="389905" y="914400"/>
                    </a:cubicBezTo>
                    <a:cubicBezTo>
                      <a:pt x="372782" y="909507"/>
                      <a:pt x="388130" y="914551"/>
                      <a:pt x="368474" y="909637"/>
                    </a:cubicBezTo>
                    <a:cubicBezTo>
                      <a:pt x="366039" y="909028"/>
                      <a:pt x="363780" y="907800"/>
                      <a:pt x="361330" y="907256"/>
                    </a:cubicBezTo>
                    <a:cubicBezTo>
                      <a:pt x="356617" y="906209"/>
                      <a:pt x="351805" y="905669"/>
                      <a:pt x="347042" y="904875"/>
                    </a:cubicBezTo>
                    <a:cubicBezTo>
                      <a:pt x="330723" y="899433"/>
                      <a:pt x="350965" y="905855"/>
                      <a:pt x="327992" y="900112"/>
                    </a:cubicBezTo>
                    <a:cubicBezTo>
                      <a:pt x="325557" y="899503"/>
                      <a:pt x="323262" y="898420"/>
                      <a:pt x="320849" y="897731"/>
                    </a:cubicBezTo>
                    <a:cubicBezTo>
                      <a:pt x="317702" y="896832"/>
                      <a:pt x="314499" y="896144"/>
                      <a:pt x="311324" y="895350"/>
                    </a:cubicBezTo>
                    <a:cubicBezTo>
                      <a:pt x="297672" y="874873"/>
                      <a:pt x="315851" y="898973"/>
                      <a:pt x="299417" y="885825"/>
                    </a:cubicBezTo>
                    <a:cubicBezTo>
                      <a:pt x="297182" y="884037"/>
                      <a:pt x="296679" y="880705"/>
                      <a:pt x="294655" y="878681"/>
                    </a:cubicBezTo>
                    <a:cubicBezTo>
                      <a:pt x="292631" y="876657"/>
                      <a:pt x="289892" y="875506"/>
                      <a:pt x="287511" y="873918"/>
                    </a:cubicBezTo>
                    <a:cubicBezTo>
                      <a:pt x="276292" y="857090"/>
                      <a:pt x="290368" y="877917"/>
                      <a:pt x="275605" y="857250"/>
                    </a:cubicBezTo>
                    <a:cubicBezTo>
                      <a:pt x="268680" y="847556"/>
                      <a:pt x="271462" y="849360"/>
                      <a:pt x="261317" y="838200"/>
                    </a:cubicBezTo>
                    <a:cubicBezTo>
                      <a:pt x="256786" y="833216"/>
                      <a:pt x="250766" y="829516"/>
                      <a:pt x="247030" y="823912"/>
                    </a:cubicBezTo>
                    <a:cubicBezTo>
                      <a:pt x="242721" y="817449"/>
                      <a:pt x="238865" y="807697"/>
                      <a:pt x="230361" y="804862"/>
                    </a:cubicBezTo>
                    <a:cubicBezTo>
                      <a:pt x="225999" y="803408"/>
                      <a:pt x="199342" y="800457"/>
                      <a:pt x="197024" y="800100"/>
                    </a:cubicBezTo>
                    <a:cubicBezTo>
                      <a:pt x="193023" y="799484"/>
                      <a:pt x="189099" y="798442"/>
                      <a:pt x="185117" y="797718"/>
                    </a:cubicBezTo>
                    <a:cubicBezTo>
                      <a:pt x="180367" y="796854"/>
                      <a:pt x="175592" y="796131"/>
                      <a:pt x="170830" y="795337"/>
                    </a:cubicBezTo>
                    <a:cubicBezTo>
                      <a:pt x="166861" y="793750"/>
                      <a:pt x="163192" y="790812"/>
                      <a:pt x="158924" y="790575"/>
                    </a:cubicBezTo>
                    <a:cubicBezTo>
                      <a:pt x="146776" y="789900"/>
                      <a:pt x="124978" y="793383"/>
                      <a:pt x="111299" y="795337"/>
                    </a:cubicBezTo>
                    <a:cubicBezTo>
                      <a:pt x="100186" y="793750"/>
                      <a:pt x="89016" y="792526"/>
                      <a:pt x="77961" y="790575"/>
                    </a:cubicBezTo>
                    <a:cubicBezTo>
                      <a:pt x="75489" y="790139"/>
                      <a:pt x="71940" y="790438"/>
                      <a:pt x="70817" y="788193"/>
                    </a:cubicBezTo>
                    <a:cubicBezTo>
                      <a:pt x="69695" y="785948"/>
                      <a:pt x="72509" y="783463"/>
                      <a:pt x="73199" y="781050"/>
                    </a:cubicBezTo>
                    <a:cubicBezTo>
                      <a:pt x="74098" y="777903"/>
                      <a:pt x="74786" y="774700"/>
                      <a:pt x="75580" y="771525"/>
                    </a:cubicBezTo>
                    <a:cubicBezTo>
                      <a:pt x="74786" y="766762"/>
                      <a:pt x="75632" y="761408"/>
                      <a:pt x="73199" y="757237"/>
                    </a:cubicBezTo>
                    <a:cubicBezTo>
                      <a:pt x="64438" y="742218"/>
                      <a:pt x="61306" y="746137"/>
                      <a:pt x="51767" y="738187"/>
                    </a:cubicBezTo>
                    <a:cubicBezTo>
                      <a:pt x="44865" y="732434"/>
                      <a:pt x="43231" y="729942"/>
                      <a:pt x="39861" y="721518"/>
                    </a:cubicBezTo>
                    <a:cubicBezTo>
                      <a:pt x="37997" y="716857"/>
                      <a:pt x="36317" y="712101"/>
                      <a:pt x="35099" y="707231"/>
                    </a:cubicBezTo>
                    <a:cubicBezTo>
                      <a:pt x="34305" y="704056"/>
                      <a:pt x="34006" y="700714"/>
                      <a:pt x="32717" y="697706"/>
                    </a:cubicBezTo>
                    <a:cubicBezTo>
                      <a:pt x="31590" y="695076"/>
                      <a:pt x="29154" y="693160"/>
                      <a:pt x="27955" y="690562"/>
                    </a:cubicBezTo>
                    <a:cubicBezTo>
                      <a:pt x="24373" y="682800"/>
                      <a:pt x="18430" y="666750"/>
                      <a:pt x="18430" y="666750"/>
                    </a:cubicBezTo>
                    <a:cubicBezTo>
                      <a:pt x="17636" y="661987"/>
                      <a:pt x="16732" y="657242"/>
                      <a:pt x="16049" y="652462"/>
                    </a:cubicBezTo>
                    <a:cubicBezTo>
                      <a:pt x="14671" y="642815"/>
                      <a:pt x="13081" y="626616"/>
                      <a:pt x="11286" y="616743"/>
                    </a:cubicBezTo>
                    <a:cubicBezTo>
                      <a:pt x="10701" y="613523"/>
                      <a:pt x="9547" y="610427"/>
                      <a:pt x="8905" y="607218"/>
                    </a:cubicBezTo>
                    <a:cubicBezTo>
                      <a:pt x="7958" y="602484"/>
                      <a:pt x="7571" y="597644"/>
                      <a:pt x="6524" y="592931"/>
                    </a:cubicBezTo>
                    <a:cubicBezTo>
                      <a:pt x="5979" y="590481"/>
                      <a:pt x="4751" y="588222"/>
                      <a:pt x="4142" y="585787"/>
                    </a:cubicBezTo>
                    <a:cubicBezTo>
                      <a:pt x="3160" y="581861"/>
                      <a:pt x="2826" y="577786"/>
                      <a:pt x="1761" y="573881"/>
                    </a:cubicBezTo>
                    <a:cubicBezTo>
                      <a:pt x="-3252" y="555498"/>
                      <a:pt x="3746" y="545306"/>
                      <a:pt x="6524" y="53816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4" name="Freeform 303"/>
              <p:cNvSpPr/>
              <p:nvPr/>
            </p:nvSpPr>
            <p:spPr>
              <a:xfrm>
                <a:off x="7251306" y="3416114"/>
                <a:ext cx="92869" cy="121444"/>
              </a:xfrm>
              <a:custGeom>
                <a:avLst/>
                <a:gdLst>
                  <a:gd name="connsiteX0" fmla="*/ 85725 w 92869"/>
                  <a:gd name="connsiteY0" fmla="*/ 9525 h 121444"/>
                  <a:gd name="connsiteX1" fmla="*/ 73819 w 92869"/>
                  <a:gd name="connsiteY1" fmla="*/ 7144 h 121444"/>
                  <a:gd name="connsiteX2" fmla="*/ 57150 w 92869"/>
                  <a:gd name="connsiteY2" fmla="*/ 2381 h 121444"/>
                  <a:gd name="connsiteX3" fmla="*/ 42863 w 92869"/>
                  <a:gd name="connsiteY3" fmla="*/ 0 h 121444"/>
                  <a:gd name="connsiteX4" fmla="*/ 26194 w 92869"/>
                  <a:gd name="connsiteY4" fmla="*/ 4763 h 121444"/>
                  <a:gd name="connsiteX5" fmla="*/ 11907 w 92869"/>
                  <a:gd name="connsiteY5" fmla="*/ 14288 h 121444"/>
                  <a:gd name="connsiteX6" fmla="*/ 7144 w 92869"/>
                  <a:gd name="connsiteY6" fmla="*/ 28575 h 121444"/>
                  <a:gd name="connsiteX7" fmla="*/ 4763 w 92869"/>
                  <a:gd name="connsiteY7" fmla="*/ 45244 h 121444"/>
                  <a:gd name="connsiteX8" fmla="*/ 2382 w 92869"/>
                  <a:gd name="connsiteY8" fmla="*/ 64294 h 121444"/>
                  <a:gd name="connsiteX9" fmla="*/ 0 w 92869"/>
                  <a:gd name="connsiteY9" fmla="*/ 73819 h 121444"/>
                  <a:gd name="connsiteX10" fmla="*/ 2382 w 92869"/>
                  <a:gd name="connsiteY10" fmla="*/ 109538 h 121444"/>
                  <a:gd name="connsiteX11" fmla="*/ 4763 w 92869"/>
                  <a:gd name="connsiteY11" fmla="*/ 116681 h 121444"/>
                  <a:gd name="connsiteX12" fmla="*/ 11907 w 92869"/>
                  <a:gd name="connsiteY12" fmla="*/ 121444 h 121444"/>
                  <a:gd name="connsiteX13" fmla="*/ 30957 w 92869"/>
                  <a:gd name="connsiteY13" fmla="*/ 114300 h 121444"/>
                  <a:gd name="connsiteX14" fmla="*/ 38100 w 92869"/>
                  <a:gd name="connsiteY14" fmla="*/ 107156 h 121444"/>
                  <a:gd name="connsiteX15" fmla="*/ 50007 w 92869"/>
                  <a:gd name="connsiteY15" fmla="*/ 92869 h 121444"/>
                  <a:gd name="connsiteX16" fmla="*/ 59532 w 92869"/>
                  <a:gd name="connsiteY16" fmla="*/ 90488 h 121444"/>
                  <a:gd name="connsiteX17" fmla="*/ 64294 w 92869"/>
                  <a:gd name="connsiteY17" fmla="*/ 83344 h 121444"/>
                  <a:gd name="connsiteX18" fmla="*/ 69057 w 92869"/>
                  <a:gd name="connsiteY18" fmla="*/ 69056 h 121444"/>
                  <a:gd name="connsiteX19" fmla="*/ 73819 w 92869"/>
                  <a:gd name="connsiteY19" fmla="*/ 61913 h 121444"/>
                  <a:gd name="connsiteX20" fmla="*/ 78582 w 92869"/>
                  <a:gd name="connsiteY20" fmla="*/ 47625 h 121444"/>
                  <a:gd name="connsiteX21" fmla="*/ 92869 w 92869"/>
                  <a:gd name="connsiteY21" fmla="*/ 33338 h 121444"/>
                  <a:gd name="connsiteX22" fmla="*/ 85725 w 92869"/>
                  <a:gd name="connsiteY22" fmla="*/ 9525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2869" h="121444">
                    <a:moveTo>
                      <a:pt x="85725" y="9525"/>
                    </a:moveTo>
                    <a:cubicBezTo>
                      <a:pt x="82550" y="5159"/>
                      <a:pt x="77745" y="8126"/>
                      <a:pt x="73819" y="7144"/>
                    </a:cubicBezTo>
                    <a:cubicBezTo>
                      <a:pt x="55668" y="2607"/>
                      <a:pt x="79414" y="6834"/>
                      <a:pt x="57150" y="2381"/>
                    </a:cubicBezTo>
                    <a:cubicBezTo>
                      <a:pt x="52416" y="1434"/>
                      <a:pt x="47625" y="794"/>
                      <a:pt x="42863" y="0"/>
                    </a:cubicBezTo>
                    <a:cubicBezTo>
                      <a:pt x="40616" y="562"/>
                      <a:pt x="28992" y="3208"/>
                      <a:pt x="26194" y="4763"/>
                    </a:cubicBezTo>
                    <a:cubicBezTo>
                      <a:pt x="21191" y="7543"/>
                      <a:pt x="11907" y="14288"/>
                      <a:pt x="11907" y="14288"/>
                    </a:cubicBezTo>
                    <a:cubicBezTo>
                      <a:pt x="10319" y="19050"/>
                      <a:pt x="7854" y="23605"/>
                      <a:pt x="7144" y="28575"/>
                    </a:cubicBezTo>
                    <a:cubicBezTo>
                      <a:pt x="6350" y="34131"/>
                      <a:pt x="5505" y="39680"/>
                      <a:pt x="4763" y="45244"/>
                    </a:cubicBezTo>
                    <a:cubicBezTo>
                      <a:pt x="3917" y="51587"/>
                      <a:pt x="3434" y="57982"/>
                      <a:pt x="2382" y="64294"/>
                    </a:cubicBezTo>
                    <a:cubicBezTo>
                      <a:pt x="1844" y="67522"/>
                      <a:pt x="794" y="70644"/>
                      <a:pt x="0" y="73819"/>
                    </a:cubicBezTo>
                    <a:cubicBezTo>
                      <a:pt x="794" y="85725"/>
                      <a:pt x="1064" y="97678"/>
                      <a:pt x="2382" y="109538"/>
                    </a:cubicBezTo>
                    <a:cubicBezTo>
                      <a:pt x="2659" y="112032"/>
                      <a:pt x="3195" y="114721"/>
                      <a:pt x="4763" y="116681"/>
                    </a:cubicBezTo>
                    <a:cubicBezTo>
                      <a:pt x="6551" y="118916"/>
                      <a:pt x="9526" y="119856"/>
                      <a:pt x="11907" y="121444"/>
                    </a:cubicBezTo>
                    <a:cubicBezTo>
                      <a:pt x="22708" y="119284"/>
                      <a:pt x="23212" y="120755"/>
                      <a:pt x="30957" y="114300"/>
                    </a:cubicBezTo>
                    <a:cubicBezTo>
                      <a:pt x="33544" y="112144"/>
                      <a:pt x="35944" y="109743"/>
                      <a:pt x="38100" y="107156"/>
                    </a:cubicBezTo>
                    <a:cubicBezTo>
                      <a:pt x="42581" y="101778"/>
                      <a:pt x="43369" y="96662"/>
                      <a:pt x="50007" y="92869"/>
                    </a:cubicBezTo>
                    <a:cubicBezTo>
                      <a:pt x="52849" y="91245"/>
                      <a:pt x="56357" y="91282"/>
                      <a:pt x="59532" y="90488"/>
                    </a:cubicBezTo>
                    <a:cubicBezTo>
                      <a:pt x="61119" y="88107"/>
                      <a:pt x="63132" y="85959"/>
                      <a:pt x="64294" y="83344"/>
                    </a:cubicBezTo>
                    <a:cubicBezTo>
                      <a:pt x="66333" y="78756"/>
                      <a:pt x="66272" y="73233"/>
                      <a:pt x="69057" y="69056"/>
                    </a:cubicBezTo>
                    <a:lnTo>
                      <a:pt x="73819" y="61913"/>
                    </a:lnTo>
                    <a:cubicBezTo>
                      <a:pt x="75407" y="57150"/>
                      <a:pt x="75032" y="51175"/>
                      <a:pt x="78582" y="47625"/>
                    </a:cubicBezTo>
                    <a:lnTo>
                      <a:pt x="92869" y="33338"/>
                    </a:lnTo>
                    <a:cubicBezTo>
                      <a:pt x="90237" y="14912"/>
                      <a:pt x="88900" y="13891"/>
                      <a:pt x="85725" y="952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5" name="Freeform 304"/>
              <p:cNvSpPr/>
              <p:nvPr/>
            </p:nvSpPr>
            <p:spPr>
              <a:xfrm>
                <a:off x="7358144" y="3451212"/>
                <a:ext cx="76545" cy="88727"/>
              </a:xfrm>
              <a:custGeom>
                <a:avLst/>
                <a:gdLst>
                  <a:gd name="connsiteX0" fmla="*/ 59850 w 76545"/>
                  <a:gd name="connsiteY0" fmla="*/ 3002 h 88727"/>
                  <a:gd name="connsiteX1" fmla="*/ 19369 w 76545"/>
                  <a:gd name="connsiteY1" fmla="*/ 3002 h 88727"/>
                  <a:gd name="connsiteX2" fmla="*/ 9844 w 76545"/>
                  <a:gd name="connsiteY2" fmla="*/ 17290 h 88727"/>
                  <a:gd name="connsiteX3" fmla="*/ 5081 w 76545"/>
                  <a:gd name="connsiteY3" fmla="*/ 24433 h 88727"/>
                  <a:gd name="connsiteX4" fmla="*/ 319 w 76545"/>
                  <a:gd name="connsiteY4" fmla="*/ 38721 h 88727"/>
                  <a:gd name="connsiteX5" fmla="*/ 2700 w 76545"/>
                  <a:gd name="connsiteY5" fmla="*/ 45865 h 88727"/>
                  <a:gd name="connsiteX6" fmla="*/ 26512 w 76545"/>
                  <a:gd name="connsiteY6" fmla="*/ 69677 h 88727"/>
                  <a:gd name="connsiteX7" fmla="*/ 40800 w 76545"/>
                  <a:gd name="connsiteY7" fmla="*/ 79202 h 88727"/>
                  <a:gd name="connsiteX8" fmla="*/ 47944 w 76545"/>
                  <a:gd name="connsiteY8" fmla="*/ 81583 h 88727"/>
                  <a:gd name="connsiteX9" fmla="*/ 62231 w 76545"/>
                  <a:gd name="connsiteY9" fmla="*/ 88727 h 88727"/>
                  <a:gd name="connsiteX10" fmla="*/ 74137 w 76545"/>
                  <a:gd name="connsiteY10" fmla="*/ 86346 h 88727"/>
                  <a:gd name="connsiteX11" fmla="*/ 74137 w 76545"/>
                  <a:gd name="connsiteY11" fmla="*/ 7765 h 88727"/>
                  <a:gd name="connsiteX12" fmla="*/ 59850 w 76545"/>
                  <a:gd name="connsiteY12" fmla="*/ 3002 h 8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545" h="88727">
                    <a:moveTo>
                      <a:pt x="59850" y="3002"/>
                    </a:moveTo>
                    <a:cubicBezTo>
                      <a:pt x="50722" y="2208"/>
                      <a:pt x="33860" y="-3338"/>
                      <a:pt x="19369" y="3002"/>
                    </a:cubicBezTo>
                    <a:cubicBezTo>
                      <a:pt x="14125" y="5296"/>
                      <a:pt x="13019" y="12527"/>
                      <a:pt x="9844" y="17290"/>
                    </a:cubicBezTo>
                    <a:lnTo>
                      <a:pt x="5081" y="24433"/>
                    </a:lnTo>
                    <a:cubicBezTo>
                      <a:pt x="3494" y="29196"/>
                      <a:pt x="-1268" y="33958"/>
                      <a:pt x="319" y="38721"/>
                    </a:cubicBezTo>
                    <a:cubicBezTo>
                      <a:pt x="1113" y="41102"/>
                      <a:pt x="1481" y="43671"/>
                      <a:pt x="2700" y="45865"/>
                    </a:cubicBezTo>
                    <a:cubicBezTo>
                      <a:pt x="12038" y="62673"/>
                      <a:pt x="10825" y="59219"/>
                      <a:pt x="26512" y="69677"/>
                    </a:cubicBezTo>
                    <a:lnTo>
                      <a:pt x="40800" y="79202"/>
                    </a:lnTo>
                    <a:lnTo>
                      <a:pt x="47944" y="81583"/>
                    </a:lnTo>
                    <a:cubicBezTo>
                      <a:pt x="51557" y="83992"/>
                      <a:pt x="57300" y="88727"/>
                      <a:pt x="62231" y="88727"/>
                    </a:cubicBezTo>
                    <a:cubicBezTo>
                      <a:pt x="66278" y="88727"/>
                      <a:pt x="70168" y="87140"/>
                      <a:pt x="74137" y="86346"/>
                    </a:cubicBezTo>
                    <a:cubicBezTo>
                      <a:pt x="75347" y="63361"/>
                      <a:pt x="78892" y="31539"/>
                      <a:pt x="74137" y="7765"/>
                    </a:cubicBezTo>
                    <a:cubicBezTo>
                      <a:pt x="73789" y="6025"/>
                      <a:pt x="68978" y="3796"/>
                      <a:pt x="59850" y="300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6" name="Freeform 305"/>
              <p:cNvSpPr/>
              <p:nvPr/>
            </p:nvSpPr>
            <p:spPr>
              <a:xfrm>
                <a:off x="6813156" y="2885095"/>
                <a:ext cx="592932" cy="192882"/>
              </a:xfrm>
              <a:custGeom>
                <a:avLst/>
                <a:gdLst>
                  <a:gd name="connsiteX0" fmla="*/ 254794 w 592932"/>
                  <a:gd name="connsiteY0" fmla="*/ 11907 h 192882"/>
                  <a:gd name="connsiteX1" fmla="*/ 266700 w 592932"/>
                  <a:gd name="connsiteY1" fmla="*/ 9525 h 192882"/>
                  <a:gd name="connsiteX2" fmla="*/ 307182 w 592932"/>
                  <a:gd name="connsiteY2" fmla="*/ 7144 h 192882"/>
                  <a:gd name="connsiteX3" fmla="*/ 316707 w 592932"/>
                  <a:gd name="connsiteY3" fmla="*/ 2382 h 192882"/>
                  <a:gd name="connsiteX4" fmla="*/ 326232 w 592932"/>
                  <a:gd name="connsiteY4" fmla="*/ 0 h 192882"/>
                  <a:gd name="connsiteX5" fmla="*/ 352425 w 592932"/>
                  <a:gd name="connsiteY5" fmla="*/ 2382 h 192882"/>
                  <a:gd name="connsiteX6" fmla="*/ 369094 w 592932"/>
                  <a:gd name="connsiteY6" fmla="*/ 7144 h 192882"/>
                  <a:gd name="connsiteX7" fmla="*/ 376238 w 592932"/>
                  <a:gd name="connsiteY7" fmla="*/ 11907 h 192882"/>
                  <a:gd name="connsiteX8" fmla="*/ 381000 w 592932"/>
                  <a:gd name="connsiteY8" fmla="*/ 19050 h 192882"/>
                  <a:gd name="connsiteX9" fmla="*/ 395288 w 592932"/>
                  <a:gd name="connsiteY9" fmla="*/ 23813 h 192882"/>
                  <a:gd name="connsiteX10" fmla="*/ 402432 w 592932"/>
                  <a:gd name="connsiteY10" fmla="*/ 26194 h 192882"/>
                  <a:gd name="connsiteX11" fmla="*/ 409575 w 592932"/>
                  <a:gd name="connsiteY11" fmla="*/ 30957 h 192882"/>
                  <a:gd name="connsiteX12" fmla="*/ 421482 w 592932"/>
                  <a:gd name="connsiteY12" fmla="*/ 45244 h 192882"/>
                  <a:gd name="connsiteX13" fmla="*/ 435769 w 592932"/>
                  <a:gd name="connsiteY13" fmla="*/ 54769 h 192882"/>
                  <a:gd name="connsiteX14" fmla="*/ 445294 w 592932"/>
                  <a:gd name="connsiteY14" fmla="*/ 66675 h 192882"/>
                  <a:gd name="connsiteX15" fmla="*/ 459582 w 592932"/>
                  <a:gd name="connsiteY15" fmla="*/ 71438 h 192882"/>
                  <a:gd name="connsiteX16" fmla="*/ 461963 w 592932"/>
                  <a:gd name="connsiteY16" fmla="*/ 64294 h 192882"/>
                  <a:gd name="connsiteX17" fmla="*/ 469107 w 592932"/>
                  <a:gd name="connsiteY17" fmla="*/ 42863 h 192882"/>
                  <a:gd name="connsiteX18" fmla="*/ 476250 w 592932"/>
                  <a:gd name="connsiteY18" fmla="*/ 35719 h 192882"/>
                  <a:gd name="connsiteX19" fmla="*/ 502444 w 592932"/>
                  <a:gd name="connsiteY19" fmla="*/ 33338 h 192882"/>
                  <a:gd name="connsiteX20" fmla="*/ 509588 w 592932"/>
                  <a:gd name="connsiteY20" fmla="*/ 35719 h 192882"/>
                  <a:gd name="connsiteX21" fmla="*/ 519113 w 592932"/>
                  <a:gd name="connsiteY21" fmla="*/ 57150 h 192882"/>
                  <a:gd name="connsiteX22" fmla="*/ 523875 w 592932"/>
                  <a:gd name="connsiteY22" fmla="*/ 64294 h 192882"/>
                  <a:gd name="connsiteX23" fmla="*/ 528638 w 592932"/>
                  <a:gd name="connsiteY23" fmla="*/ 78582 h 192882"/>
                  <a:gd name="connsiteX24" fmla="*/ 531019 w 592932"/>
                  <a:gd name="connsiteY24" fmla="*/ 85725 h 192882"/>
                  <a:gd name="connsiteX25" fmla="*/ 538163 w 592932"/>
                  <a:gd name="connsiteY25" fmla="*/ 90488 h 192882"/>
                  <a:gd name="connsiteX26" fmla="*/ 552450 w 592932"/>
                  <a:gd name="connsiteY26" fmla="*/ 95250 h 192882"/>
                  <a:gd name="connsiteX27" fmla="*/ 559594 w 592932"/>
                  <a:gd name="connsiteY27" fmla="*/ 100013 h 192882"/>
                  <a:gd name="connsiteX28" fmla="*/ 566738 w 592932"/>
                  <a:gd name="connsiteY28" fmla="*/ 102394 h 192882"/>
                  <a:gd name="connsiteX29" fmla="*/ 588169 w 592932"/>
                  <a:gd name="connsiteY29" fmla="*/ 119063 h 192882"/>
                  <a:gd name="connsiteX30" fmla="*/ 592932 w 592932"/>
                  <a:gd name="connsiteY30" fmla="*/ 126207 h 192882"/>
                  <a:gd name="connsiteX31" fmla="*/ 588169 w 592932"/>
                  <a:gd name="connsiteY31" fmla="*/ 154782 h 192882"/>
                  <a:gd name="connsiteX32" fmla="*/ 585788 w 592932"/>
                  <a:gd name="connsiteY32" fmla="*/ 161925 h 192882"/>
                  <a:gd name="connsiteX33" fmla="*/ 583407 w 592932"/>
                  <a:gd name="connsiteY33" fmla="*/ 188119 h 192882"/>
                  <a:gd name="connsiteX34" fmla="*/ 569119 w 592932"/>
                  <a:gd name="connsiteY34" fmla="*/ 192882 h 192882"/>
                  <a:gd name="connsiteX35" fmla="*/ 540544 w 592932"/>
                  <a:gd name="connsiteY35" fmla="*/ 185738 h 192882"/>
                  <a:gd name="connsiteX36" fmla="*/ 526257 w 592932"/>
                  <a:gd name="connsiteY36" fmla="*/ 180975 h 192882"/>
                  <a:gd name="connsiteX37" fmla="*/ 519113 w 592932"/>
                  <a:gd name="connsiteY37" fmla="*/ 176213 h 192882"/>
                  <a:gd name="connsiteX38" fmla="*/ 514350 w 592932"/>
                  <a:gd name="connsiteY38" fmla="*/ 169069 h 192882"/>
                  <a:gd name="connsiteX39" fmla="*/ 507207 w 592932"/>
                  <a:gd name="connsiteY39" fmla="*/ 161925 h 192882"/>
                  <a:gd name="connsiteX40" fmla="*/ 500063 w 592932"/>
                  <a:gd name="connsiteY40" fmla="*/ 147638 h 192882"/>
                  <a:gd name="connsiteX41" fmla="*/ 485775 w 592932"/>
                  <a:gd name="connsiteY41" fmla="*/ 142875 h 192882"/>
                  <a:gd name="connsiteX42" fmla="*/ 478632 w 592932"/>
                  <a:gd name="connsiteY42" fmla="*/ 140494 h 192882"/>
                  <a:gd name="connsiteX43" fmla="*/ 431007 w 592932"/>
                  <a:gd name="connsiteY43" fmla="*/ 142875 h 192882"/>
                  <a:gd name="connsiteX44" fmla="*/ 411957 w 592932"/>
                  <a:gd name="connsiteY44" fmla="*/ 147638 h 192882"/>
                  <a:gd name="connsiteX45" fmla="*/ 404813 w 592932"/>
                  <a:gd name="connsiteY45" fmla="*/ 150019 h 192882"/>
                  <a:gd name="connsiteX46" fmla="*/ 340519 w 592932"/>
                  <a:gd name="connsiteY46" fmla="*/ 152400 h 192882"/>
                  <a:gd name="connsiteX47" fmla="*/ 323850 w 592932"/>
                  <a:gd name="connsiteY47" fmla="*/ 154782 h 192882"/>
                  <a:gd name="connsiteX48" fmla="*/ 316707 w 592932"/>
                  <a:gd name="connsiteY48" fmla="*/ 157163 h 192882"/>
                  <a:gd name="connsiteX49" fmla="*/ 271463 w 592932"/>
                  <a:gd name="connsiteY49" fmla="*/ 161925 h 192882"/>
                  <a:gd name="connsiteX50" fmla="*/ 264319 w 592932"/>
                  <a:gd name="connsiteY50" fmla="*/ 159544 h 192882"/>
                  <a:gd name="connsiteX51" fmla="*/ 254794 w 592932"/>
                  <a:gd name="connsiteY51" fmla="*/ 161925 h 192882"/>
                  <a:gd name="connsiteX52" fmla="*/ 230982 w 592932"/>
                  <a:gd name="connsiteY52" fmla="*/ 166688 h 192882"/>
                  <a:gd name="connsiteX53" fmla="*/ 211932 w 592932"/>
                  <a:gd name="connsiteY53" fmla="*/ 169069 h 192882"/>
                  <a:gd name="connsiteX54" fmla="*/ 195263 w 592932"/>
                  <a:gd name="connsiteY54" fmla="*/ 171450 h 192882"/>
                  <a:gd name="connsiteX55" fmla="*/ 171450 w 592932"/>
                  <a:gd name="connsiteY55" fmla="*/ 173832 h 192882"/>
                  <a:gd name="connsiteX56" fmla="*/ 159544 w 592932"/>
                  <a:gd name="connsiteY56" fmla="*/ 171450 h 192882"/>
                  <a:gd name="connsiteX57" fmla="*/ 154782 w 592932"/>
                  <a:gd name="connsiteY57" fmla="*/ 157163 h 192882"/>
                  <a:gd name="connsiteX58" fmla="*/ 150019 w 592932"/>
                  <a:gd name="connsiteY58" fmla="*/ 150019 h 192882"/>
                  <a:gd name="connsiteX59" fmla="*/ 133350 w 592932"/>
                  <a:gd name="connsiteY59" fmla="*/ 142875 h 192882"/>
                  <a:gd name="connsiteX60" fmla="*/ 76200 w 592932"/>
                  <a:gd name="connsiteY60" fmla="*/ 147638 h 192882"/>
                  <a:gd name="connsiteX61" fmla="*/ 52388 w 592932"/>
                  <a:gd name="connsiteY61" fmla="*/ 150019 h 192882"/>
                  <a:gd name="connsiteX62" fmla="*/ 30957 w 592932"/>
                  <a:gd name="connsiteY62" fmla="*/ 154782 h 192882"/>
                  <a:gd name="connsiteX63" fmla="*/ 23813 w 592932"/>
                  <a:gd name="connsiteY63" fmla="*/ 109538 h 192882"/>
                  <a:gd name="connsiteX64" fmla="*/ 16669 w 592932"/>
                  <a:gd name="connsiteY64" fmla="*/ 104775 h 192882"/>
                  <a:gd name="connsiteX65" fmla="*/ 9525 w 592932"/>
                  <a:gd name="connsiteY65" fmla="*/ 102394 h 192882"/>
                  <a:gd name="connsiteX66" fmla="*/ 4763 w 592932"/>
                  <a:gd name="connsiteY66" fmla="*/ 95250 h 192882"/>
                  <a:gd name="connsiteX67" fmla="*/ 0 w 592932"/>
                  <a:gd name="connsiteY67" fmla="*/ 80963 h 192882"/>
                  <a:gd name="connsiteX68" fmla="*/ 2382 w 592932"/>
                  <a:gd name="connsiteY68" fmla="*/ 64294 h 192882"/>
                  <a:gd name="connsiteX69" fmla="*/ 16669 w 592932"/>
                  <a:gd name="connsiteY69" fmla="*/ 52388 h 192882"/>
                  <a:gd name="connsiteX70" fmla="*/ 35719 w 592932"/>
                  <a:gd name="connsiteY70" fmla="*/ 47625 h 192882"/>
                  <a:gd name="connsiteX71" fmla="*/ 61913 w 592932"/>
                  <a:gd name="connsiteY71" fmla="*/ 42863 h 192882"/>
                  <a:gd name="connsiteX72" fmla="*/ 126207 w 592932"/>
                  <a:gd name="connsiteY72" fmla="*/ 45244 h 192882"/>
                  <a:gd name="connsiteX73" fmla="*/ 154782 w 592932"/>
                  <a:gd name="connsiteY73" fmla="*/ 50007 h 192882"/>
                  <a:gd name="connsiteX74" fmla="*/ 171450 w 592932"/>
                  <a:gd name="connsiteY74" fmla="*/ 52388 h 192882"/>
                  <a:gd name="connsiteX75" fmla="*/ 221457 w 592932"/>
                  <a:gd name="connsiteY75" fmla="*/ 50007 h 192882"/>
                  <a:gd name="connsiteX76" fmla="*/ 230982 w 592932"/>
                  <a:gd name="connsiteY76" fmla="*/ 47625 h 192882"/>
                  <a:gd name="connsiteX77" fmla="*/ 254794 w 592932"/>
                  <a:gd name="connsiteY77" fmla="*/ 11907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92932" h="192882">
                    <a:moveTo>
                      <a:pt x="254794" y="11907"/>
                    </a:moveTo>
                    <a:cubicBezTo>
                      <a:pt x="260747" y="5557"/>
                      <a:pt x="262669" y="9891"/>
                      <a:pt x="266700" y="9525"/>
                    </a:cubicBezTo>
                    <a:cubicBezTo>
                      <a:pt x="280162" y="8301"/>
                      <a:pt x="293801" y="9055"/>
                      <a:pt x="307182" y="7144"/>
                    </a:cubicBezTo>
                    <a:cubicBezTo>
                      <a:pt x="310696" y="6642"/>
                      <a:pt x="313383" y="3628"/>
                      <a:pt x="316707" y="2382"/>
                    </a:cubicBezTo>
                    <a:cubicBezTo>
                      <a:pt x="319771" y="1233"/>
                      <a:pt x="323057" y="794"/>
                      <a:pt x="326232" y="0"/>
                    </a:cubicBezTo>
                    <a:cubicBezTo>
                      <a:pt x="334963" y="794"/>
                      <a:pt x="343735" y="1223"/>
                      <a:pt x="352425" y="2382"/>
                    </a:cubicBezTo>
                    <a:cubicBezTo>
                      <a:pt x="357409" y="3047"/>
                      <a:pt x="364196" y="5512"/>
                      <a:pt x="369094" y="7144"/>
                    </a:cubicBezTo>
                    <a:cubicBezTo>
                      <a:pt x="371475" y="8732"/>
                      <a:pt x="374214" y="9883"/>
                      <a:pt x="376238" y="11907"/>
                    </a:cubicBezTo>
                    <a:cubicBezTo>
                      <a:pt x="378261" y="13930"/>
                      <a:pt x="378573" y="17533"/>
                      <a:pt x="381000" y="19050"/>
                    </a:cubicBezTo>
                    <a:cubicBezTo>
                      <a:pt x="385257" y="21711"/>
                      <a:pt x="390525" y="22225"/>
                      <a:pt x="395288" y="23813"/>
                    </a:cubicBezTo>
                    <a:lnTo>
                      <a:pt x="402432" y="26194"/>
                    </a:lnTo>
                    <a:cubicBezTo>
                      <a:pt x="404813" y="27782"/>
                      <a:pt x="407551" y="28933"/>
                      <a:pt x="409575" y="30957"/>
                    </a:cubicBezTo>
                    <a:cubicBezTo>
                      <a:pt x="423328" y="44710"/>
                      <a:pt x="403933" y="31595"/>
                      <a:pt x="421482" y="45244"/>
                    </a:cubicBezTo>
                    <a:cubicBezTo>
                      <a:pt x="426000" y="48758"/>
                      <a:pt x="435769" y="54769"/>
                      <a:pt x="435769" y="54769"/>
                    </a:cubicBezTo>
                    <a:cubicBezTo>
                      <a:pt x="438351" y="62516"/>
                      <a:pt x="436864" y="62928"/>
                      <a:pt x="445294" y="66675"/>
                    </a:cubicBezTo>
                    <a:cubicBezTo>
                      <a:pt x="449882" y="68714"/>
                      <a:pt x="459582" y="71438"/>
                      <a:pt x="459582" y="71438"/>
                    </a:cubicBezTo>
                    <a:cubicBezTo>
                      <a:pt x="460376" y="69057"/>
                      <a:pt x="461419" y="66744"/>
                      <a:pt x="461963" y="64294"/>
                    </a:cubicBezTo>
                    <a:cubicBezTo>
                      <a:pt x="464970" y="50761"/>
                      <a:pt x="461574" y="51904"/>
                      <a:pt x="469107" y="42863"/>
                    </a:cubicBezTo>
                    <a:cubicBezTo>
                      <a:pt x="471263" y="40276"/>
                      <a:pt x="473012" y="36644"/>
                      <a:pt x="476250" y="35719"/>
                    </a:cubicBezTo>
                    <a:cubicBezTo>
                      <a:pt x="484680" y="33310"/>
                      <a:pt x="493713" y="34132"/>
                      <a:pt x="502444" y="33338"/>
                    </a:cubicBezTo>
                    <a:cubicBezTo>
                      <a:pt x="504825" y="34132"/>
                      <a:pt x="507628" y="34151"/>
                      <a:pt x="509588" y="35719"/>
                    </a:cubicBezTo>
                    <a:cubicBezTo>
                      <a:pt x="516508" y="41255"/>
                      <a:pt x="514544" y="50296"/>
                      <a:pt x="519113" y="57150"/>
                    </a:cubicBezTo>
                    <a:cubicBezTo>
                      <a:pt x="520700" y="59531"/>
                      <a:pt x="522713" y="61679"/>
                      <a:pt x="523875" y="64294"/>
                    </a:cubicBezTo>
                    <a:cubicBezTo>
                      <a:pt x="525914" y="68882"/>
                      <a:pt x="527050" y="73819"/>
                      <a:pt x="528638" y="78582"/>
                    </a:cubicBezTo>
                    <a:cubicBezTo>
                      <a:pt x="529432" y="80963"/>
                      <a:pt x="528931" y="84333"/>
                      <a:pt x="531019" y="85725"/>
                    </a:cubicBezTo>
                    <a:cubicBezTo>
                      <a:pt x="533400" y="87313"/>
                      <a:pt x="535548" y="89326"/>
                      <a:pt x="538163" y="90488"/>
                    </a:cubicBezTo>
                    <a:cubicBezTo>
                      <a:pt x="542750" y="92527"/>
                      <a:pt x="552450" y="95250"/>
                      <a:pt x="552450" y="95250"/>
                    </a:cubicBezTo>
                    <a:cubicBezTo>
                      <a:pt x="554831" y="96838"/>
                      <a:pt x="557034" y="98733"/>
                      <a:pt x="559594" y="100013"/>
                    </a:cubicBezTo>
                    <a:cubicBezTo>
                      <a:pt x="561839" y="101136"/>
                      <a:pt x="564544" y="101175"/>
                      <a:pt x="566738" y="102394"/>
                    </a:cubicBezTo>
                    <a:cubicBezTo>
                      <a:pt x="574978" y="106972"/>
                      <a:pt x="582185" y="111882"/>
                      <a:pt x="588169" y="119063"/>
                    </a:cubicBezTo>
                    <a:cubicBezTo>
                      <a:pt x="590001" y="121262"/>
                      <a:pt x="591344" y="123826"/>
                      <a:pt x="592932" y="126207"/>
                    </a:cubicBezTo>
                    <a:cubicBezTo>
                      <a:pt x="591589" y="135606"/>
                      <a:pt x="590488" y="145503"/>
                      <a:pt x="588169" y="154782"/>
                    </a:cubicBezTo>
                    <a:cubicBezTo>
                      <a:pt x="587560" y="157217"/>
                      <a:pt x="586582" y="159544"/>
                      <a:pt x="585788" y="161925"/>
                    </a:cubicBezTo>
                    <a:cubicBezTo>
                      <a:pt x="584994" y="170656"/>
                      <a:pt x="587564" y="180400"/>
                      <a:pt x="583407" y="188119"/>
                    </a:cubicBezTo>
                    <a:cubicBezTo>
                      <a:pt x="581027" y="192539"/>
                      <a:pt x="569119" y="192882"/>
                      <a:pt x="569119" y="192882"/>
                    </a:cubicBezTo>
                    <a:cubicBezTo>
                      <a:pt x="549880" y="189674"/>
                      <a:pt x="559412" y="192027"/>
                      <a:pt x="540544" y="185738"/>
                    </a:cubicBezTo>
                    <a:cubicBezTo>
                      <a:pt x="540539" y="185736"/>
                      <a:pt x="526262" y="180979"/>
                      <a:pt x="526257" y="180975"/>
                    </a:cubicBezTo>
                    <a:lnTo>
                      <a:pt x="519113" y="176213"/>
                    </a:lnTo>
                    <a:cubicBezTo>
                      <a:pt x="517525" y="173832"/>
                      <a:pt x="516182" y="171268"/>
                      <a:pt x="514350" y="169069"/>
                    </a:cubicBezTo>
                    <a:cubicBezTo>
                      <a:pt x="512194" y="166482"/>
                      <a:pt x="509075" y="164727"/>
                      <a:pt x="507207" y="161925"/>
                    </a:cubicBezTo>
                    <a:cubicBezTo>
                      <a:pt x="503687" y="156645"/>
                      <a:pt x="506482" y="151650"/>
                      <a:pt x="500063" y="147638"/>
                    </a:cubicBezTo>
                    <a:cubicBezTo>
                      <a:pt x="495806" y="144977"/>
                      <a:pt x="490538" y="144463"/>
                      <a:pt x="485775" y="142875"/>
                    </a:cubicBezTo>
                    <a:lnTo>
                      <a:pt x="478632" y="140494"/>
                    </a:lnTo>
                    <a:cubicBezTo>
                      <a:pt x="462757" y="141288"/>
                      <a:pt x="446811" y="141182"/>
                      <a:pt x="431007" y="142875"/>
                    </a:cubicBezTo>
                    <a:cubicBezTo>
                      <a:pt x="424499" y="143572"/>
                      <a:pt x="418167" y="145568"/>
                      <a:pt x="411957" y="147638"/>
                    </a:cubicBezTo>
                    <a:cubicBezTo>
                      <a:pt x="409576" y="148432"/>
                      <a:pt x="407318" y="149852"/>
                      <a:pt x="404813" y="150019"/>
                    </a:cubicBezTo>
                    <a:cubicBezTo>
                      <a:pt x="383414" y="151445"/>
                      <a:pt x="361950" y="151606"/>
                      <a:pt x="340519" y="152400"/>
                    </a:cubicBezTo>
                    <a:cubicBezTo>
                      <a:pt x="334963" y="153194"/>
                      <a:pt x="329354" y="153681"/>
                      <a:pt x="323850" y="154782"/>
                    </a:cubicBezTo>
                    <a:cubicBezTo>
                      <a:pt x="321389" y="155274"/>
                      <a:pt x="319194" y="156824"/>
                      <a:pt x="316707" y="157163"/>
                    </a:cubicBezTo>
                    <a:cubicBezTo>
                      <a:pt x="301681" y="159212"/>
                      <a:pt x="271463" y="161925"/>
                      <a:pt x="271463" y="161925"/>
                    </a:cubicBezTo>
                    <a:cubicBezTo>
                      <a:pt x="269082" y="161131"/>
                      <a:pt x="266829" y="159544"/>
                      <a:pt x="264319" y="159544"/>
                    </a:cubicBezTo>
                    <a:cubicBezTo>
                      <a:pt x="261046" y="159544"/>
                      <a:pt x="257994" y="161239"/>
                      <a:pt x="254794" y="161925"/>
                    </a:cubicBezTo>
                    <a:cubicBezTo>
                      <a:pt x="246879" y="163621"/>
                      <a:pt x="239014" y="165684"/>
                      <a:pt x="230982" y="166688"/>
                    </a:cubicBezTo>
                    <a:lnTo>
                      <a:pt x="211932" y="169069"/>
                    </a:lnTo>
                    <a:cubicBezTo>
                      <a:pt x="206368" y="169811"/>
                      <a:pt x="200837" y="170794"/>
                      <a:pt x="195263" y="171450"/>
                    </a:cubicBezTo>
                    <a:cubicBezTo>
                      <a:pt x="187340" y="172382"/>
                      <a:pt x="179388" y="173038"/>
                      <a:pt x="171450" y="173832"/>
                    </a:cubicBezTo>
                    <a:cubicBezTo>
                      <a:pt x="167481" y="173038"/>
                      <a:pt x="162406" y="174312"/>
                      <a:pt x="159544" y="171450"/>
                    </a:cubicBezTo>
                    <a:cubicBezTo>
                      <a:pt x="155994" y="167900"/>
                      <a:pt x="157567" y="161340"/>
                      <a:pt x="154782" y="157163"/>
                    </a:cubicBezTo>
                    <a:cubicBezTo>
                      <a:pt x="153194" y="154782"/>
                      <a:pt x="152043" y="152043"/>
                      <a:pt x="150019" y="150019"/>
                    </a:cubicBezTo>
                    <a:cubicBezTo>
                      <a:pt x="144538" y="144539"/>
                      <a:pt x="140635" y="144697"/>
                      <a:pt x="133350" y="142875"/>
                    </a:cubicBezTo>
                    <a:cubicBezTo>
                      <a:pt x="56241" y="147412"/>
                      <a:pt x="119133" y="142588"/>
                      <a:pt x="76200" y="147638"/>
                    </a:cubicBezTo>
                    <a:cubicBezTo>
                      <a:pt x="68278" y="148570"/>
                      <a:pt x="60295" y="148965"/>
                      <a:pt x="52388" y="150019"/>
                    </a:cubicBezTo>
                    <a:cubicBezTo>
                      <a:pt x="45903" y="150884"/>
                      <a:pt x="37430" y="153163"/>
                      <a:pt x="30957" y="154782"/>
                    </a:cubicBezTo>
                    <a:cubicBezTo>
                      <a:pt x="30149" y="141862"/>
                      <a:pt x="35239" y="120964"/>
                      <a:pt x="23813" y="109538"/>
                    </a:cubicBezTo>
                    <a:cubicBezTo>
                      <a:pt x="21789" y="107514"/>
                      <a:pt x="19229" y="106055"/>
                      <a:pt x="16669" y="104775"/>
                    </a:cubicBezTo>
                    <a:cubicBezTo>
                      <a:pt x="14424" y="103652"/>
                      <a:pt x="11906" y="103188"/>
                      <a:pt x="9525" y="102394"/>
                    </a:cubicBezTo>
                    <a:cubicBezTo>
                      <a:pt x="7938" y="100013"/>
                      <a:pt x="5925" y="97865"/>
                      <a:pt x="4763" y="95250"/>
                    </a:cubicBezTo>
                    <a:cubicBezTo>
                      <a:pt x="2724" y="90663"/>
                      <a:pt x="0" y="80963"/>
                      <a:pt x="0" y="80963"/>
                    </a:cubicBezTo>
                    <a:cubicBezTo>
                      <a:pt x="794" y="75407"/>
                      <a:pt x="298" y="69505"/>
                      <a:pt x="2382" y="64294"/>
                    </a:cubicBezTo>
                    <a:cubicBezTo>
                      <a:pt x="3699" y="61000"/>
                      <a:pt x="13394" y="54025"/>
                      <a:pt x="16669" y="52388"/>
                    </a:cubicBezTo>
                    <a:cubicBezTo>
                      <a:pt x="21773" y="49836"/>
                      <a:pt x="30832" y="48711"/>
                      <a:pt x="35719" y="47625"/>
                    </a:cubicBezTo>
                    <a:cubicBezTo>
                      <a:pt x="55916" y="43136"/>
                      <a:pt x="33040" y="46987"/>
                      <a:pt x="61913" y="42863"/>
                    </a:cubicBezTo>
                    <a:cubicBezTo>
                      <a:pt x="83344" y="43657"/>
                      <a:pt x="104824" y="43599"/>
                      <a:pt x="126207" y="45244"/>
                    </a:cubicBezTo>
                    <a:cubicBezTo>
                      <a:pt x="135835" y="45985"/>
                      <a:pt x="145223" y="48641"/>
                      <a:pt x="154782" y="50007"/>
                    </a:cubicBezTo>
                    <a:lnTo>
                      <a:pt x="171450" y="52388"/>
                    </a:lnTo>
                    <a:cubicBezTo>
                      <a:pt x="188119" y="51594"/>
                      <a:pt x="204822" y="51338"/>
                      <a:pt x="221457" y="50007"/>
                    </a:cubicBezTo>
                    <a:cubicBezTo>
                      <a:pt x="224719" y="49746"/>
                      <a:pt x="227773" y="48267"/>
                      <a:pt x="230982" y="47625"/>
                    </a:cubicBezTo>
                    <a:cubicBezTo>
                      <a:pt x="235716" y="46678"/>
                      <a:pt x="248841" y="18257"/>
                      <a:pt x="254794" y="11907"/>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7" name="Freeform 306"/>
              <p:cNvSpPr/>
              <p:nvPr/>
            </p:nvSpPr>
            <p:spPr>
              <a:xfrm>
                <a:off x="7325125" y="2741118"/>
                <a:ext cx="531019" cy="330421"/>
              </a:xfrm>
              <a:custGeom>
                <a:avLst/>
                <a:gdLst>
                  <a:gd name="connsiteX0" fmla="*/ 0 w 531019"/>
                  <a:gd name="connsiteY0" fmla="*/ 177315 h 330421"/>
                  <a:gd name="connsiteX1" fmla="*/ 76200 w 531019"/>
                  <a:gd name="connsiteY1" fmla="*/ 179696 h 330421"/>
                  <a:gd name="connsiteX2" fmla="*/ 90488 w 531019"/>
                  <a:gd name="connsiteY2" fmla="*/ 186840 h 330421"/>
                  <a:gd name="connsiteX3" fmla="*/ 97631 w 531019"/>
                  <a:gd name="connsiteY3" fmla="*/ 189221 h 330421"/>
                  <a:gd name="connsiteX4" fmla="*/ 104775 w 531019"/>
                  <a:gd name="connsiteY4" fmla="*/ 193984 h 330421"/>
                  <a:gd name="connsiteX5" fmla="*/ 121444 w 531019"/>
                  <a:gd name="connsiteY5" fmla="*/ 196365 h 330421"/>
                  <a:gd name="connsiteX6" fmla="*/ 133350 w 531019"/>
                  <a:gd name="connsiteY6" fmla="*/ 198746 h 330421"/>
                  <a:gd name="connsiteX7" fmla="*/ 166688 w 531019"/>
                  <a:gd name="connsiteY7" fmla="*/ 203509 h 330421"/>
                  <a:gd name="connsiteX8" fmla="*/ 180975 w 531019"/>
                  <a:gd name="connsiteY8" fmla="*/ 205890 h 330421"/>
                  <a:gd name="connsiteX9" fmla="*/ 204788 w 531019"/>
                  <a:gd name="connsiteY9" fmla="*/ 208271 h 330421"/>
                  <a:gd name="connsiteX10" fmla="*/ 219075 w 531019"/>
                  <a:gd name="connsiteY10" fmla="*/ 205890 h 330421"/>
                  <a:gd name="connsiteX11" fmla="*/ 233363 w 531019"/>
                  <a:gd name="connsiteY11" fmla="*/ 201127 h 330421"/>
                  <a:gd name="connsiteX12" fmla="*/ 242888 w 531019"/>
                  <a:gd name="connsiteY12" fmla="*/ 198746 h 330421"/>
                  <a:gd name="connsiteX13" fmla="*/ 257175 w 531019"/>
                  <a:gd name="connsiteY13" fmla="*/ 191602 h 330421"/>
                  <a:gd name="connsiteX14" fmla="*/ 271463 w 531019"/>
                  <a:gd name="connsiteY14" fmla="*/ 179696 h 330421"/>
                  <a:gd name="connsiteX15" fmla="*/ 278606 w 531019"/>
                  <a:gd name="connsiteY15" fmla="*/ 165409 h 330421"/>
                  <a:gd name="connsiteX16" fmla="*/ 285750 w 531019"/>
                  <a:gd name="connsiteY16" fmla="*/ 160646 h 330421"/>
                  <a:gd name="connsiteX17" fmla="*/ 297656 w 531019"/>
                  <a:gd name="connsiteY17" fmla="*/ 148740 h 330421"/>
                  <a:gd name="connsiteX18" fmla="*/ 302419 w 531019"/>
                  <a:gd name="connsiteY18" fmla="*/ 141596 h 330421"/>
                  <a:gd name="connsiteX19" fmla="*/ 309563 w 531019"/>
                  <a:gd name="connsiteY19" fmla="*/ 134452 h 330421"/>
                  <a:gd name="connsiteX20" fmla="*/ 326231 w 531019"/>
                  <a:gd name="connsiteY20" fmla="*/ 113021 h 330421"/>
                  <a:gd name="connsiteX21" fmla="*/ 352425 w 531019"/>
                  <a:gd name="connsiteY21" fmla="*/ 108259 h 330421"/>
                  <a:gd name="connsiteX22" fmla="*/ 359569 w 531019"/>
                  <a:gd name="connsiteY22" fmla="*/ 103496 h 330421"/>
                  <a:gd name="connsiteX23" fmla="*/ 361950 w 531019"/>
                  <a:gd name="connsiteY23" fmla="*/ 96352 h 330421"/>
                  <a:gd name="connsiteX24" fmla="*/ 354806 w 531019"/>
                  <a:gd name="connsiteY24" fmla="*/ 70159 h 330421"/>
                  <a:gd name="connsiteX25" fmla="*/ 383381 w 531019"/>
                  <a:gd name="connsiteY25" fmla="*/ 60634 h 330421"/>
                  <a:gd name="connsiteX26" fmla="*/ 397669 w 531019"/>
                  <a:gd name="connsiteY26" fmla="*/ 53490 h 330421"/>
                  <a:gd name="connsiteX27" fmla="*/ 411956 w 531019"/>
                  <a:gd name="connsiteY27" fmla="*/ 48727 h 330421"/>
                  <a:gd name="connsiteX28" fmla="*/ 419100 w 531019"/>
                  <a:gd name="connsiteY28" fmla="*/ 46346 h 330421"/>
                  <a:gd name="connsiteX29" fmla="*/ 433388 w 531019"/>
                  <a:gd name="connsiteY29" fmla="*/ 36821 h 330421"/>
                  <a:gd name="connsiteX30" fmla="*/ 442913 w 531019"/>
                  <a:gd name="connsiteY30" fmla="*/ 24915 h 330421"/>
                  <a:gd name="connsiteX31" fmla="*/ 447675 w 531019"/>
                  <a:gd name="connsiteY31" fmla="*/ 17771 h 330421"/>
                  <a:gd name="connsiteX32" fmla="*/ 469106 w 531019"/>
                  <a:gd name="connsiteY32" fmla="*/ 5865 h 330421"/>
                  <a:gd name="connsiteX33" fmla="*/ 485775 w 531019"/>
                  <a:gd name="connsiteY33" fmla="*/ 3484 h 330421"/>
                  <a:gd name="connsiteX34" fmla="*/ 514350 w 531019"/>
                  <a:gd name="connsiteY34" fmla="*/ 3484 h 330421"/>
                  <a:gd name="connsiteX35" fmla="*/ 519113 w 531019"/>
                  <a:gd name="connsiteY35" fmla="*/ 10627 h 330421"/>
                  <a:gd name="connsiteX36" fmla="*/ 521494 w 531019"/>
                  <a:gd name="connsiteY36" fmla="*/ 20152 h 330421"/>
                  <a:gd name="connsiteX37" fmla="*/ 531019 w 531019"/>
                  <a:gd name="connsiteY37" fmla="*/ 34440 h 330421"/>
                  <a:gd name="connsiteX38" fmla="*/ 526256 w 531019"/>
                  <a:gd name="connsiteY38" fmla="*/ 65396 h 330421"/>
                  <a:gd name="connsiteX39" fmla="*/ 521494 w 531019"/>
                  <a:gd name="connsiteY39" fmla="*/ 72540 h 330421"/>
                  <a:gd name="connsiteX40" fmla="*/ 507206 w 531019"/>
                  <a:gd name="connsiteY40" fmla="*/ 77302 h 330421"/>
                  <a:gd name="connsiteX41" fmla="*/ 497681 w 531019"/>
                  <a:gd name="connsiteY41" fmla="*/ 98734 h 330421"/>
                  <a:gd name="connsiteX42" fmla="*/ 490538 w 531019"/>
                  <a:gd name="connsiteY42" fmla="*/ 101115 h 330421"/>
                  <a:gd name="connsiteX43" fmla="*/ 483394 w 531019"/>
                  <a:gd name="connsiteY43" fmla="*/ 105877 h 330421"/>
                  <a:gd name="connsiteX44" fmla="*/ 478631 w 531019"/>
                  <a:gd name="connsiteY44" fmla="*/ 113021 h 330421"/>
                  <a:gd name="connsiteX45" fmla="*/ 464344 w 531019"/>
                  <a:gd name="connsiteY45" fmla="*/ 141596 h 330421"/>
                  <a:gd name="connsiteX46" fmla="*/ 457200 w 531019"/>
                  <a:gd name="connsiteY46" fmla="*/ 146359 h 330421"/>
                  <a:gd name="connsiteX47" fmla="*/ 445294 w 531019"/>
                  <a:gd name="connsiteY47" fmla="*/ 160646 h 330421"/>
                  <a:gd name="connsiteX48" fmla="*/ 438150 w 531019"/>
                  <a:gd name="connsiteY48" fmla="*/ 163027 h 330421"/>
                  <a:gd name="connsiteX49" fmla="*/ 431006 w 531019"/>
                  <a:gd name="connsiteY49" fmla="*/ 167790 h 330421"/>
                  <a:gd name="connsiteX50" fmla="*/ 426244 w 531019"/>
                  <a:gd name="connsiteY50" fmla="*/ 174934 h 330421"/>
                  <a:gd name="connsiteX51" fmla="*/ 411956 w 531019"/>
                  <a:gd name="connsiteY51" fmla="*/ 184459 h 330421"/>
                  <a:gd name="connsiteX52" fmla="*/ 404813 w 531019"/>
                  <a:gd name="connsiteY52" fmla="*/ 189221 h 330421"/>
                  <a:gd name="connsiteX53" fmla="*/ 395288 w 531019"/>
                  <a:gd name="connsiteY53" fmla="*/ 203509 h 330421"/>
                  <a:gd name="connsiteX54" fmla="*/ 383381 w 531019"/>
                  <a:gd name="connsiteY54" fmla="*/ 217796 h 330421"/>
                  <a:gd name="connsiteX55" fmla="*/ 369094 w 531019"/>
                  <a:gd name="connsiteY55" fmla="*/ 227321 h 330421"/>
                  <a:gd name="connsiteX56" fmla="*/ 364331 w 531019"/>
                  <a:gd name="connsiteY56" fmla="*/ 241609 h 330421"/>
                  <a:gd name="connsiteX57" fmla="*/ 361950 w 531019"/>
                  <a:gd name="connsiteY57" fmla="*/ 248752 h 330421"/>
                  <a:gd name="connsiteX58" fmla="*/ 354806 w 531019"/>
                  <a:gd name="connsiteY58" fmla="*/ 255896 h 330421"/>
                  <a:gd name="connsiteX59" fmla="*/ 338138 w 531019"/>
                  <a:gd name="connsiteY59" fmla="*/ 277327 h 330421"/>
                  <a:gd name="connsiteX60" fmla="*/ 323850 w 531019"/>
                  <a:gd name="connsiteY60" fmla="*/ 286852 h 330421"/>
                  <a:gd name="connsiteX61" fmla="*/ 309563 w 531019"/>
                  <a:gd name="connsiteY61" fmla="*/ 298759 h 330421"/>
                  <a:gd name="connsiteX62" fmla="*/ 288131 w 531019"/>
                  <a:gd name="connsiteY62" fmla="*/ 315427 h 330421"/>
                  <a:gd name="connsiteX63" fmla="*/ 273844 w 531019"/>
                  <a:gd name="connsiteY63" fmla="*/ 320190 h 330421"/>
                  <a:gd name="connsiteX64" fmla="*/ 261938 w 531019"/>
                  <a:gd name="connsiteY64" fmla="*/ 324952 h 330421"/>
                  <a:gd name="connsiteX65" fmla="*/ 207169 w 531019"/>
                  <a:gd name="connsiteY65" fmla="*/ 329715 h 330421"/>
                  <a:gd name="connsiteX66" fmla="*/ 76200 w 531019"/>
                  <a:gd name="connsiteY66" fmla="*/ 327334 h 330421"/>
                  <a:gd name="connsiteX67" fmla="*/ 80963 w 531019"/>
                  <a:gd name="connsiteY67" fmla="*/ 313046 h 330421"/>
                  <a:gd name="connsiteX68" fmla="*/ 85725 w 531019"/>
                  <a:gd name="connsiteY68" fmla="*/ 296377 h 330421"/>
                  <a:gd name="connsiteX69" fmla="*/ 78581 w 531019"/>
                  <a:gd name="connsiteY69" fmla="*/ 260659 h 330421"/>
                  <a:gd name="connsiteX70" fmla="*/ 71438 w 531019"/>
                  <a:gd name="connsiteY70" fmla="*/ 255896 h 330421"/>
                  <a:gd name="connsiteX71" fmla="*/ 64294 w 531019"/>
                  <a:gd name="connsiteY71" fmla="*/ 253515 h 330421"/>
                  <a:gd name="connsiteX72" fmla="*/ 50006 w 531019"/>
                  <a:gd name="connsiteY72" fmla="*/ 243990 h 330421"/>
                  <a:gd name="connsiteX73" fmla="*/ 33338 w 531019"/>
                  <a:gd name="connsiteY73" fmla="*/ 236846 h 330421"/>
                  <a:gd name="connsiteX74" fmla="*/ 26194 w 531019"/>
                  <a:gd name="connsiteY74" fmla="*/ 234465 h 330421"/>
                  <a:gd name="connsiteX75" fmla="*/ 11906 w 531019"/>
                  <a:gd name="connsiteY75" fmla="*/ 224940 h 330421"/>
                  <a:gd name="connsiteX76" fmla="*/ 0 w 531019"/>
                  <a:gd name="connsiteY76" fmla="*/ 177315 h 33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31019" h="330421">
                    <a:moveTo>
                      <a:pt x="0" y="177315"/>
                    </a:moveTo>
                    <a:cubicBezTo>
                      <a:pt x="25400" y="178109"/>
                      <a:pt x="50829" y="178246"/>
                      <a:pt x="76200" y="179696"/>
                    </a:cubicBezTo>
                    <a:cubicBezTo>
                      <a:pt x="82959" y="180082"/>
                      <a:pt x="84790" y="183991"/>
                      <a:pt x="90488" y="186840"/>
                    </a:cubicBezTo>
                    <a:cubicBezTo>
                      <a:pt x="92733" y="187962"/>
                      <a:pt x="95250" y="188427"/>
                      <a:pt x="97631" y="189221"/>
                    </a:cubicBezTo>
                    <a:cubicBezTo>
                      <a:pt x="100012" y="190809"/>
                      <a:pt x="102034" y="193162"/>
                      <a:pt x="104775" y="193984"/>
                    </a:cubicBezTo>
                    <a:cubicBezTo>
                      <a:pt x="110151" y="195597"/>
                      <a:pt x="115908" y="195442"/>
                      <a:pt x="121444" y="196365"/>
                    </a:cubicBezTo>
                    <a:cubicBezTo>
                      <a:pt x="125436" y="197030"/>
                      <a:pt x="129352" y="198115"/>
                      <a:pt x="133350" y="198746"/>
                    </a:cubicBezTo>
                    <a:cubicBezTo>
                      <a:pt x="144438" y="200497"/>
                      <a:pt x="155615" y="201664"/>
                      <a:pt x="166688" y="203509"/>
                    </a:cubicBezTo>
                    <a:cubicBezTo>
                      <a:pt x="171450" y="204303"/>
                      <a:pt x="176184" y="205291"/>
                      <a:pt x="180975" y="205890"/>
                    </a:cubicBezTo>
                    <a:cubicBezTo>
                      <a:pt x="188891" y="206879"/>
                      <a:pt x="196850" y="207477"/>
                      <a:pt x="204788" y="208271"/>
                    </a:cubicBezTo>
                    <a:cubicBezTo>
                      <a:pt x="209550" y="207477"/>
                      <a:pt x="214391" y="207061"/>
                      <a:pt x="219075" y="205890"/>
                    </a:cubicBezTo>
                    <a:cubicBezTo>
                      <a:pt x="223945" y="204672"/>
                      <a:pt x="228493" y="202344"/>
                      <a:pt x="233363" y="201127"/>
                    </a:cubicBezTo>
                    <a:lnTo>
                      <a:pt x="242888" y="198746"/>
                    </a:lnTo>
                    <a:cubicBezTo>
                      <a:pt x="263352" y="185103"/>
                      <a:pt x="237463" y="201458"/>
                      <a:pt x="257175" y="191602"/>
                    </a:cubicBezTo>
                    <a:cubicBezTo>
                      <a:pt x="263808" y="188286"/>
                      <a:pt x="266195" y="184964"/>
                      <a:pt x="271463" y="179696"/>
                    </a:cubicBezTo>
                    <a:cubicBezTo>
                      <a:pt x="273399" y="173886"/>
                      <a:pt x="273990" y="170025"/>
                      <a:pt x="278606" y="165409"/>
                    </a:cubicBezTo>
                    <a:cubicBezTo>
                      <a:pt x="280630" y="163385"/>
                      <a:pt x="283369" y="162234"/>
                      <a:pt x="285750" y="160646"/>
                    </a:cubicBezTo>
                    <a:cubicBezTo>
                      <a:pt x="298452" y="141594"/>
                      <a:pt x="281781" y="164615"/>
                      <a:pt x="297656" y="148740"/>
                    </a:cubicBezTo>
                    <a:cubicBezTo>
                      <a:pt x="299680" y="146716"/>
                      <a:pt x="300587" y="143795"/>
                      <a:pt x="302419" y="141596"/>
                    </a:cubicBezTo>
                    <a:cubicBezTo>
                      <a:pt x="304575" y="139009"/>
                      <a:pt x="307495" y="137110"/>
                      <a:pt x="309563" y="134452"/>
                    </a:cubicBezTo>
                    <a:cubicBezTo>
                      <a:pt x="314654" y="127907"/>
                      <a:pt x="318749" y="118009"/>
                      <a:pt x="326231" y="113021"/>
                    </a:cubicBezTo>
                    <a:cubicBezTo>
                      <a:pt x="331313" y="109633"/>
                      <a:pt x="351620" y="108360"/>
                      <a:pt x="352425" y="108259"/>
                    </a:cubicBezTo>
                    <a:cubicBezTo>
                      <a:pt x="354806" y="106671"/>
                      <a:pt x="357781" y="105731"/>
                      <a:pt x="359569" y="103496"/>
                    </a:cubicBezTo>
                    <a:cubicBezTo>
                      <a:pt x="361137" y="101536"/>
                      <a:pt x="361950" y="98862"/>
                      <a:pt x="361950" y="96352"/>
                    </a:cubicBezTo>
                    <a:cubicBezTo>
                      <a:pt x="361950" y="78565"/>
                      <a:pt x="361896" y="80791"/>
                      <a:pt x="354806" y="70159"/>
                    </a:cubicBezTo>
                    <a:cubicBezTo>
                      <a:pt x="367807" y="57158"/>
                      <a:pt x="356950" y="65040"/>
                      <a:pt x="383381" y="60634"/>
                    </a:cubicBezTo>
                    <a:cubicBezTo>
                      <a:pt x="393798" y="58898"/>
                      <a:pt x="387801" y="57876"/>
                      <a:pt x="397669" y="53490"/>
                    </a:cubicBezTo>
                    <a:cubicBezTo>
                      <a:pt x="402256" y="51451"/>
                      <a:pt x="407194" y="50315"/>
                      <a:pt x="411956" y="48727"/>
                    </a:cubicBezTo>
                    <a:cubicBezTo>
                      <a:pt x="414337" y="47933"/>
                      <a:pt x="417011" y="47738"/>
                      <a:pt x="419100" y="46346"/>
                    </a:cubicBezTo>
                    <a:lnTo>
                      <a:pt x="433388" y="36821"/>
                    </a:lnTo>
                    <a:cubicBezTo>
                      <a:pt x="438024" y="22912"/>
                      <a:pt x="432141" y="35687"/>
                      <a:pt x="442913" y="24915"/>
                    </a:cubicBezTo>
                    <a:cubicBezTo>
                      <a:pt x="444937" y="22891"/>
                      <a:pt x="445521" y="19656"/>
                      <a:pt x="447675" y="17771"/>
                    </a:cubicBezTo>
                    <a:cubicBezTo>
                      <a:pt x="453332" y="12821"/>
                      <a:pt x="461233" y="7439"/>
                      <a:pt x="469106" y="5865"/>
                    </a:cubicBezTo>
                    <a:cubicBezTo>
                      <a:pt x="474610" y="4764"/>
                      <a:pt x="480219" y="4278"/>
                      <a:pt x="485775" y="3484"/>
                    </a:cubicBezTo>
                    <a:cubicBezTo>
                      <a:pt x="496711" y="-162"/>
                      <a:pt x="499090" y="-2065"/>
                      <a:pt x="514350" y="3484"/>
                    </a:cubicBezTo>
                    <a:cubicBezTo>
                      <a:pt x="517039" y="4462"/>
                      <a:pt x="517525" y="8246"/>
                      <a:pt x="519113" y="10627"/>
                    </a:cubicBezTo>
                    <a:cubicBezTo>
                      <a:pt x="519907" y="13802"/>
                      <a:pt x="519870" y="17310"/>
                      <a:pt x="521494" y="20152"/>
                    </a:cubicBezTo>
                    <a:cubicBezTo>
                      <a:pt x="535763" y="45123"/>
                      <a:pt x="523586" y="12137"/>
                      <a:pt x="531019" y="34440"/>
                    </a:cubicBezTo>
                    <a:cubicBezTo>
                      <a:pt x="530335" y="41282"/>
                      <a:pt x="530549" y="56811"/>
                      <a:pt x="526256" y="65396"/>
                    </a:cubicBezTo>
                    <a:cubicBezTo>
                      <a:pt x="524976" y="67956"/>
                      <a:pt x="523921" y="71023"/>
                      <a:pt x="521494" y="72540"/>
                    </a:cubicBezTo>
                    <a:cubicBezTo>
                      <a:pt x="517237" y="75201"/>
                      <a:pt x="507206" y="77302"/>
                      <a:pt x="507206" y="77302"/>
                    </a:cubicBezTo>
                    <a:cubicBezTo>
                      <a:pt x="505750" y="81670"/>
                      <a:pt x="502828" y="94616"/>
                      <a:pt x="497681" y="98734"/>
                    </a:cubicBezTo>
                    <a:cubicBezTo>
                      <a:pt x="495721" y="100302"/>
                      <a:pt x="492783" y="99993"/>
                      <a:pt x="490538" y="101115"/>
                    </a:cubicBezTo>
                    <a:cubicBezTo>
                      <a:pt x="487978" y="102395"/>
                      <a:pt x="485775" y="104290"/>
                      <a:pt x="483394" y="105877"/>
                    </a:cubicBezTo>
                    <a:cubicBezTo>
                      <a:pt x="481806" y="108258"/>
                      <a:pt x="479793" y="110406"/>
                      <a:pt x="478631" y="113021"/>
                    </a:cubicBezTo>
                    <a:cubicBezTo>
                      <a:pt x="474627" y="122031"/>
                      <a:pt x="473727" y="135341"/>
                      <a:pt x="464344" y="141596"/>
                    </a:cubicBezTo>
                    <a:lnTo>
                      <a:pt x="457200" y="146359"/>
                    </a:lnTo>
                    <a:cubicBezTo>
                      <a:pt x="453686" y="151630"/>
                      <a:pt x="450794" y="156979"/>
                      <a:pt x="445294" y="160646"/>
                    </a:cubicBezTo>
                    <a:cubicBezTo>
                      <a:pt x="443205" y="162038"/>
                      <a:pt x="440531" y="162233"/>
                      <a:pt x="438150" y="163027"/>
                    </a:cubicBezTo>
                    <a:cubicBezTo>
                      <a:pt x="435769" y="164615"/>
                      <a:pt x="433030" y="165766"/>
                      <a:pt x="431006" y="167790"/>
                    </a:cubicBezTo>
                    <a:cubicBezTo>
                      <a:pt x="428982" y="169814"/>
                      <a:pt x="428398" y="173049"/>
                      <a:pt x="426244" y="174934"/>
                    </a:cubicBezTo>
                    <a:cubicBezTo>
                      <a:pt x="421936" y="178703"/>
                      <a:pt x="416719" y="181284"/>
                      <a:pt x="411956" y="184459"/>
                    </a:cubicBezTo>
                    <a:lnTo>
                      <a:pt x="404813" y="189221"/>
                    </a:lnTo>
                    <a:cubicBezTo>
                      <a:pt x="400627" y="201774"/>
                      <a:pt x="405196" y="191619"/>
                      <a:pt x="395288" y="203509"/>
                    </a:cubicBezTo>
                    <a:cubicBezTo>
                      <a:pt x="388049" y="212195"/>
                      <a:pt x="393263" y="210110"/>
                      <a:pt x="383381" y="217796"/>
                    </a:cubicBezTo>
                    <a:cubicBezTo>
                      <a:pt x="378863" y="221310"/>
                      <a:pt x="369094" y="227321"/>
                      <a:pt x="369094" y="227321"/>
                    </a:cubicBezTo>
                    <a:lnTo>
                      <a:pt x="364331" y="241609"/>
                    </a:lnTo>
                    <a:cubicBezTo>
                      <a:pt x="363537" y="243990"/>
                      <a:pt x="363725" y="246977"/>
                      <a:pt x="361950" y="248752"/>
                    </a:cubicBezTo>
                    <a:cubicBezTo>
                      <a:pt x="359569" y="251133"/>
                      <a:pt x="356874" y="253238"/>
                      <a:pt x="354806" y="255896"/>
                    </a:cubicBezTo>
                    <a:cubicBezTo>
                      <a:pt x="346929" y="266023"/>
                      <a:pt x="347260" y="270232"/>
                      <a:pt x="338138" y="277327"/>
                    </a:cubicBezTo>
                    <a:cubicBezTo>
                      <a:pt x="333620" y="280841"/>
                      <a:pt x="327897" y="282805"/>
                      <a:pt x="323850" y="286852"/>
                    </a:cubicBezTo>
                    <a:cubicBezTo>
                      <a:pt x="302988" y="307714"/>
                      <a:pt x="329446" y="282190"/>
                      <a:pt x="309563" y="298759"/>
                    </a:cubicBezTo>
                    <a:cubicBezTo>
                      <a:pt x="301346" y="305607"/>
                      <a:pt x="300165" y="311415"/>
                      <a:pt x="288131" y="315427"/>
                    </a:cubicBezTo>
                    <a:cubicBezTo>
                      <a:pt x="283369" y="317015"/>
                      <a:pt x="278505" y="318326"/>
                      <a:pt x="273844" y="320190"/>
                    </a:cubicBezTo>
                    <a:cubicBezTo>
                      <a:pt x="269875" y="321777"/>
                      <a:pt x="266169" y="324348"/>
                      <a:pt x="261938" y="324952"/>
                    </a:cubicBezTo>
                    <a:cubicBezTo>
                      <a:pt x="243797" y="327544"/>
                      <a:pt x="207169" y="329715"/>
                      <a:pt x="207169" y="329715"/>
                    </a:cubicBezTo>
                    <a:cubicBezTo>
                      <a:pt x="163513" y="328921"/>
                      <a:pt x="119488" y="333051"/>
                      <a:pt x="76200" y="327334"/>
                    </a:cubicBezTo>
                    <a:cubicBezTo>
                      <a:pt x="71223" y="326677"/>
                      <a:pt x="79375" y="317809"/>
                      <a:pt x="80963" y="313046"/>
                    </a:cubicBezTo>
                    <a:cubicBezTo>
                      <a:pt x="84377" y="302803"/>
                      <a:pt x="82737" y="308330"/>
                      <a:pt x="85725" y="296377"/>
                    </a:cubicBezTo>
                    <a:cubicBezTo>
                      <a:pt x="84633" y="283275"/>
                      <a:pt x="88189" y="270267"/>
                      <a:pt x="78581" y="260659"/>
                    </a:cubicBezTo>
                    <a:cubicBezTo>
                      <a:pt x="76557" y="258635"/>
                      <a:pt x="73998" y="257176"/>
                      <a:pt x="71438" y="255896"/>
                    </a:cubicBezTo>
                    <a:cubicBezTo>
                      <a:pt x="69193" y="254773"/>
                      <a:pt x="66675" y="254309"/>
                      <a:pt x="64294" y="253515"/>
                    </a:cubicBezTo>
                    <a:cubicBezTo>
                      <a:pt x="59531" y="250340"/>
                      <a:pt x="55436" y="245800"/>
                      <a:pt x="50006" y="243990"/>
                    </a:cubicBezTo>
                    <a:cubicBezTo>
                      <a:pt x="33251" y="238405"/>
                      <a:pt x="53940" y="245675"/>
                      <a:pt x="33338" y="236846"/>
                    </a:cubicBezTo>
                    <a:cubicBezTo>
                      <a:pt x="31031" y="235857"/>
                      <a:pt x="28575" y="235259"/>
                      <a:pt x="26194" y="234465"/>
                    </a:cubicBezTo>
                    <a:cubicBezTo>
                      <a:pt x="21431" y="231290"/>
                      <a:pt x="13716" y="230370"/>
                      <a:pt x="11906" y="224940"/>
                    </a:cubicBezTo>
                    <a:lnTo>
                      <a:pt x="0" y="177315"/>
                    </a:ln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8" name="Freeform 307"/>
              <p:cNvSpPr/>
              <p:nvPr/>
            </p:nvSpPr>
            <p:spPr>
              <a:xfrm>
                <a:off x="3738963" y="2662905"/>
                <a:ext cx="1364456" cy="736540"/>
              </a:xfrm>
              <a:custGeom>
                <a:avLst/>
                <a:gdLst>
                  <a:gd name="connsiteX0" fmla="*/ 188118 w 1364456"/>
                  <a:gd name="connsiteY0" fmla="*/ 734 h 736540"/>
                  <a:gd name="connsiteX1" fmla="*/ 157162 w 1364456"/>
                  <a:gd name="connsiteY1" fmla="*/ 3115 h 736540"/>
                  <a:gd name="connsiteX2" fmla="*/ 150018 w 1364456"/>
                  <a:gd name="connsiteY2" fmla="*/ 7878 h 736540"/>
                  <a:gd name="connsiteX3" fmla="*/ 142875 w 1364456"/>
                  <a:gd name="connsiteY3" fmla="*/ 10259 h 736540"/>
                  <a:gd name="connsiteX4" fmla="*/ 140493 w 1364456"/>
                  <a:gd name="connsiteY4" fmla="*/ 17403 h 736540"/>
                  <a:gd name="connsiteX5" fmla="*/ 123825 w 1364456"/>
                  <a:gd name="connsiteY5" fmla="*/ 38834 h 736540"/>
                  <a:gd name="connsiteX6" fmla="*/ 121443 w 1364456"/>
                  <a:gd name="connsiteY6" fmla="*/ 45978 h 736540"/>
                  <a:gd name="connsiteX7" fmla="*/ 116681 w 1364456"/>
                  <a:gd name="connsiteY7" fmla="*/ 65028 h 736540"/>
                  <a:gd name="connsiteX8" fmla="*/ 104775 w 1364456"/>
                  <a:gd name="connsiteY8" fmla="*/ 79315 h 736540"/>
                  <a:gd name="connsiteX9" fmla="*/ 97631 w 1364456"/>
                  <a:gd name="connsiteY9" fmla="*/ 84078 h 736540"/>
                  <a:gd name="connsiteX10" fmla="*/ 80962 w 1364456"/>
                  <a:gd name="connsiteY10" fmla="*/ 88840 h 736540"/>
                  <a:gd name="connsiteX11" fmla="*/ 76200 w 1364456"/>
                  <a:gd name="connsiteY11" fmla="*/ 95984 h 736540"/>
                  <a:gd name="connsiteX12" fmla="*/ 69056 w 1364456"/>
                  <a:gd name="connsiteY12" fmla="*/ 124559 h 736540"/>
                  <a:gd name="connsiteX13" fmla="*/ 66675 w 1364456"/>
                  <a:gd name="connsiteY13" fmla="*/ 131703 h 736540"/>
                  <a:gd name="connsiteX14" fmla="*/ 64293 w 1364456"/>
                  <a:gd name="connsiteY14" fmla="*/ 141228 h 736540"/>
                  <a:gd name="connsiteX15" fmla="*/ 57150 w 1364456"/>
                  <a:gd name="connsiteY15" fmla="*/ 162659 h 736540"/>
                  <a:gd name="connsiteX16" fmla="*/ 54768 w 1364456"/>
                  <a:gd name="connsiteY16" fmla="*/ 169803 h 736540"/>
                  <a:gd name="connsiteX17" fmla="*/ 52387 w 1364456"/>
                  <a:gd name="connsiteY17" fmla="*/ 184090 h 736540"/>
                  <a:gd name="connsiteX18" fmla="*/ 47625 w 1364456"/>
                  <a:gd name="connsiteY18" fmla="*/ 198378 h 736540"/>
                  <a:gd name="connsiteX19" fmla="*/ 42862 w 1364456"/>
                  <a:gd name="connsiteY19" fmla="*/ 212665 h 736540"/>
                  <a:gd name="connsiteX20" fmla="*/ 40481 w 1364456"/>
                  <a:gd name="connsiteY20" fmla="*/ 219809 h 736540"/>
                  <a:gd name="connsiteX21" fmla="*/ 35718 w 1364456"/>
                  <a:gd name="connsiteY21" fmla="*/ 236478 h 736540"/>
                  <a:gd name="connsiteX22" fmla="*/ 30956 w 1364456"/>
                  <a:gd name="connsiteY22" fmla="*/ 262672 h 736540"/>
                  <a:gd name="connsiteX23" fmla="*/ 26193 w 1364456"/>
                  <a:gd name="connsiteY23" fmla="*/ 269815 h 736540"/>
                  <a:gd name="connsiteX24" fmla="*/ 0 w 1364456"/>
                  <a:gd name="connsiteY24" fmla="*/ 276959 h 736540"/>
                  <a:gd name="connsiteX25" fmla="*/ 14287 w 1364456"/>
                  <a:gd name="connsiteY25" fmla="*/ 281722 h 736540"/>
                  <a:gd name="connsiteX26" fmla="*/ 28575 w 1364456"/>
                  <a:gd name="connsiteY26" fmla="*/ 291247 h 736540"/>
                  <a:gd name="connsiteX27" fmla="*/ 38100 w 1364456"/>
                  <a:gd name="connsiteY27" fmla="*/ 319822 h 736540"/>
                  <a:gd name="connsiteX28" fmla="*/ 42862 w 1364456"/>
                  <a:gd name="connsiteY28" fmla="*/ 334109 h 736540"/>
                  <a:gd name="connsiteX29" fmla="*/ 47625 w 1364456"/>
                  <a:gd name="connsiteY29" fmla="*/ 353159 h 736540"/>
                  <a:gd name="connsiteX30" fmla="*/ 50006 w 1364456"/>
                  <a:gd name="connsiteY30" fmla="*/ 374590 h 736540"/>
                  <a:gd name="connsiteX31" fmla="*/ 52387 w 1364456"/>
                  <a:gd name="connsiteY31" fmla="*/ 391259 h 736540"/>
                  <a:gd name="connsiteX32" fmla="*/ 59531 w 1364456"/>
                  <a:gd name="connsiteY32" fmla="*/ 396022 h 736540"/>
                  <a:gd name="connsiteX33" fmla="*/ 69056 w 1364456"/>
                  <a:gd name="connsiteY33" fmla="*/ 398403 h 736540"/>
                  <a:gd name="connsiteX34" fmla="*/ 76200 w 1364456"/>
                  <a:gd name="connsiteY34" fmla="*/ 400784 h 736540"/>
                  <a:gd name="connsiteX35" fmla="*/ 80962 w 1364456"/>
                  <a:gd name="connsiteY35" fmla="*/ 407928 h 736540"/>
                  <a:gd name="connsiteX36" fmla="*/ 85725 w 1364456"/>
                  <a:gd name="connsiteY36" fmla="*/ 426978 h 736540"/>
                  <a:gd name="connsiteX37" fmla="*/ 90487 w 1364456"/>
                  <a:gd name="connsiteY37" fmla="*/ 434122 h 736540"/>
                  <a:gd name="connsiteX38" fmla="*/ 92868 w 1364456"/>
                  <a:gd name="connsiteY38" fmla="*/ 441265 h 736540"/>
                  <a:gd name="connsiteX39" fmla="*/ 109537 w 1364456"/>
                  <a:gd name="connsiteY39" fmla="*/ 460315 h 736540"/>
                  <a:gd name="connsiteX40" fmla="*/ 116681 w 1364456"/>
                  <a:gd name="connsiteY40" fmla="*/ 507940 h 736540"/>
                  <a:gd name="connsiteX41" fmla="*/ 114300 w 1364456"/>
                  <a:gd name="connsiteY41" fmla="*/ 529372 h 736540"/>
                  <a:gd name="connsiteX42" fmla="*/ 109537 w 1364456"/>
                  <a:gd name="connsiteY42" fmla="*/ 543659 h 736540"/>
                  <a:gd name="connsiteX43" fmla="*/ 88106 w 1364456"/>
                  <a:gd name="connsiteY43" fmla="*/ 555565 h 736540"/>
                  <a:gd name="connsiteX44" fmla="*/ 80962 w 1364456"/>
                  <a:gd name="connsiteY44" fmla="*/ 557947 h 736540"/>
                  <a:gd name="connsiteX45" fmla="*/ 73818 w 1364456"/>
                  <a:gd name="connsiteY45" fmla="*/ 565090 h 736540"/>
                  <a:gd name="connsiteX46" fmla="*/ 73818 w 1364456"/>
                  <a:gd name="connsiteY46" fmla="*/ 586522 h 736540"/>
                  <a:gd name="connsiteX47" fmla="*/ 78581 w 1364456"/>
                  <a:gd name="connsiteY47" fmla="*/ 593665 h 736540"/>
                  <a:gd name="connsiteX48" fmla="*/ 76200 w 1364456"/>
                  <a:gd name="connsiteY48" fmla="*/ 600809 h 736540"/>
                  <a:gd name="connsiteX49" fmla="*/ 85725 w 1364456"/>
                  <a:gd name="connsiteY49" fmla="*/ 603190 h 736540"/>
                  <a:gd name="connsiteX50" fmla="*/ 95250 w 1364456"/>
                  <a:gd name="connsiteY50" fmla="*/ 607953 h 736540"/>
                  <a:gd name="connsiteX51" fmla="*/ 121443 w 1364456"/>
                  <a:gd name="connsiteY51" fmla="*/ 617478 h 736540"/>
                  <a:gd name="connsiteX52" fmla="*/ 128587 w 1364456"/>
                  <a:gd name="connsiteY52" fmla="*/ 619859 h 736540"/>
                  <a:gd name="connsiteX53" fmla="*/ 138112 w 1364456"/>
                  <a:gd name="connsiteY53" fmla="*/ 624622 h 736540"/>
                  <a:gd name="connsiteX54" fmla="*/ 157162 w 1364456"/>
                  <a:gd name="connsiteY54" fmla="*/ 627003 h 736540"/>
                  <a:gd name="connsiteX55" fmla="*/ 173831 w 1364456"/>
                  <a:gd name="connsiteY55" fmla="*/ 631765 h 736540"/>
                  <a:gd name="connsiteX56" fmla="*/ 185737 w 1364456"/>
                  <a:gd name="connsiteY56" fmla="*/ 646053 h 736540"/>
                  <a:gd name="connsiteX57" fmla="*/ 188118 w 1364456"/>
                  <a:gd name="connsiteY57" fmla="*/ 653197 h 736540"/>
                  <a:gd name="connsiteX58" fmla="*/ 185737 w 1364456"/>
                  <a:gd name="connsiteY58" fmla="*/ 660340 h 736540"/>
                  <a:gd name="connsiteX59" fmla="*/ 178593 w 1364456"/>
                  <a:gd name="connsiteY59" fmla="*/ 662722 h 736540"/>
                  <a:gd name="connsiteX60" fmla="*/ 152400 w 1364456"/>
                  <a:gd name="connsiteY60" fmla="*/ 665103 h 736540"/>
                  <a:gd name="connsiteX61" fmla="*/ 130968 w 1364456"/>
                  <a:gd name="connsiteY61" fmla="*/ 672247 h 736540"/>
                  <a:gd name="connsiteX62" fmla="*/ 123825 w 1364456"/>
                  <a:gd name="connsiteY62" fmla="*/ 674628 h 736540"/>
                  <a:gd name="connsiteX63" fmla="*/ 116681 w 1364456"/>
                  <a:gd name="connsiteY63" fmla="*/ 679390 h 736540"/>
                  <a:gd name="connsiteX64" fmla="*/ 119062 w 1364456"/>
                  <a:gd name="connsiteY64" fmla="*/ 693678 h 736540"/>
                  <a:gd name="connsiteX65" fmla="*/ 140493 w 1364456"/>
                  <a:gd name="connsiteY65" fmla="*/ 703203 h 736540"/>
                  <a:gd name="connsiteX66" fmla="*/ 147637 w 1364456"/>
                  <a:gd name="connsiteY66" fmla="*/ 705584 h 736540"/>
                  <a:gd name="connsiteX67" fmla="*/ 154781 w 1364456"/>
                  <a:gd name="connsiteY67" fmla="*/ 707965 h 736540"/>
                  <a:gd name="connsiteX68" fmla="*/ 197643 w 1364456"/>
                  <a:gd name="connsiteY68" fmla="*/ 712728 h 736540"/>
                  <a:gd name="connsiteX69" fmla="*/ 223837 w 1364456"/>
                  <a:gd name="connsiteY69" fmla="*/ 717490 h 736540"/>
                  <a:gd name="connsiteX70" fmla="*/ 245268 w 1364456"/>
                  <a:gd name="connsiteY70" fmla="*/ 729397 h 736540"/>
                  <a:gd name="connsiteX71" fmla="*/ 252412 w 1364456"/>
                  <a:gd name="connsiteY71" fmla="*/ 734159 h 736540"/>
                  <a:gd name="connsiteX72" fmla="*/ 259556 w 1364456"/>
                  <a:gd name="connsiteY72" fmla="*/ 736540 h 736540"/>
                  <a:gd name="connsiteX73" fmla="*/ 271462 w 1364456"/>
                  <a:gd name="connsiteY73" fmla="*/ 710347 h 736540"/>
                  <a:gd name="connsiteX74" fmla="*/ 285750 w 1364456"/>
                  <a:gd name="connsiteY74" fmla="*/ 705584 h 736540"/>
                  <a:gd name="connsiteX75" fmla="*/ 335756 w 1364456"/>
                  <a:gd name="connsiteY75" fmla="*/ 703203 h 736540"/>
                  <a:gd name="connsiteX76" fmla="*/ 338137 w 1364456"/>
                  <a:gd name="connsiteY76" fmla="*/ 696059 h 736540"/>
                  <a:gd name="connsiteX77" fmla="*/ 330993 w 1364456"/>
                  <a:gd name="connsiteY77" fmla="*/ 679390 h 736540"/>
                  <a:gd name="connsiteX78" fmla="*/ 328612 w 1364456"/>
                  <a:gd name="connsiteY78" fmla="*/ 669865 h 736540"/>
                  <a:gd name="connsiteX79" fmla="*/ 330993 w 1364456"/>
                  <a:gd name="connsiteY79" fmla="*/ 641290 h 736540"/>
                  <a:gd name="connsiteX80" fmla="*/ 333375 w 1364456"/>
                  <a:gd name="connsiteY80" fmla="*/ 634147 h 736540"/>
                  <a:gd name="connsiteX81" fmla="*/ 361950 w 1364456"/>
                  <a:gd name="connsiteY81" fmla="*/ 622240 h 736540"/>
                  <a:gd name="connsiteX82" fmla="*/ 373856 w 1364456"/>
                  <a:gd name="connsiteY82" fmla="*/ 619859 h 736540"/>
                  <a:gd name="connsiteX83" fmla="*/ 383381 w 1364456"/>
                  <a:gd name="connsiteY83" fmla="*/ 615097 h 736540"/>
                  <a:gd name="connsiteX84" fmla="*/ 390525 w 1364456"/>
                  <a:gd name="connsiteY84" fmla="*/ 612715 h 736540"/>
                  <a:gd name="connsiteX85" fmla="*/ 397668 w 1364456"/>
                  <a:gd name="connsiteY85" fmla="*/ 605572 h 736540"/>
                  <a:gd name="connsiteX86" fmla="*/ 411956 w 1364456"/>
                  <a:gd name="connsiteY86" fmla="*/ 598428 h 736540"/>
                  <a:gd name="connsiteX87" fmla="*/ 438150 w 1364456"/>
                  <a:gd name="connsiteY87" fmla="*/ 600809 h 736540"/>
                  <a:gd name="connsiteX88" fmla="*/ 454818 w 1364456"/>
                  <a:gd name="connsiteY88" fmla="*/ 610334 h 736540"/>
                  <a:gd name="connsiteX89" fmla="*/ 469106 w 1364456"/>
                  <a:gd name="connsiteY89" fmla="*/ 615097 h 736540"/>
                  <a:gd name="connsiteX90" fmla="*/ 476250 w 1364456"/>
                  <a:gd name="connsiteY90" fmla="*/ 617478 h 736540"/>
                  <a:gd name="connsiteX91" fmla="*/ 490537 w 1364456"/>
                  <a:gd name="connsiteY91" fmla="*/ 627003 h 736540"/>
                  <a:gd name="connsiteX92" fmla="*/ 504825 w 1364456"/>
                  <a:gd name="connsiteY92" fmla="*/ 634147 h 736540"/>
                  <a:gd name="connsiteX93" fmla="*/ 540543 w 1364456"/>
                  <a:gd name="connsiteY93" fmla="*/ 629384 h 736540"/>
                  <a:gd name="connsiteX94" fmla="*/ 554831 w 1364456"/>
                  <a:gd name="connsiteY94" fmla="*/ 619859 h 736540"/>
                  <a:gd name="connsiteX95" fmla="*/ 569118 w 1364456"/>
                  <a:gd name="connsiteY95" fmla="*/ 612715 h 736540"/>
                  <a:gd name="connsiteX96" fmla="*/ 583406 w 1364456"/>
                  <a:gd name="connsiteY96" fmla="*/ 603190 h 736540"/>
                  <a:gd name="connsiteX97" fmla="*/ 588168 w 1364456"/>
                  <a:gd name="connsiteY97" fmla="*/ 596047 h 736540"/>
                  <a:gd name="connsiteX98" fmla="*/ 590550 w 1364456"/>
                  <a:gd name="connsiteY98" fmla="*/ 588903 h 736540"/>
                  <a:gd name="connsiteX99" fmla="*/ 597693 w 1364456"/>
                  <a:gd name="connsiteY99" fmla="*/ 581759 h 736540"/>
                  <a:gd name="connsiteX100" fmla="*/ 600075 w 1364456"/>
                  <a:gd name="connsiteY100" fmla="*/ 572234 h 736540"/>
                  <a:gd name="connsiteX101" fmla="*/ 621506 w 1364456"/>
                  <a:gd name="connsiteY101" fmla="*/ 560328 h 736540"/>
                  <a:gd name="connsiteX102" fmla="*/ 633412 w 1364456"/>
                  <a:gd name="connsiteY102" fmla="*/ 562709 h 736540"/>
                  <a:gd name="connsiteX103" fmla="*/ 647700 w 1364456"/>
                  <a:gd name="connsiteY103" fmla="*/ 572234 h 736540"/>
                  <a:gd name="connsiteX104" fmla="*/ 652462 w 1364456"/>
                  <a:gd name="connsiteY104" fmla="*/ 579378 h 736540"/>
                  <a:gd name="connsiteX105" fmla="*/ 659606 w 1364456"/>
                  <a:gd name="connsiteY105" fmla="*/ 586522 h 736540"/>
                  <a:gd name="connsiteX106" fmla="*/ 673893 w 1364456"/>
                  <a:gd name="connsiteY106" fmla="*/ 615097 h 736540"/>
                  <a:gd name="connsiteX107" fmla="*/ 683418 w 1364456"/>
                  <a:gd name="connsiteY107" fmla="*/ 622240 h 736540"/>
                  <a:gd name="connsiteX108" fmla="*/ 697706 w 1364456"/>
                  <a:gd name="connsiteY108" fmla="*/ 631765 h 736540"/>
                  <a:gd name="connsiteX109" fmla="*/ 707231 w 1364456"/>
                  <a:gd name="connsiteY109" fmla="*/ 638909 h 736540"/>
                  <a:gd name="connsiteX110" fmla="*/ 721518 w 1364456"/>
                  <a:gd name="connsiteY110" fmla="*/ 643672 h 736540"/>
                  <a:gd name="connsiteX111" fmla="*/ 745331 w 1364456"/>
                  <a:gd name="connsiteY111" fmla="*/ 650815 h 736540"/>
                  <a:gd name="connsiteX112" fmla="*/ 754856 w 1364456"/>
                  <a:gd name="connsiteY112" fmla="*/ 653197 h 736540"/>
                  <a:gd name="connsiteX113" fmla="*/ 773906 w 1364456"/>
                  <a:gd name="connsiteY113" fmla="*/ 660340 h 736540"/>
                  <a:gd name="connsiteX114" fmla="*/ 781050 w 1364456"/>
                  <a:gd name="connsiteY114" fmla="*/ 662722 h 736540"/>
                  <a:gd name="connsiteX115" fmla="*/ 821531 w 1364456"/>
                  <a:gd name="connsiteY115" fmla="*/ 669865 h 736540"/>
                  <a:gd name="connsiteX116" fmla="*/ 854868 w 1364456"/>
                  <a:gd name="connsiteY116" fmla="*/ 667484 h 736540"/>
                  <a:gd name="connsiteX117" fmla="*/ 938212 w 1364456"/>
                  <a:gd name="connsiteY117" fmla="*/ 662722 h 736540"/>
                  <a:gd name="connsiteX118" fmla="*/ 952500 w 1364456"/>
                  <a:gd name="connsiteY118" fmla="*/ 655578 h 736540"/>
                  <a:gd name="connsiteX119" fmla="*/ 976312 w 1364456"/>
                  <a:gd name="connsiteY119" fmla="*/ 643672 h 736540"/>
                  <a:gd name="connsiteX120" fmla="*/ 985837 w 1364456"/>
                  <a:gd name="connsiteY120" fmla="*/ 638909 h 736540"/>
                  <a:gd name="connsiteX121" fmla="*/ 992981 w 1364456"/>
                  <a:gd name="connsiteY121" fmla="*/ 636528 h 736540"/>
                  <a:gd name="connsiteX122" fmla="*/ 1023937 w 1364456"/>
                  <a:gd name="connsiteY122" fmla="*/ 629384 h 736540"/>
                  <a:gd name="connsiteX123" fmla="*/ 1040606 w 1364456"/>
                  <a:gd name="connsiteY123" fmla="*/ 627003 h 736540"/>
                  <a:gd name="connsiteX124" fmla="*/ 1047750 w 1364456"/>
                  <a:gd name="connsiteY124" fmla="*/ 624622 h 736540"/>
                  <a:gd name="connsiteX125" fmla="*/ 1062037 w 1364456"/>
                  <a:gd name="connsiteY125" fmla="*/ 617478 h 736540"/>
                  <a:gd name="connsiteX126" fmla="*/ 1081087 w 1364456"/>
                  <a:gd name="connsiteY126" fmla="*/ 612715 h 736540"/>
                  <a:gd name="connsiteX127" fmla="*/ 1102518 w 1364456"/>
                  <a:gd name="connsiteY127" fmla="*/ 607953 h 736540"/>
                  <a:gd name="connsiteX128" fmla="*/ 1114425 w 1364456"/>
                  <a:gd name="connsiteY128" fmla="*/ 605572 h 736540"/>
                  <a:gd name="connsiteX129" fmla="*/ 1131093 w 1364456"/>
                  <a:gd name="connsiteY129" fmla="*/ 598428 h 736540"/>
                  <a:gd name="connsiteX130" fmla="*/ 1140618 w 1364456"/>
                  <a:gd name="connsiteY130" fmla="*/ 572234 h 736540"/>
                  <a:gd name="connsiteX131" fmla="*/ 1143000 w 1364456"/>
                  <a:gd name="connsiteY131" fmla="*/ 550803 h 736540"/>
                  <a:gd name="connsiteX132" fmla="*/ 1150143 w 1364456"/>
                  <a:gd name="connsiteY132" fmla="*/ 546040 h 736540"/>
                  <a:gd name="connsiteX133" fmla="*/ 1166812 w 1364456"/>
                  <a:gd name="connsiteY133" fmla="*/ 541278 h 736540"/>
                  <a:gd name="connsiteX134" fmla="*/ 1171575 w 1364456"/>
                  <a:gd name="connsiteY134" fmla="*/ 534134 h 736540"/>
                  <a:gd name="connsiteX135" fmla="*/ 1173956 w 1364456"/>
                  <a:gd name="connsiteY135" fmla="*/ 526990 h 736540"/>
                  <a:gd name="connsiteX136" fmla="*/ 1178718 w 1364456"/>
                  <a:gd name="connsiteY136" fmla="*/ 515084 h 736540"/>
                  <a:gd name="connsiteX137" fmla="*/ 1183481 w 1364456"/>
                  <a:gd name="connsiteY137" fmla="*/ 498415 h 736540"/>
                  <a:gd name="connsiteX138" fmla="*/ 1181100 w 1364456"/>
                  <a:gd name="connsiteY138" fmla="*/ 476984 h 736540"/>
                  <a:gd name="connsiteX139" fmla="*/ 1178718 w 1364456"/>
                  <a:gd name="connsiteY139" fmla="*/ 469840 h 736540"/>
                  <a:gd name="connsiteX140" fmla="*/ 1181100 w 1364456"/>
                  <a:gd name="connsiteY140" fmla="*/ 436503 h 736540"/>
                  <a:gd name="connsiteX141" fmla="*/ 1195387 w 1364456"/>
                  <a:gd name="connsiteY141" fmla="*/ 419834 h 736540"/>
                  <a:gd name="connsiteX142" fmla="*/ 1202531 w 1364456"/>
                  <a:gd name="connsiteY142" fmla="*/ 403165 h 736540"/>
                  <a:gd name="connsiteX143" fmla="*/ 1212056 w 1364456"/>
                  <a:gd name="connsiteY143" fmla="*/ 388878 h 736540"/>
                  <a:gd name="connsiteX144" fmla="*/ 1228725 w 1364456"/>
                  <a:gd name="connsiteY144" fmla="*/ 362684 h 736540"/>
                  <a:gd name="connsiteX145" fmla="*/ 1233487 w 1364456"/>
                  <a:gd name="connsiteY145" fmla="*/ 355540 h 736540"/>
                  <a:gd name="connsiteX146" fmla="*/ 1245393 w 1364456"/>
                  <a:gd name="connsiteY146" fmla="*/ 346015 h 736540"/>
                  <a:gd name="connsiteX147" fmla="*/ 1252537 w 1364456"/>
                  <a:gd name="connsiteY147" fmla="*/ 343634 h 736540"/>
                  <a:gd name="connsiteX148" fmla="*/ 1273968 w 1364456"/>
                  <a:gd name="connsiteY148" fmla="*/ 336490 h 736540"/>
                  <a:gd name="connsiteX149" fmla="*/ 1283493 w 1364456"/>
                  <a:gd name="connsiteY149" fmla="*/ 331728 h 736540"/>
                  <a:gd name="connsiteX150" fmla="*/ 1293018 w 1364456"/>
                  <a:gd name="connsiteY150" fmla="*/ 317440 h 736540"/>
                  <a:gd name="connsiteX151" fmla="*/ 1288256 w 1364456"/>
                  <a:gd name="connsiteY151" fmla="*/ 288865 h 736540"/>
                  <a:gd name="connsiteX152" fmla="*/ 1285875 w 1364456"/>
                  <a:gd name="connsiteY152" fmla="*/ 279340 h 736540"/>
                  <a:gd name="connsiteX153" fmla="*/ 1278731 w 1364456"/>
                  <a:gd name="connsiteY153" fmla="*/ 272197 h 736540"/>
                  <a:gd name="connsiteX154" fmla="*/ 1283493 w 1364456"/>
                  <a:gd name="connsiteY154" fmla="*/ 226953 h 736540"/>
                  <a:gd name="connsiteX155" fmla="*/ 1288256 w 1364456"/>
                  <a:gd name="connsiteY155" fmla="*/ 219809 h 736540"/>
                  <a:gd name="connsiteX156" fmla="*/ 1316831 w 1364456"/>
                  <a:gd name="connsiteY156" fmla="*/ 195997 h 736540"/>
                  <a:gd name="connsiteX157" fmla="*/ 1323975 w 1364456"/>
                  <a:gd name="connsiteY157" fmla="*/ 191234 h 736540"/>
                  <a:gd name="connsiteX158" fmla="*/ 1331118 w 1364456"/>
                  <a:gd name="connsiteY158" fmla="*/ 186472 h 736540"/>
                  <a:gd name="connsiteX159" fmla="*/ 1345406 w 1364456"/>
                  <a:gd name="connsiteY159" fmla="*/ 174565 h 736540"/>
                  <a:gd name="connsiteX160" fmla="*/ 1347787 w 1364456"/>
                  <a:gd name="connsiteY160" fmla="*/ 167422 h 736540"/>
                  <a:gd name="connsiteX161" fmla="*/ 1357312 w 1364456"/>
                  <a:gd name="connsiteY161" fmla="*/ 153134 h 736540"/>
                  <a:gd name="connsiteX162" fmla="*/ 1362075 w 1364456"/>
                  <a:gd name="connsiteY162" fmla="*/ 138847 h 736540"/>
                  <a:gd name="connsiteX163" fmla="*/ 1364456 w 1364456"/>
                  <a:gd name="connsiteY163" fmla="*/ 131703 h 736540"/>
                  <a:gd name="connsiteX164" fmla="*/ 1357312 w 1364456"/>
                  <a:gd name="connsiteY164" fmla="*/ 126940 h 736540"/>
                  <a:gd name="connsiteX165" fmla="*/ 1288256 w 1364456"/>
                  <a:gd name="connsiteY165" fmla="*/ 134084 h 736540"/>
                  <a:gd name="connsiteX166" fmla="*/ 1269206 w 1364456"/>
                  <a:gd name="connsiteY166" fmla="*/ 143609 h 736540"/>
                  <a:gd name="connsiteX167" fmla="*/ 1252537 w 1364456"/>
                  <a:gd name="connsiteY167" fmla="*/ 148372 h 736540"/>
                  <a:gd name="connsiteX168" fmla="*/ 1245393 w 1364456"/>
                  <a:gd name="connsiteY168" fmla="*/ 150753 h 736540"/>
                  <a:gd name="connsiteX169" fmla="*/ 1228725 w 1364456"/>
                  <a:gd name="connsiteY169" fmla="*/ 155515 h 736540"/>
                  <a:gd name="connsiteX170" fmla="*/ 1223962 w 1364456"/>
                  <a:gd name="connsiteY170" fmla="*/ 162659 h 736540"/>
                  <a:gd name="connsiteX171" fmla="*/ 1209675 w 1364456"/>
                  <a:gd name="connsiteY171" fmla="*/ 167422 h 736540"/>
                  <a:gd name="connsiteX172" fmla="*/ 1200150 w 1364456"/>
                  <a:gd name="connsiteY172" fmla="*/ 165040 h 736540"/>
                  <a:gd name="connsiteX173" fmla="*/ 1185862 w 1364456"/>
                  <a:gd name="connsiteY173" fmla="*/ 150753 h 736540"/>
                  <a:gd name="connsiteX174" fmla="*/ 1088231 w 1364456"/>
                  <a:gd name="connsiteY174" fmla="*/ 143609 h 736540"/>
                  <a:gd name="connsiteX175" fmla="*/ 1085850 w 1364456"/>
                  <a:gd name="connsiteY175" fmla="*/ 134084 h 736540"/>
                  <a:gd name="connsiteX176" fmla="*/ 1071562 w 1364456"/>
                  <a:gd name="connsiteY176" fmla="*/ 117415 h 736540"/>
                  <a:gd name="connsiteX177" fmla="*/ 1064418 w 1364456"/>
                  <a:gd name="connsiteY177" fmla="*/ 115034 h 736540"/>
                  <a:gd name="connsiteX178" fmla="*/ 1052512 w 1364456"/>
                  <a:gd name="connsiteY178" fmla="*/ 107890 h 736540"/>
                  <a:gd name="connsiteX179" fmla="*/ 1045368 w 1364456"/>
                  <a:gd name="connsiteY179" fmla="*/ 105509 h 736540"/>
                  <a:gd name="connsiteX180" fmla="*/ 1009650 w 1364456"/>
                  <a:gd name="connsiteY180" fmla="*/ 100747 h 736540"/>
                  <a:gd name="connsiteX181" fmla="*/ 997743 w 1364456"/>
                  <a:gd name="connsiteY181" fmla="*/ 98365 h 736540"/>
                  <a:gd name="connsiteX182" fmla="*/ 883443 w 1364456"/>
                  <a:gd name="connsiteY182" fmla="*/ 100747 h 736540"/>
                  <a:gd name="connsiteX183" fmla="*/ 873918 w 1364456"/>
                  <a:gd name="connsiteY183" fmla="*/ 107890 h 736540"/>
                  <a:gd name="connsiteX184" fmla="*/ 862012 w 1364456"/>
                  <a:gd name="connsiteY184" fmla="*/ 124559 h 736540"/>
                  <a:gd name="connsiteX185" fmla="*/ 857250 w 1364456"/>
                  <a:gd name="connsiteY185" fmla="*/ 134084 h 736540"/>
                  <a:gd name="connsiteX186" fmla="*/ 847725 w 1364456"/>
                  <a:gd name="connsiteY186" fmla="*/ 143609 h 736540"/>
                  <a:gd name="connsiteX187" fmla="*/ 828675 w 1364456"/>
                  <a:gd name="connsiteY187" fmla="*/ 157897 h 736540"/>
                  <a:gd name="connsiteX188" fmla="*/ 823912 w 1364456"/>
                  <a:gd name="connsiteY188" fmla="*/ 165040 h 736540"/>
                  <a:gd name="connsiteX189" fmla="*/ 816768 w 1364456"/>
                  <a:gd name="connsiteY189" fmla="*/ 181709 h 736540"/>
                  <a:gd name="connsiteX190" fmla="*/ 807243 w 1364456"/>
                  <a:gd name="connsiteY190" fmla="*/ 195997 h 736540"/>
                  <a:gd name="connsiteX191" fmla="*/ 802481 w 1364456"/>
                  <a:gd name="connsiteY191" fmla="*/ 203140 h 736540"/>
                  <a:gd name="connsiteX192" fmla="*/ 795337 w 1364456"/>
                  <a:gd name="connsiteY192" fmla="*/ 207903 h 736540"/>
                  <a:gd name="connsiteX193" fmla="*/ 778668 w 1364456"/>
                  <a:gd name="connsiteY193" fmla="*/ 212665 h 736540"/>
                  <a:gd name="connsiteX194" fmla="*/ 776287 w 1364456"/>
                  <a:gd name="connsiteY194" fmla="*/ 226953 h 736540"/>
                  <a:gd name="connsiteX195" fmla="*/ 759618 w 1364456"/>
                  <a:gd name="connsiteY195" fmla="*/ 229334 h 736540"/>
                  <a:gd name="connsiteX196" fmla="*/ 750093 w 1364456"/>
                  <a:gd name="connsiteY196" fmla="*/ 234097 h 736540"/>
                  <a:gd name="connsiteX197" fmla="*/ 731043 w 1364456"/>
                  <a:gd name="connsiteY197" fmla="*/ 236478 h 736540"/>
                  <a:gd name="connsiteX198" fmla="*/ 721518 w 1364456"/>
                  <a:gd name="connsiteY198" fmla="*/ 238859 h 736540"/>
                  <a:gd name="connsiteX199" fmla="*/ 707231 w 1364456"/>
                  <a:gd name="connsiteY199" fmla="*/ 243622 h 736540"/>
                  <a:gd name="connsiteX200" fmla="*/ 692943 w 1364456"/>
                  <a:gd name="connsiteY200" fmla="*/ 246003 h 736540"/>
                  <a:gd name="connsiteX201" fmla="*/ 661987 w 1364456"/>
                  <a:gd name="connsiteY201" fmla="*/ 243622 h 736540"/>
                  <a:gd name="connsiteX202" fmla="*/ 645318 w 1364456"/>
                  <a:gd name="connsiteY202" fmla="*/ 236478 h 736540"/>
                  <a:gd name="connsiteX203" fmla="*/ 633412 w 1364456"/>
                  <a:gd name="connsiteY203" fmla="*/ 234097 h 736540"/>
                  <a:gd name="connsiteX204" fmla="*/ 609600 w 1364456"/>
                  <a:gd name="connsiteY204" fmla="*/ 224572 h 736540"/>
                  <a:gd name="connsiteX205" fmla="*/ 602456 w 1364456"/>
                  <a:gd name="connsiteY205" fmla="*/ 222190 h 736540"/>
                  <a:gd name="connsiteX206" fmla="*/ 521493 w 1364456"/>
                  <a:gd name="connsiteY206" fmla="*/ 224572 h 736540"/>
                  <a:gd name="connsiteX207" fmla="*/ 500062 w 1364456"/>
                  <a:gd name="connsiteY207" fmla="*/ 234097 h 736540"/>
                  <a:gd name="connsiteX208" fmla="*/ 478631 w 1364456"/>
                  <a:gd name="connsiteY208" fmla="*/ 246003 h 736540"/>
                  <a:gd name="connsiteX209" fmla="*/ 459581 w 1364456"/>
                  <a:gd name="connsiteY209" fmla="*/ 255528 h 736540"/>
                  <a:gd name="connsiteX210" fmla="*/ 431006 w 1364456"/>
                  <a:gd name="connsiteY210" fmla="*/ 253147 h 736540"/>
                  <a:gd name="connsiteX211" fmla="*/ 421481 w 1364456"/>
                  <a:gd name="connsiteY211" fmla="*/ 250765 h 736540"/>
                  <a:gd name="connsiteX212" fmla="*/ 395287 w 1364456"/>
                  <a:gd name="connsiteY212" fmla="*/ 246003 h 736540"/>
                  <a:gd name="connsiteX213" fmla="*/ 385762 w 1364456"/>
                  <a:gd name="connsiteY213" fmla="*/ 241240 h 736540"/>
                  <a:gd name="connsiteX214" fmla="*/ 364331 w 1364456"/>
                  <a:gd name="connsiteY214" fmla="*/ 234097 h 736540"/>
                  <a:gd name="connsiteX215" fmla="*/ 359568 w 1364456"/>
                  <a:gd name="connsiteY215" fmla="*/ 226953 h 736540"/>
                  <a:gd name="connsiteX216" fmla="*/ 357187 w 1364456"/>
                  <a:gd name="connsiteY216" fmla="*/ 198378 h 736540"/>
                  <a:gd name="connsiteX217" fmla="*/ 333375 w 1364456"/>
                  <a:gd name="connsiteY217" fmla="*/ 186472 h 736540"/>
                  <a:gd name="connsiteX218" fmla="*/ 319087 w 1364456"/>
                  <a:gd name="connsiteY218" fmla="*/ 181709 h 736540"/>
                  <a:gd name="connsiteX219" fmla="*/ 311943 w 1364456"/>
                  <a:gd name="connsiteY219" fmla="*/ 174565 h 736540"/>
                  <a:gd name="connsiteX220" fmla="*/ 302418 w 1364456"/>
                  <a:gd name="connsiteY220" fmla="*/ 150753 h 736540"/>
                  <a:gd name="connsiteX221" fmla="*/ 297656 w 1364456"/>
                  <a:gd name="connsiteY221" fmla="*/ 134084 h 736540"/>
                  <a:gd name="connsiteX222" fmla="*/ 290512 w 1364456"/>
                  <a:gd name="connsiteY222" fmla="*/ 129322 h 736540"/>
                  <a:gd name="connsiteX223" fmla="*/ 273843 w 1364456"/>
                  <a:gd name="connsiteY223" fmla="*/ 122178 h 736540"/>
                  <a:gd name="connsiteX224" fmla="*/ 261937 w 1364456"/>
                  <a:gd name="connsiteY224" fmla="*/ 119797 h 736540"/>
                  <a:gd name="connsiteX225" fmla="*/ 254793 w 1364456"/>
                  <a:gd name="connsiteY225" fmla="*/ 115034 h 736540"/>
                  <a:gd name="connsiteX226" fmla="*/ 230981 w 1364456"/>
                  <a:gd name="connsiteY226" fmla="*/ 110272 h 736540"/>
                  <a:gd name="connsiteX227" fmla="*/ 223837 w 1364456"/>
                  <a:gd name="connsiteY227" fmla="*/ 107890 h 736540"/>
                  <a:gd name="connsiteX228" fmla="*/ 223837 w 1364456"/>
                  <a:gd name="connsiteY228" fmla="*/ 88840 h 736540"/>
                  <a:gd name="connsiteX229" fmla="*/ 221456 w 1364456"/>
                  <a:gd name="connsiteY229" fmla="*/ 53122 h 736540"/>
                  <a:gd name="connsiteX230" fmla="*/ 216693 w 1364456"/>
                  <a:gd name="connsiteY230" fmla="*/ 38834 h 736540"/>
                  <a:gd name="connsiteX231" fmla="*/ 209550 w 1364456"/>
                  <a:gd name="connsiteY231" fmla="*/ 24547 h 736540"/>
                  <a:gd name="connsiteX232" fmla="*/ 207168 w 1364456"/>
                  <a:gd name="connsiteY232" fmla="*/ 15022 h 736540"/>
                  <a:gd name="connsiteX233" fmla="*/ 188118 w 1364456"/>
                  <a:gd name="connsiteY233" fmla="*/ 734 h 73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364456" h="736540">
                    <a:moveTo>
                      <a:pt x="188118" y="734"/>
                    </a:moveTo>
                    <a:cubicBezTo>
                      <a:pt x="179784" y="-1250"/>
                      <a:pt x="167334" y="1208"/>
                      <a:pt x="157162" y="3115"/>
                    </a:cubicBezTo>
                    <a:cubicBezTo>
                      <a:pt x="154349" y="3642"/>
                      <a:pt x="152578" y="6598"/>
                      <a:pt x="150018" y="7878"/>
                    </a:cubicBezTo>
                    <a:cubicBezTo>
                      <a:pt x="147773" y="9000"/>
                      <a:pt x="145256" y="9465"/>
                      <a:pt x="142875" y="10259"/>
                    </a:cubicBezTo>
                    <a:cubicBezTo>
                      <a:pt x="142081" y="12640"/>
                      <a:pt x="141885" y="15314"/>
                      <a:pt x="140493" y="17403"/>
                    </a:cubicBezTo>
                    <a:cubicBezTo>
                      <a:pt x="132275" y="29731"/>
                      <a:pt x="130167" y="19814"/>
                      <a:pt x="123825" y="38834"/>
                    </a:cubicBezTo>
                    <a:cubicBezTo>
                      <a:pt x="123031" y="41215"/>
                      <a:pt x="122052" y="43543"/>
                      <a:pt x="121443" y="45978"/>
                    </a:cubicBezTo>
                    <a:cubicBezTo>
                      <a:pt x="120085" y="51411"/>
                      <a:pt x="119402" y="59586"/>
                      <a:pt x="116681" y="65028"/>
                    </a:cubicBezTo>
                    <a:cubicBezTo>
                      <a:pt x="114006" y="70379"/>
                      <a:pt x="109288" y="75554"/>
                      <a:pt x="104775" y="79315"/>
                    </a:cubicBezTo>
                    <a:cubicBezTo>
                      <a:pt x="102576" y="81147"/>
                      <a:pt x="100191" y="82798"/>
                      <a:pt x="97631" y="84078"/>
                    </a:cubicBezTo>
                    <a:cubicBezTo>
                      <a:pt x="94216" y="85786"/>
                      <a:pt x="84012" y="88077"/>
                      <a:pt x="80962" y="88840"/>
                    </a:cubicBezTo>
                    <a:cubicBezTo>
                      <a:pt x="79375" y="91221"/>
                      <a:pt x="77362" y="93369"/>
                      <a:pt x="76200" y="95984"/>
                    </a:cubicBezTo>
                    <a:cubicBezTo>
                      <a:pt x="69783" y="110422"/>
                      <a:pt x="72384" y="109580"/>
                      <a:pt x="69056" y="124559"/>
                    </a:cubicBezTo>
                    <a:cubicBezTo>
                      <a:pt x="68512" y="127009"/>
                      <a:pt x="67365" y="129289"/>
                      <a:pt x="66675" y="131703"/>
                    </a:cubicBezTo>
                    <a:cubicBezTo>
                      <a:pt x="65776" y="134850"/>
                      <a:pt x="65233" y="138093"/>
                      <a:pt x="64293" y="141228"/>
                    </a:cubicBezTo>
                    <a:cubicBezTo>
                      <a:pt x="62129" y="148440"/>
                      <a:pt x="59531" y="155515"/>
                      <a:pt x="57150" y="162659"/>
                    </a:cubicBezTo>
                    <a:lnTo>
                      <a:pt x="54768" y="169803"/>
                    </a:lnTo>
                    <a:cubicBezTo>
                      <a:pt x="53974" y="174565"/>
                      <a:pt x="53558" y="179406"/>
                      <a:pt x="52387" y="184090"/>
                    </a:cubicBezTo>
                    <a:cubicBezTo>
                      <a:pt x="51170" y="188960"/>
                      <a:pt x="49213" y="193615"/>
                      <a:pt x="47625" y="198378"/>
                    </a:cubicBezTo>
                    <a:lnTo>
                      <a:pt x="42862" y="212665"/>
                    </a:lnTo>
                    <a:cubicBezTo>
                      <a:pt x="42068" y="215046"/>
                      <a:pt x="41090" y="217374"/>
                      <a:pt x="40481" y="219809"/>
                    </a:cubicBezTo>
                    <a:cubicBezTo>
                      <a:pt x="37491" y="231769"/>
                      <a:pt x="39135" y="226229"/>
                      <a:pt x="35718" y="236478"/>
                    </a:cubicBezTo>
                    <a:cubicBezTo>
                      <a:pt x="35451" y="238081"/>
                      <a:pt x="31954" y="260011"/>
                      <a:pt x="30956" y="262672"/>
                    </a:cubicBezTo>
                    <a:cubicBezTo>
                      <a:pt x="29951" y="265352"/>
                      <a:pt x="28620" y="268298"/>
                      <a:pt x="26193" y="269815"/>
                    </a:cubicBezTo>
                    <a:cubicBezTo>
                      <a:pt x="20504" y="273371"/>
                      <a:pt x="6801" y="275599"/>
                      <a:pt x="0" y="276959"/>
                    </a:cubicBezTo>
                    <a:cubicBezTo>
                      <a:pt x="4762" y="278547"/>
                      <a:pt x="10110" y="278937"/>
                      <a:pt x="14287" y="281722"/>
                    </a:cubicBezTo>
                    <a:lnTo>
                      <a:pt x="28575" y="291247"/>
                    </a:lnTo>
                    <a:lnTo>
                      <a:pt x="38100" y="319822"/>
                    </a:lnTo>
                    <a:cubicBezTo>
                      <a:pt x="38101" y="319826"/>
                      <a:pt x="42861" y="334106"/>
                      <a:pt x="42862" y="334109"/>
                    </a:cubicBezTo>
                    <a:cubicBezTo>
                      <a:pt x="45735" y="348476"/>
                      <a:pt x="43963" y="342176"/>
                      <a:pt x="47625" y="353159"/>
                    </a:cubicBezTo>
                    <a:cubicBezTo>
                      <a:pt x="48419" y="360303"/>
                      <a:pt x="49115" y="367458"/>
                      <a:pt x="50006" y="374590"/>
                    </a:cubicBezTo>
                    <a:cubicBezTo>
                      <a:pt x="50702" y="380159"/>
                      <a:pt x="50108" y="386130"/>
                      <a:pt x="52387" y="391259"/>
                    </a:cubicBezTo>
                    <a:cubicBezTo>
                      <a:pt x="53549" y="393874"/>
                      <a:pt x="56900" y="394895"/>
                      <a:pt x="59531" y="396022"/>
                    </a:cubicBezTo>
                    <a:cubicBezTo>
                      <a:pt x="62539" y="397311"/>
                      <a:pt x="65909" y="397504"/>
                      <a:pt x="69056" y="398403"/>
                    </a:cubicBezTo>
                    <a:cubicBezTo>
                      <a:pt x="71470" y="399093"/>
                      <a:pt x="73819" y="399990"/>
                      <a:pt x="76200" y="400784"/>
                    </a:cubicBezTo>
                    <a:cubicBezTo>
                      <a:pt x="77787" y="403165"/>
                      <a:pt x="79957" y="405248"/>
                      <a:pt x="80962" y="407928"/>
                    </a:cubicBezTo>
                    <a:cubicBezTo>
                      <a:pt x="85042" y="418810"/>
                      <a:pt x="81314" y="418156"/>
                      <a:pt x="85725" y="426978"/>
                    </a:cubicBezTo>
                    <a:cubicBezTo>
                      <a:pt x="87005" y="429538"/>
                      <a:pt x="89207" y="431562"/>
                      <a:pt x="90487" y="434122"/>
                    </a:cubicBezTo>
                    <a:cubicBezTo>
                      <a:pt x="91609" y="436367"/>
                      <a:pt x="91649" y="439071"/>
                      <a:pt x="92868" y="441265"/>
                    </a:cubicBezTo>
                    <a:cubicBezTo>
                      <a:pt x="101040" y="455974"/>
                      <a:pt x="99101" y="453358"/>
                      <a:pt x="109537" y="460315"/>
                    </a:cubicBezTo>
                    <a:cubicBezTo>
                      <a:pt x="121259" y="477896"/>
                      <a:pt x="116681" y="468425"/>
                      <a:pt x="116681" y="507940"/>
                    </a:cubicBezTo>
                    <a:cubicBezTo>
                      <a:pt x="116681" y="515128"/>
                      <a:pt x="115710" y="522324"/>
                      <a:pt x="114300" y="529372"/>
                    </a:cubicBezTo>
                    <a:cubicBezTo>
                      <a:pt x="113315" y="534295"/>
                      <a:pt x="113087" y="540109"/>
                      <a:pt x="109537" y="543659"/>
                    </a:cubicBezTo>
                    <a:cubicBezTo>
                      <a:pt x="98843" y="554353"/>
                      <a:pt x="105589" y="549737"/>
                      <a:pt x="88106" y="555565"/>
                    </a:cubicBezTo>
                    <a:lnTo>
                      <a:pt x="80962" y="557947"/>
                    </a:lnTo>
                    <a:cubicBezTo>
                      <a:pt x="78581" y="560328"/>
                      <a:pt x="75686" y="562288"/>
                      <a:pt x="73818" y="565090"/>
                    </a:cubicBezTo>
                    <a:cubicBezTo>
                      <a:pt x="69576" y="571453"/>
                      <a:pt x="71668" y="580072"/>
                      <a:pt x="73818" y="586522"/>
                    </a:cubicBezTo>
                    <a:cubicBezTo>
                      <a:pt x="74723" y="589237"/>
                      <a:pt x="76993" y="591284"/>
                      <a:pt x="78581" y="593665"/>
                    </a:cubicBezTo>
                    <a:cubicBezTo>
                      <a:pt x="77787" y="596046"/>
                      <a:pt x="74694" y="598801"/>
                      <a:pt x="76200" y="600809"/>
                    </a:cubicBezTo>
                    <a:cubicBezTo>
                      <a:pt x="78164" y="603427"/>
                      <a:pt x="82661" y="602041"/>
                      <a:pt x="85725" y="603190"/>
                    </a:cubicBezTo>
                    <a:cubicBezTo>
                      <a:pt x="89049" y="604436"/>
                      <a:pt x="92006" y="606511"/>
                      <a:pt x="95250" y="607953"/>
                    </a:cubicBezTo>
                    <a:cubicBezTo>
                      <a:pt x="105179" y="612366"/>
                      <a:pt x="110897" y="613962"/>
                      <a:pt x="121443" y="617478"/>
                    </a:cubicBezTo>
                    <a:cubicBezTo>
                      <a:pt x="123824" y="618272"/>
                      <a:pt x="126342" y="618736"/>
                      <a:pt x="128587" y="619859"/>
                    </a:cubicBezTo>
                    <a:cubicBezTo>
                      <a:pt x="131762" y="621447"/>
                      <a:pt x="134668" y="623761"/>
                      <a:pt x="138112" y="624622"/>
                    </a:cubicBezTo>
                    <a:cubicBezTo>
                      <a:pt x="144320" y="626174"/>
                      <a:pt x="150850" y="625951"/>
                      <a:pt x="157162" y="627003"/>
                    </a:cubicBezTo>
                    <a:cubicBezTo>
                      <a:pt x="163142" y="628000"/>
                      <a:pt x="168169" y="629878"/>
                      <a:pt x="173831" y="631765"/>
                    </a:cubicBezTo>
                    <a:cubicBezTo>
                      <a:pt x="179098" y="637032"/>
                      <a:pt x="182422" y="639421"/>
                      <a:pt x="185737" y="646053"/>
                    </a:cubicBezTo>
                    <a:cubicBezTo>
                      <a:pt x="186859" y="648298"/>
                      <a:pt x="187324" y="650816"/>
                      <a:pt x="188118" y="653197"/>
                    </a:cubicBezTo>
                    <a:cubicBezTo>
                      <a:pt x="187324" y="655578"/>
                      <a:pt x="187512" y="658565"/>
                      <a:pt x="185737" y="660340"/>
                    </a:cubicBezTo>
                    <a:cubicBezTo>
                      <a:pt x="183962" y="662115"/>
                      <a:pt x="181078" y="662367"/>
                      <a:pt x="178593" y="662722"/>
                    </a:cubicBezTo>
                    <a:cubicBezTo>
                      <a:pt x="169914" y="663962"/>
                      <a:pt x="161131" y="664309"/>
                      <a:pt x="152400" y="665103"/>
                    </a:cubicBezTo>
                    <a:lnTo>
                      <a:pt x="130968" y="672247"/>
                    </a:lnTo>
                    <a:cubicBezTo>
                      <a:pt x="128587" y="673041"/>
                      <a:pt x="125913" y="673236"/>
                      <a:pt x="123825" y="674628"/>
                    </a:cubicBezTo>
                    <a:lnTo>
                      <a:pt x="116681" y="679390"/>
                    </a:lnTo>
                    <a:cubicBezTo>
                      <a:pt x="117475" y="684153"/>
                      <a:pt x="116903" y="689359"/>
                      <a:pt x="119062" y="693678"/>
                    </a:cubicBezTo>
                    <a:cubicBezTo>
                      <a:pt x="121325" y="698205"/>
                      <a:pt x="139379" y="702832"/>
                      <a:pt x="140493" y="703203"/>
                    </a:cubicBezTo>
                    <a:lnTo>
                      <a:pt x="147637" y="705584"/>
                    </a:lnTo>
                    <a:cubicBezTo>
                      <a:pt x="150018" y="706378"/>
                      <a:pt x="152286" y="707688"/>
                      <a:pt x="154781" y="707965"/>
                    </a:cubicBezTo>
                    <a:cubicBezTo>
                      <a:pt x="169068" y="709553"/>
                      <a:pt x="183547" y="709909"/>
                      <a:pt x="197643" y="712728"/>
                    </a:cubicBezTo>
                    <a:cubicBezTo>
                      <a:pt x="214284" y="716056"/>
                      <a:pt x="205557" y="714444"/>
                      <a:pt x="223837" y="717490"/>
                    </a:cubicBezTo>
                    <a:cubicBezTo>
                      <a:pt x="236412" y="721683"/>
                      <a:pt x="228890" y="718479"/>
                      <a:pt x="245268" y="729397"/>
                    </a:cubicBezTo>
                    <a:cubicBezTo>
                      <a:pt x="247649" y="730984"/>
                      <a:pt x="249697" y="733254"/>
                      <a:pt x="252412" y="734159"/>
                    </a:cubicBezTo>
                    <a:lnTo>
                      <a:pt x="259556" y="736540"/>
                    </a:lnTo>
                    <a:cubicBezTo>
                      <a:pt x="283104" y="730654"/>
                      <a:pt x="253438" y="741244"/>
                      <a:pt x="271462" y="710347"/>
                    </a:cubicBezTo>
                    <a:cubicBezTo>
                      <a:pt x="273992" y="706011"/>
                      <a:pt x="280735" y="705823"/>
                      <a:pt x="285750" y="705584"/>
                    </a:cubicBezTo>
                    <a:lnTo>
                      <a:pt x="335756" y="703203"/>
                    </a:lnTo>
                    <a:cubicBezTo>
                      <a:pt x="336550" y="700822"/>
                      <a:pt x="338137" y="698569"/>
                      <a:pt x="338137" y="696059"/>
                    </a:cubicBezTo>
                    <a:cubicBezTo>
                      <a:pt x="338137" y="688370"/>
                      <a:pt x="334882" y="685223"/>
                      <a:pt x="330993" y="679390"/>
                    </a:cubicBezTo>
                    <a:cubicBezTo>
                      <a:pt x="330199" y="676215"/>
                      <a:pt x="328612" y="673138"/>
                      <a:pt x="328612" y="669865"/>
                    </a:cubicBezTo>
                    <a:cubicBezTo>
                      <a:pt x="328612" y="660307"/>
                      <a:pt x="329730" y="650764"/>
                      <a:pt x="330993" y="641290"/>
                    </a:cubicBezTo>
                    <a:cubicBezTo>
                      <a:pt x="331325" y="638802"/>
                      <a:pt x="331600" y="635922"/>
                      <a:pt x="333375" y="634147"/>
                    </a:cubicBezTo>
                    <a:cubicBezTo>
                      <a:pt x="344660" y="622863"/>
                      <a:pt x="347938" y="624788"/>
                      <a:pt x="361950" y="622240"/>
                    </a:cubicBezTo>
                    <a:cubicBezTo>
                      <a:pt x="365932" y="621516"/>
                      <a:pt x="369887" y="620653"/>
                      <a:pt x="373856" y="619859"/>
                    </a:cubicBezTo>
                    <a:cubicBezTo>
                      <a:pt x="377031" y="618272"/>
                      <a:pt x="380118" y="616495"/>
                      <a:pt x="383381" y="615097"/>
                    </a:cubicBezTo>
                    <a:cubicBezTo>
                      <a:pt x="385688" y="614108"/>
                      <a:pt x="388436" y="614107"/>
                      <a:pt x="390525" y="612715"/>
                    </a:cubicBezTo>
                    <a:cubicBezTo>
                      <a:pt x="393327" y="610847"/>
                      <a:pt x="395081" y="607728"/>
                      <a:pt x="397668" y="605572"/>
                    </a:cubicBezTo>
                    <a:cubicBezTo>
                      <a:pt x="403824" y="600442"/>
                      <a:pt x="404795" y="600815"/>
                      <a:pt x="411956" y="598428"/>
                    </a:cubicBezTo>
                    <a:cubicBezTo>
                      <a:pt x="420687" y="599222"/>
                      <a:pt x="429553" y="599090"/>
                      <a:pt x="438150" y="600809"/>
                    </a:cubicBezTo>
                    <a:cubicBezTo>
                      <a:pt x="446787" y="602536"/>
                      <a:pt x="447500" y="607082"/>
                      <a:pt x="454818" y="610334"/>
                    </a:cubicBezTo>
                    <a:cubicBezTo>
                      <a:pt x="459406" y="612373"/>
                      <a:pt x="464343" y="613509"/>
                      <a:pt x="469106" y="615097"/>
                    </a:cubicBezTo>
                    <a:lnTo>
                      <a:pt x="476250" y="617478"/>
                    </a:lnTo>
                    <a:cubicBezTo>
                      <a:pt x="489789" y="631018"/>
                      <a:pt x="476754" y="620112"/>
                      <a:pt x="490537" y="627003"/>
                    </a:cubicBezTo>
                    <a:cubicBezTo>
                      <a:pt x="509010" y="636238"/>
                      <a:pt x="486861" y="628157"/>
                      <a:pt x="504825" y="634147"/>
                    </a:cubicBezTo>
                    <a:cubicBezTo>
                      <a:pt x="506848" y="633978"/>
                      <a:pt x="531961" y="634152"/>
                      <a:pt x="540543" y="629384"/>
                    </a:cubicBezTo>
                    <a:cubicBezTo>
                      <a:pt x="545547" y="626604"/>
                      <a:pt x="550068" y="623034"/>
                      <a:pt x="554831" y="619859"/>
                    </a:cubicBezTo>
                    <a:cubicBezTo>
                      <a:pt x="586548" y="598716"/>
                      <a:pt x="539541" y="629148"/>
                      <a:pt x="569118" y="612715"/>
                    </a:cubicBezTo>
                    <a:cubicBezTo>
                      <a:pt x="574122" y="609935"/>
                      <a:pt x="583406" y="603190"/>
                      <a:pt x="583406" y="603190"/>
                    </a:cubicBezTo>
                    <a:cubicBezTo>
                      <a:pt x="584993" y="600809"/>
                      <a:pt x="586888" y="598606"/>
                      <a:pt x="588168" y="596047"/>
                    </a:cubicBezTo>
                    <a:cubicBezTo>
                      <a:pt x="589291" y="593802"/>
                      <a:pt x="589158" y="590992"/>
                      <a:pt x="590550" y="588903"/>
                    </a:cubicBezTo>
                    <a:cubicBezTo>
                      <a:pt x="592418" y="586101"/>
                      <a:pt x="595312" y="584140"/>
                      <a:pt x="597693" y="581759"/>
                    </a:cubicBezTo>
                    <a:cubicBezTo>
                      <a:pt x="598487" y="578584"/>
                      <a:pt x="597920" y="574697"/>
                      <a:pt x="600075" y="572234"/>
                    </a:cubicBezTo>
                    <a:cubicBezTo>
                      <a:pt x="606819" y="564527"/>
                      <a:pt x="613156" y="563111"/>
                      <a:pt x="621506" y="560328"/>
                    </a:cubicBezTo>
                    <a:cubicBezTo>
                      <a:pt x="625475" y="561122"/>
                      <a:pt x="629728" y="561034"/>
                      <a:pt x="633412" y="562709"/>
                    </a:cubicBezTo>
                    <a:cubicBezTo>
                      <a:pt x="638623" y="565078"/>
                      <a:pt x="647700" y="572234"/>
                      <a:pt x="647700" y="572234"/>
                    </a:cubicBezTo>
                    <a:cubicBezTo>
                      <a:pt x="649287" y="574615"/>
                      <a:pt x="650630" y="577179"/>
                      <a:pt x="652462" y="579378"/>
                    </a:cubicBezTo>
                    <a:cubicBezTo>
                      <a:pt x="654618" y="581965"/>
                      <a:pt x="657971" y="583578"/>
                      <a:pt x="659606" y="586522"/>
                    </a:cubicBezTo>
                    <a:cubicBezTo>
                      <a:pt x="665978" y="597991"/>
                      <a:pt x="661812" y="606037"/>
                      <a:pt x="673893" y="615097"/>
                    </a:cubicBezTo>
                    <a:cubicBezTo>
                      <a:pt x="677068" y="617478"/>
                      <a:pt x="680167" y="619964"/>
                      <a:pt x="683418" y="622240"/>
                    </a:cubicBezTo>
                    <a:cubicBezTo>
                      <a:pt x="688107" y="625522"/>
                      <a:pt x="693127" y="628331"/>
                      <a:pt x="697706" y="631765"/>
                    </a:cubicBezTo>
                    <a:cubicBezTo>
                      <a:pt x="700881" y="634146"/>
                      <a:pt x="703681" y="637134"/>
                      <a:pt x="707231" y="638909"/>
                    </a:cubicBezTo>
                    <a:cubicBezTo>
                      <a:pt x="711721" y="641154"/>
                      <a:pt x="716756" y="642084"/>
                      <a:pt x="721518" y="643672"/>
                    </a:cubicBezTo>
                    <a:cubicBezTo>
                      <a:pt x="732361" y="647286"/>
                      <a:pt x="730354" y="646730"/>
                      <a:pt x="745331" y="650815"/>
                    </a:cubicBezTo>
                    <a:cubicBezTo>
                      <a:pt x="748488" y="651676"/>
                      <a:pt x="751709" y="652298"/>
                      <a:pt x="754856" y="653197"/>
                    </a:cubicBezTo>
                    <a:cubicBezTo>
                      <a:pt x="762427" y="655360"/>
                      <a:pt x="765847" y="657318"/>
                      <a:pt x="773906" y="660340"/>
                    </a:cubicBezTo>
                    <a:cubicBezTo>
                      <a:pt x="776256" y="661221"/>
                      <a:pt x="778604" y="662158"/>
                      <a:pt x="781050" y="662722"/>
                    </a:cubicBezTo>
                    <a:cubicBezTo>
                      <a:pt x="800099" y="667118"/>
                      <a:pt x="803967" y="667356"/>
                      <a:pt x="821531" y="669865"/>
                    </a:cubicBezTo>
                    <a:cubicBezTo>
                      <a:pt x="832643" y="669071"/>
                      <a:pt x="843740" y="668014"/>
                      <a:pt x="854868" y="667484"/>
                    </a:cubicBezTo>
                    <a:cubicBezTo>
                      <a:pt x="936188" y="663612"/>
                      <a:pt x="897247" y="668573"/>
                      <a:pt x="938212" y="662722"/>
                    </a:cubicBezTo>
                    <a:cubicBezTo>
                      <a:pt x="953132" y="657747"/>
                      <a:pt x="937497" y="663656"/>
                      <a:pt x="952500" y="655578"/>
                    </a:cubicBezTo>
                    <a:cubicBezTo>
                      <a:pt x="960314" y="651371"/>
                      <a:pt x="968375" y="647641"/>
                      <a:pt x="976312" y="643672"/>
                    </a:cubicBezTo>
                    <a:cubicBezTo>
                      <a:pt x="979487" y="642084"/>
                      <a:pt x="982469" y="640031"/>
                      <a:pt x="985837" y="638909"/>
                    </a:cubicBezTo>
                    <a:cubicBezTo>
                      <a:pt x="988218" y="638115"/>
                      <a:pt x="990559" y="637188"/>
                      <a:pt x="992981" y="636528"/>
                    </a:cubicBezTo>
                    <a:cubicBezTo>
                      <a:pt x="1001727" y="634143"/>
                      <a:pt x="1014412" y="630971"/>
                      <a:pt x="1023937" y="629384"/>
                    </a:cubicBezTo>
                    <a:cubicBezTo>
                      <a:pt x="1029473" y="628461"/>
                      <a:pt x="1035050" y="627797"/>
                      <a:pt x="1040606" y="627003"/>
                    </a:cubicBezTo>
                    <a:cubicBezTo>
                      <a:pt x="1042987" y="626209"/>
                      <a:pt x="1045456" y="625641"/>
                      <a:pt x="1047750" y="624622"/>
                    </a:cubicBezTo>
                    <a:cubicBezTo>
                      <a:pt x="1052616" y="622459"/>
                      <a:pt x="1057023" y="619269"/>
                      <a:pt x="1062037" y="617478"/>
                    </a:cubicBezTo>
                    <a:cubicBezTo>
                      <a:pt x="1068201" y="615276"/>
                      <a:pt x="1074669" y="613999"/>
                      <a:pt x="1081087" y="612715"/>
                    </a:cubicBezTo>
                    <a:cubicBezTo>
                      <a:pt x="1117013" y="605530"/>
                      <a:pt x="1072239" y="614681"/>
                      <a:pt x="1102518" y="607953"/>
                    </a:cubicBezTo>
                    <a:cubicBezTo>
                      <a:pt x="1106469" y="607075"/>
                      <a:pt x="1110498" y="606554"/>
                      <a:pt x="1114425" y="605572"/>
                    </a:cubicBezTo>
                    <a:cubicBezTo>
                      <a:pt x="1121426" y="603822"/>
                      <a:pt x="1124286" y="601831"/>
                      <a:pt x="1131093" y="598428"/>
                    </a:cubicBezTo>
                    <a:cubicBezTo>
                      <a:pt x="1136503" y="587610"/>
                      <a:pt x="1138035" y="586008"/>
                      <a:pt x="1140618" y="572234"/>
                    </a:cubicBezTo>
                    <a:cubicBezTo>
                      <a:pt x="1141943" y="565169"/>
                      <a:pt x="1140544" y="557558"/>
                      <a:pt x="1143000" y="550803"/>
                    </a:cubicBezTo>
                    <a:cubicBezTo>
                      <a:pt x="1143978" y="548114"/>
                      <a:pt x="1147583" y="547320"/>
                      <a:pt x="1150143" y="546040"/>
                    </a:cubicBezTo>
                    <a:cubicBezTo>
                      <a:pt x="1153558" y="544333"/>
                      <a:pt x="1163762" y="542040"/>
                      <a:pt x="1166812" y="541278"/>
                    </a:cubicBezTo>
                    <a:cubicBezTo>
                      <a:pt x="1168400" y="538897"/>
                      <a:pt x="1170295" y="536694"/>
                      <a:pt x="1171575" y="534134"/>
                    </a:cubicBezTo>
                    <a:cubicBezTo>
                      <a:pt x="1172698" y="531889"/>
                      <a:pt x="1173075" y="529340"/>
                      <a:pt x="1173956" y="526990"/>
                    </a:cubicBezTo>
                    <a:cubicBezTo>
                      <a:pt x="1175457" y="522988"/>
                      <a:pt x="1177217" y="519086"/>
                      <a:pt x="1178718" y="515084"/>
                    </a:cubicBezTo>
                    <a:cubicBezTo>
                      <a:pt x="1181283" y="508244"/>
                      <a:pt x="1181602" y="505931"/>
                      <a:pt x="1183481" y="498415"/>
                    </a:cubicBezTo>
                    <a:cubicBezTo>
                      <a:pt x="1182687" y="491271"/>
                      <a:pt x="1182282" y="484074"/>
                      <a:pt x="1181100" y="476984"/>
                    </a:cubicBezTo>
                    <a:cubicBezTo>
                      <a:pt x="1180687" y="474508"/>
                      <a:pt x="1178718" y="472350"/>
                      <a:pt x="1178718" y="469840"/>
                    </a:cubicBezTo>
                    <a:cubicBezTo>
                      <a:pt x="1178718" y="458699"/>
                      <a:pt x="1179164" y="447474"/>
                      <a:pt x="1181100" y="436503"/>
                    </a:cubicBezTo>
                    <a:cubicBezTo>
                      <a:pt x="1181877" y="432098"/>
                      <a:pt x="1193997" y="421224"/>
                      <a:pt x="1195387" y="419834"/>
                    </a:cubicBezTo>
                    <a:cubicBezTo>
                      <a:pt x="1197851" y="412442"/>
                      <a:pt x="1198116" y="410523"/>
                      <a:pt x="1202531" y="403165"/>
                    </a:cubicBezTo>
                    <a:cubicBezTo>
                      <a:pt x="1205476" y="398257"/>
                      <a:pt x="1209023" y="393732"/>
                      <a:pt x="1212056" y="388878"/>
                    </a:cubicBezTo>
                    <a:cubicBezTo>
                      <a:pt x="1225516" y="367342"/>
                      <a:pt x="1219794" y="376081"/>
                      <a:pt x="1228725" y="362684"/>
                    </a:cubicBezTo>
                    <a:cubicBezTo>
                      <a:pt x="1230312" y="360303"/>
                      <a:pt x="1231252" y="357328"/>
                      <a:pt x="1233487" y="355540"/>
                    </a:cubicBezTo>
                    <a:cubicBezTo>
                      <a:pt x="1237456" y="352365"/>
                      <a:pt x="1241083" y="348709"/>
                      <a:pt x="1245393" y="346015"/>
                    </a:cubicBezTo>
                    <a:cubicBezTo>
                      <a:pt x="1247522" y="344685"/>
                      <a:pt x="1250230" y="344623"/>
                      <a:pt x="1252537" y="343634"/>
                    </a:cubicBezTo>
                    <a:cubicBezTo>
                      <a:pt x="1269792" y="336240"/>
                      <a:pt x="1253895" y="340506"/>
                      <a:pt x="1273968" y="336490"/>
                    </a:cubicBezTo>
                    <a:cubicBezTo>
                      <a:pt x="1277143" y="334903"/>
                      <a:pt x="1280983" y="334238"/>
                      <a:pt x="1283493" y="331728"/>
                    </a:cubicBezTo>
                    <a:cubicBezTo>
                      <a:pt x="1287540" y="327681"/>
                      <a:pt x="1293018" y="317440"/>
                      <a:pt x="1293018" y="317440"/>
                    </a:cubicBezTo>
                    <a:cubicBezTo>
                      <a:pt x="1287660" y="296005"/>
                      <a:pt x="1293830" y="322311"/>
                      <a:pt x="1288256" y="288865"/>
                    </a:cubicBezTo>
                    <a:cubicBezTo>
                      <a:pt x="1287718" y="285637"/>
                      <a:pt x="1287499" y="282181"/>
                      <a:pt x="1285875" y="279340"/>
                    </a:cubicBezTo>
                    <a:cubicBezTo>
                      <a:pt x="1284204" y="276416"/>
                      <a:pt x="1281112" y="274578"/>
                      <a:pt x="1278731" y="272197"/>
                    </a:cubicBezTo>
                    <a:cubicBezTo>
                      <a:pt x="1278799" y="271182"/>
                      <a:pt x="1278912" y="237641"/>
                      <a:pt x="1283493" y="226953"/>
                    </a:cubicBezTo>
                    <a:cubicBezTo>
                      <a:pt x="1284620" y="224322"/>
                      <a:pt x="1286355" y="221948"/>
                      <a:pt x="1288256" y="219809"/>
                    </a:cubicBezTo>
                    <a:cubicBezTo>
                      <a:pt x="1301592" y="204806"/>
                      <a:pt x="1301187" y="206426"/>
                      <a:pt x="1316831" y="195997"/>
                    </a:cubicBezTo>
                    <a:lnTo>
                      <a:pt x="1323975" y="191234"/>
                    </a:lnTo>
                    <a:cubicBezTo>
                      <a:pt x="1326356" y="189647"/>
                      <a:pt x="1329095" y="188495"/>
                      <a:pt x="1331118" y="186472"/>
                    </a:cubicBezTo>
                    <a:cubicBezTo>
                      <a:pt x="1340286" y="177304"/>
                      <a:pt x="1335460" y="181196"/>
                      <a:pt x="1345406" y="174565"/>
                    </a:cubicBezTo>
                    <a:cubicBezTo>
                      <a:pt x="1346200" y="172184"/>
                      <a:pt x="1346568" y="169616"/>
                      <a:pt x="1347787" y="167422"/>
                    </a:cubicBezTo>
                    <a:cubicBezTo>
                      <a:pt x="1350567" y="162418"/>
                      <a:pt x="1355502" y="158564"/>
                      <a:pt x="1357312" y="153134"/>
                    </a:cubicBezTo>
                    <a:lnTo>
                      <a:pt x="1362075" y="138847"/>
                    </a:lnTo>
                    <a:lnTo>
                      <a:pt x="1364456" y="131703"/>
                    </a:lnTo>
                    <a:cubicBezTo>
                      <a:pt x="1362075" y="130115"/>
                      <a:pt x="1360172" y="127059"/>
                      <a:pt x="1357312" y="126940"/>
                    </a:cubicBezTo>
                    <a:cubicBezTo>
                      <a:pt x="1318081" y="125306"/>
                      <a:pt x="1316705" y="126973"/>
                      <a:pt x="1288256" y="134084"/>
                    </a:cubicBezTo>
                    <a:cubicBezTo>
                      <a:pt x="1281906" y="137259"/>
                      <a:pt x="1275941" y="141364"/>
                      <a:pt x="1269206" y="143609"/>
                    </a:cubicBezTo>
                    <a:cubicBezTo>
                      <a:pt x="1252077" y="149318"/>
                      <a:pt x="1273468" y="142391"/>
                      <a:pt x="1252537" y="148372"/>
                    </a:cubicBezTo>
                    <a:cubicBezTo>
                      <a:pt x="1250123" y="149062"/>
                      <a:pt x="1247807" y="150063"/>
                      <a:pt x="1245393" y="150753"/>
                    </a:cubicBezTo>
                    <a:cubicBezTo>
                      <a:pt x="1224472" y="156730"/>
                      <a:pt x="1245845" y="149808"/>
                      <a:pt x="1228725" y="155515"/>
                    </a:cubicBezTo>
                    <a:cubicBezTo>
                      <a:pt x="1227137" y="157896"/>
                      <a:pt x="1226389" y="161142"/>
                      <a:pt x="1223962" y="162659"/>
                    </a:cubicBezTo>
                    <a:cubicBezTo>
                      <a:pt x="1219705" y="165320"/>
                      <a:pt x="1209675" y="167422"/>
                      <a:pt x="1209675" y="167422"/>
                    </a:cubicBezTo>
                    <a:cubicBezTo>
                      <a:pt x="1206500" y="166628"/>
                      <a:pt x="1202813" y="166942"/>
                      <a:pt x="1200150" y="165040"/>
                    </a:cubicBezTo>
                    <a:cubicBezTo>
                      <a:pt x="1190586" y="158208"/>
                      <a:pt x="1196815" y="154123"/>
                      <a:pt x="1185862" y="150753"/>
                    </a:cubicBezTo>
                    <a:cubicBezTo>
                      <a:pt x="1156654" y="141766"/>
                      <a:pt x="1113129" y="144412"/>
                      <a:pt x="1088231" y="143609"/>
                    </a:cubicBezTo>
                    <a:cubicBezTo>
                      <a:pt x="1087437" y="140434"/>
                      <a:pt x="1087139" y="137092"/>
                      <a:pt x="1085850" y="134084"/>
                    </a:cubicBezTo>
                    <a:cubicBezTo>
                      <a:pt x="1083629" y="128902"/>
                      <a:pt x="1075215" y="120024"/>
                      <a:pt x="1071562" y="117415"/>
                    </a:cubicBezTo>
                    <a:cubicBezTo>
                      <a:pt x="1069519" y="115956"/>
                      <a:pt x="1066663" y="116157"/>
                      <a:pt x="1064418" y="115034"/>
                    </a:cubicBezTo>
                    <a:cubicBezTo>
                      <a:pt x="1060278" y="112964"/>
                      <a:pt x="1056652" y="109960"/>
                      <a:pt x="1052512" y="107890"/>
                    </a:cubicBezTo>
                    <a:cubicBezTo>
                      <a:pt x="1050267" y="106767"/>
                      <a:pt x="1047803" y="106118"/>
                      <a:pt x="1045368" y="105509"/>
                    </a:cubicBezTo>
                    <a:cubicBezTo>
                      <a:pt x="1032216" y="102221"/>
                      <a:pt x="1024529" y="102235"/>
                      <a:pt x="1009650" y="100747"/>
                    </a:cubicBezTo>
                    <a:cubicBezTo>
                      <a:pt x="1005681" y="99953"/>
                      <a:pt x="1001791" y="98365"/>
                      <a:pt x="997743" y="98365"/>
                    </a:cubicBezTo>
                    <a:cubicBezTo>
                      <a:pt x="959635" y="98365"/>
                      <a:pt x="921439" y="97824"/>
                      <a:pt x="883443" y="100747"/>
                    </a:cubicBezTo>
                    <a:cubicBezTo>
                      <a:pt x="879486" y="101051"/>
                      <a:pt x="876724" y="105084"/>
                      <a:pt x="873918" y="107890"/>
                    </a:cubicBezTo>
                    <a:cubicBezTo>
                      <a:pt x="872218" y="109590"/>
                      <a:pt x="863813" y="121407"/>
                      <a:pt x="862012" y="124559"/>
                    </a:cubicBezTo>
                    <a:cubicBezTo>
                      <a:pt x="860251" y="127641"/>
                      <a:pt x="859380" y="131244"/>
                      <a:pt x="857250" y="134084"/>
                    </a:cubicBezTo>
                    <a:cubicBezTo>
                      <a:pt x="854556" y="137676"/>
                      <a:pt x="851081" y="140626"/>
                      <a:pt x="847725" y="143609"/>
                    </a:cubicBezTo>
                    <a:cubicBezTo>
                      <a:pt x="839246" y="151146"/>
                      <a:pt x="836859" y="152440"/>
                      <a:pt x="828675" y="157897"/>
                    </a:cubicBezTo>
                    <a:cubicBezTo>
                      <a:pt x="827087" y="160278"/>
                      <a:pt x="825192" y="162480"/>
                      <a:pt x="823912" y="165040"/>
                    </a:cubicBezTo>
                    <a:cubicBezTo>
                      <a:pt x="814050" y="184763"/>
                      <a:pt x="831646" y="156912"/>
                      <a:pt x="816768" y="181709"/>
                    </a:cubicBezTo>
                    <a:cubicBezTo>
                      <a:pt x="813823" y="186617"/>
                      <a:pt x="810418" y="191234"/>
                      <a:pt x="807243" y="195997"/>
                    </a:cubicBezTo>
                    <a:cubicBezTo>
                      <a:pt x="805656" y="198378"/>
                      <a:pt x="804862" y="201553"/>
                      <a:pt x="802481" y="203140"/>
                    </a:cubicBezTo>
                    <a:cubicBezTo>
                      <a:pt x="800100" y="204728"/>
                      <a:pt x="797897" y="206623"/>
                      <a:pt x="795337" y="207903"/>
                    </a:cubicBezTo>
                    <a:cubicBezTo>
                      <a:pt x="791922" y="209611"/>
                      <a:pt x="781718" y="211902"/>
                      <a:pt x="778668" y="212665"/>
                    </a:cubicBezTo>
                    <a:cubicBezTo>
                      <a:pt x="777874" y="217428"/>
                      <a:pt x="779921" y="223773"/>
                      <a:pt x="776287" y="226953"/>
                    </a:cubicBezTo>
                    <a:cubicBezTo>
                      <a:pt x="772063" y="230649"/>
                      <a:pt x="765033" y="227857"/>
                      <a:pt x="759618" y="229334"/>
                    </a:cubicBezTo>
                    <a:cubicBezTo>
                      <a:pt x="756193" y="230268"/>
                      <a:pt x="753537" y="233236"/>
                      <a:pt x="750093" y="234097"/>
                    </a:cubicBezTo>
                    <a:cubicBezTo>
                      <a:pt x="743885" y="235649"/>
                      <a:pt x="737355" y="235426"/>
                      <a:pt x="731043" y="236478"/>
                    </a:cubicBezTo>
                    <a:cubicBezTo>
                      <a:pt x="727815" y="237016"/>
                      <a:pt x="724653" y="237919"/>
                      <a:pt x="721518" y="238859"/>
                    </a:cubicBezTo>
                    <a:cubicBezTo>
                      <a:pt x="716710" y="240302"/>
                      <a:pt x="712183" y="242797"/>
                      <a:pt x="707231" y="243622"/>
                    </a:cubicBezTo>
                    <a:lnTo>
                      <a:pt x="692943" y="246003"/>
                    </a:lnTo>
                    <a:cubicBezTo>
                      <a:pt x="682624" y="245209"/>
                      <a:pt x="672256" y="244906"/>
                      <a:pt x="661987" y="243622"/>
                    </a:cubicBezTo>
                    <a:cubicBezTo>
                      <a:pt x="655334" y="242790"/>
                      <a:pt x="651632" y="238583"/>
                      <a:pt x="645318" y="236478"/>
                    </a:cubicBezTo>
                    <a:cubicBezTo>
                      <a:pt x="641478" y="235198"/>
                      <a:pt x="637381" y="234891"/>
                      <a:pt x="633412" y="234097"/>
                    </a:cubicBezTo>
                    <a:cubicBezTo>
                      <a:pt x="619394" y="227087"/>
                      <a:pt x="627259" y="230459"/>
                      <a:pt x="609600" y="224572"/>
                    </a:cubicBezTo>
                    <a:lnTo>
                      <a:pt x="602456" y="222190"/>
                    </a:lnTo>
                    <a:cubicBezTo>
                      <a:pt x="575468" y="222984"/>
                      <a:pt x="548453" y="223115"/>
                      <a:pt x="521493" y="224572"/>
                    </a:cubicBezTo>
                    <a:cubicBezTo>
                      <a:pt x="516946" y="224818"/>
                      <a:pt x="500369" y="233933"/>
                      <a:pt x="500062" y="234097"/>
                    </a:cubicBezTo>
                    <a:cubicBezTo>
                      <a:pt x="492851" y="237943"/>
                      <a:pt x="485940" y="242348"/>
                      <a:pt x="478631" y="246003"/>
                    </a:cubicBezTo>
                    <a:cubicBezTo>
                      <a:pt x="447878" y="261379"/>
                      <a:pt x="509075" y="225830"/>
                      <a:pt x="459581" y="255528"/>
                    </a:cubicBezTo>
                    <a:cubicBezTo>
                      <a:pt x="450056" y="254734"/>
                      <a:pt x="440490" y="254333"/>
                      <a:pt x="431006" y="253147"/>
                    </a:cubicBezTo>
                    <a:cubicBezTo>
                      <a:pt x="427759" y="252741"/>
                      <a:pt x="424676" y="251475"/>
                      <a:pt x="421481" y="250765"/>
                    </a:cubicBezTo>
                    <a:cubicBezTo>
                      <a:pt x="411504" y="248548"/>
                      <a:pt x="405618" y="247725"/>
                      <a:pt x="395287" y="246003"/>
                    </a:cubicBezTo>
                    <a:cubicBezTo>
                      <a:pt x="392112" y="244415"/>
                      <a:pt x="389130" y="242363"/>
                      <a:pt x="385762" y="241240"/>
                    </a:cubicBezTo>
                    <a:cubicBezTo>
                      <a:pt x="358058" y="232005"/>
                      <a:pt x="388279" y="246070"/>
                      <a:pt x="364331" y="234097"/>
                    </a:cubicBezTo>
                    <a:cubicBezTo>
                      <a:pt x="362743" y="231716"/>
                      <a:pt x="360129" y="229759"/>
                      <a:pt x="359568" y="226953"/>
                    </a:cubicBezTo>
                    <a:cubicBezTo>
                      <a:pt x="357693" y="217581"/>
                      <a:pt x="361018" y="207135"/>
                      <a:pt x="357187" y="198378"/>
                    </a:cubicBezTo>
                    <a:cubicBezTo>
                      <a:pt x="353382" y="189680"/>
                      <a:pt x="340903" y="188730"/>
                      <a:pt x="333375" y="186472"/>
                    </a:cubicBezTo>
                    <a:cubicBezTo>
                      <a:pt x="328566" y="185029"/>
                      <a:pt x="319087" y="181709"/>
                      <a:pt x="319087" y="181709"/>
                    </a:cubicBezTo>
                    <a:cubicBezTo>
                      <a:pt x="316706" y="179328"/>
                      <a:pt x="313900" y="177305"/>
                      <a:pt x="311943" y="174565"/>
                    </a:cubicBezTo>
                    <a:cubicBezTo>
                      <a:pt x="307830" y="168806"/>
                      <a:pt x="304212" y="156731"/>
                      <a:pt x="302418" y="150753"/>
                    </a:cubicBezTo>
                    <a:cubicBezTo>
                      <a:pt x="302213" y="150069"/>
                      <a:pt x="298936" y="135684"/>
                      <a:pt x="297656" y="134084"/>
                    </a:cubicBezTo>
                    <a:cubicBezTo>
                      <a:pt x="295868" y="131849"/>
                      <a:pt x="292997" y="130742"/>
                      <a:pt x="290512" y="129322"/>
                    </a:cubicBezTo>
                    <a:cubicBezTo>
                      <a:pt x="285208" y="126291"/>
                      <a:pt x="279782" y="123663"/>
                      <a:pt x="273843" y="122178"/>
                    </a:cubicBezTo>
                    <a:cubicBezTo>
                      <a:pt x="269917" y="121196"/>
                      <a:pt x="265906" y="120591"/>
                      <a:pt x="261937" y="119797"/>
                    </a:cubicBezTo>
                    <a:cubicBezTo>
                      <a:pt x="259556" y="118209"/>
                      <a:pt x="257529" y="115876"/>
                      <a:pt x="254793" y="115034"/>
                    </a:cubicBezTo>
                    <a:cubicBezTo>
                      <a:pt x="247056" y="112654"/>
                      <a:pt x="238660" y="112832"/>
                      <a:pt x="230981" y="110272"/>
                    </a:cubicBezTo>
                    <a:lnTo>
                      <a:pt x="223837" y="107890"/>
                    </a:lnTo>
                    <a:cubicBezTo>
                      <a:pt x="218394" y="91562"/>
                      <a:pt x="223837" y="111827"/>
                      <a:pt x="223837" y="88840"/>
                    </a:cubicBezTo>
                    <a:cubicBezTo>
                      <a:pt x="223837" y="76908"/>
                      <a:pt x="223144" y="64934"/>
                      <a:pt x="221456" y="53122"/>
                    </a:cubicBezTo>
                    <a:cubicBezTo>
                      <a:pt x="220746" y="48152"/>
                      <a:pt x="218732" y="43422"/>
                      <a:pt x="216693" y="38834"/>
                    </a:cubicBezTo>
                    <a:cubicBezTo>
                      <a:pt x="208343" y="20047"/>
                      <a:pt x="214762" y="42785"/>
                      <a:pt x="209550" y="24547"/>
                    </a:cubicBezTo>
                    <a:cubicBezTo>
                      <a:pt x="208651" y="21400"/>
                      <a:pt x="209323" y="17485"/>
                      <a:pt x="207168" y="15022"/>
                    </a:cubicBezTo>
                    <a:cubicBezTo>
                      <a:pt x="198448" y="5057"/>
                      <a:pt x="196452" y="2718"/>
                      <a:pt x="188118" y="73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09" name="Freeform 308"/>
              <p:cNvSpPr/>
              <p:nvPr/>
            </p:nvSpPr>
            <p:spPr>
              <a:xfrm>
                <a:off x="3999645" y="2967682"/>
                <a:ext cx="1501443" cy="1065176"/>
              </a:xfrm>
              <a:custGeom>
                <a:avLst/>
                <a:gdLst>
                  <a:gd name="connsiteX0" fmla="*/ 1255 w 1501443"/>
                  <a:gd name="connsiteY0" fmla="*/ 431763 h 1065176"/>
                  <a:gd name="connsiteX1" fmla="*/ 10780 w 1501443"/>
                  <a:gd name="connsiteY1" fmla="*/ 443670 h 1065176"/>
                  <a:gd name="connsiteX2" fmla="*/ 15543 w 1501443"/>
                  <a:gd name="connsiteY2" fmla="*/ 457957 h 1065176"/>
                  <a:gd name="connsiteX3" fmla="*/ 22686 w 1501443"/>
                  <a:gd name="connsiteY3" fmla="*/ 479388 h 1065176"/>
                  <a:gd name="connsiteX4" fmla="*/ 25068 w 1501443"/>
                  <a:gd name="connsiteY4" fmla="*/ 486532 h 1065176"/>
                  <a:gd name="connsiteX5" fmla="*/ 27449 w 1501443"/>
                  <a:gd name="connsiteY5" fmla="*/ 498438 h 1065176"/>
                  <a:gd name="connsiteX6" fmla="*/ 41736 w 1501443"/>
                  <a:gd name="connsiteY6" fmla="*/ 505582 h 1065176"/>
                  <a:gd name="connsiteX7" fmla="*/ 44118 w 1501443"/>
                  <a:gd name="connsiteY7" fmla="*/ 512726 h 1065176"/>
                  <a:gd name="connsiteX8" fmla="*/ 51261 w 1501443"/>
                  <a:gd name="connsiteY8" fmla="*/ 543682 h 1065176"/>
                  <a:gd name="connsiteX9" fmla="*/ 48880 w 1501443"/>
                  <a:gd name="connsiteY9" fmla="*/ 610357 h 1065176"/>
                  <a:gd name="connsiteX10" fmla="*/ 46499 w 1501443"/>
                  <a:gd name="connsiteY10" fmla="*/ 617501 h 1065176"/>
                  <a:gd name="connsiteX11" fmla="*/ 39355 w 1501443"/>
                  <a:gd name="connsiteY11" fmla="*/ 622263 h 1065176"/>
                  <a:gd name="connsiteX12" fmla="*/ 15543 w 1501443"/>
                  <a:gd name="connsiteY12" fmla="*/ 622263 h 1065176"/>
                  <a:gd name="connsiteX13" fmla="*/ 10780 w 1501443"/>
                  <a:gd name="connsiteY13" fmla="*/ 629407 h 1065176"/>
                  <a:gd name="connsiteX14" fmla="*/ 13161 w 1501443"/>
                  <a:gd name="connsiteY14" fmla="*/ 636551 h 1065176"/>
                  <a:gd name="connsiteX15" fmla="*/ 36974 w 1501443"/>
                  <a:gd name="connsiteY15" fmla="*/ 648457 h 1065176"/>
                  <a:gd name="connsiteX16" fmla="*/ 44118 w 1501443"/>
                  <a:gd name="connsiteY16" fmla="*/ 650838 h 1065176"/>
                  <a:gd name="connsiteX17" fmla="*/ 51261 w 1501443"/>
                  <a:gd name="connsiteY17" fmla="*/ 655601 h 1065176"/>
                  <a:gd name="connsiteX18" fmla="*/ 58405 w 1501443"/>
                  <a:gd name="connsiteY18" fmla="*/ 669888 h 1065176"/>
                  <a:gd name="connsiteX19" fmla="*/ 63168 w 1501443"/>
                  <a:gd name="connsiteY19" fmla="*/ 691320 h 1065176"/>
                  <a:gd name="connsiteX20" fmla="*/ 67930 w 1501443"/>
                  <a:gd name="connsiteY20" fmla="*/ 741326 h 1065176"/>
                  <a:gd name="connsiteX21" fmla="*/ 72693 w 1501443"/>
                  <a:gd name="connsiteY21" fmla="*/ 755613 h 1065176"/>
                  <a:gd name="connsiteX22" fmla="*/ 75074 w 1501443"/>
                  <a:gd name="connsiteY22" fmla="*/ 762757 h 1065176"/>
                  <a:gd name="connsiteX23" fmla="*/ 75074 w 1501443"/>
                  <a:gd name="connsiteY23" fmla="*/ 846101 h 1065176"/>
                  <a:gd name="connsiteX24" fmla="*/ 82218 w 1501443"/>
                  <a:gd name="connsiteY24" fmla="*/ 869913 h 1065176"/>
                  <a:gd name="connsiteX25" fmla="*/ 84599 w 1501443"/>
                  <a:gd name="connsiteY25" fmla="*/ 877057 h 1065176"/>
                  <a:gd name="connsiteX26" fmla="*/ 89361 w 1501443"/>
                  <a:gd name="connsiteY26" fmla="*/ 910395 h 1065176"/>
                  <a:gd name="connsiteX27" fmla="*/ 91743 w 1501443"/>
                  <a:gd name="connsiteY27" fmla="*/ 917538 h 1065176"/>
                  <a:gd name="connsiteX28" fmla="*/ 103649 w 1501443"/>
                  <a:gd name="connsiteY28" fmla="*/ 915157 h 1065176"/>
                  <a:gd name="connsiteX29" fmla="*/ 106030 w 1501443"/>
                  <a:gd name="connsiteY29" fmla="*/ 908013 h 1065176"/>
                  <a:gd name="connsiteX30" fmla="*/ 120318 w 1501443"/>
                  <a:gd name="connsiteY30" fmla="*/ 898488 h 1065176"/>
                  <a:gd name="connsiteX31" fmla="*/ 120318 w 1501443"/>
                  <a:gd name="connsiteY31" fmla="*/ 898488 h 1065176"/>
                  <a:gd name="connsiteX32" fmla="*/ 144130 w 1501443"/>
                  <a:gd name="connsiteY32" fmla="*/ 893726 h 1065176"/>
                  <a:gd name="connsiteX33" fmla="*/ 163180 w 1501443"/>
                  <a:gd name="connsiteY33" fmla="*/ 896107 h 1065176"/>
                  <a:gd name="connsiteX34" fmla="*/ 170324 w 1501443"/>
                  <a:gd name="connsiteY34" fmla="*/ 898488 h 1065176"/>
                  <a:gd name="connsiteX35" fmla="*/ 186993 w 1501443"/>
                  <a:gd name="connsiteY35" fmla="*/ 903251 h 1065176"/>
                  <a:gd name="connsiteX36" fmla="*/ 196518 w 1501443"/>
                  <a:gd name="connsiteY36" fmla="*/ 919920 h 1065176"/>
                  <a:gd name="connsiteX37" fmla="*/ 201280 w 1501443"/>
                  <a:gd name="connsiteY37" fmla="*/ 960401 h 1065176"/>
                  <a:gd name="connsiteX38" fmla="*/ 215568 w 1501443"/>
                  <a:gd name="connsiteY38" fmla="*/ 958020 h 1065176"/>
                  <a:gd name="connsiteX39" fmla="*/ 217949 w 1501443"/>
                  <a:gd name="connsiteY39" fmla="*/ 946113 h 1065176"/>
                  <a:gd name="connsiteX40" fmla="*/ 229855 w 1501443"/>
                  <a:gd name="connsiteY40" fmla="*/ 929445 h 1065176"/>
                  <a:gd name="connsiteX41" fmla="*/ 244143 w 1501443"/>
                  <a:gd name="connsiteY41" fmla="*/ 936588 h 1065176"/>
                  <a:gd name="connsiteX42" fmla="*/ 251286 w 1501443"/>
                  <a:gd name="connsiteY42" fmla="*/ 938970 h 1065176"/>
                  <a:gd name="connsiteX43" fmla="*/ 258430 w 1501443"/>
                  <a:gd name="connsiteY43" fmla="*/ 943732 h 1065176"/>
                  <a:gd name="connsiteX44" fmla="*/ 272718 w 1501443"/>
                  <a:gd name="connsiteY44" fmla="*/ 948495 h 1065176"/>
                  <a:gd name="connsiteX45" fmla="*/ 291768 w 1501443"/>
                  <a:gd name="connsiteY45" fmla="*/ 946113 h 1065176"/>
                  <a:gd name="connsiteX46" fmla="*/ 306055 w 1501443"/>
                  <a:gd name="connsiteY46" fmla="*/ 936588 h 1065176"/>
                  <a:gd name="connsiteX47" fmla="*/ 313199 w 1501443"/>
                  <a:gd name="connsiteY47" fmla="*/ 931826 h 1065176"/>
                  <a:gd name="connsiteX48" fmla="*/ 334630 w 1501443"/>
                  <a:gd name="connsiteY48" fmla="*/ 924682 h 1065176"/>
                  <a:gd name="connsiteX49" fmla="*/ 341774 w 1501443"/>
                  <a:gd name="connsiteY49" fmla="*/ 922301 h 1065176"/>
                  <a:gd name="connsiteX50" fmla="*/ 375111 w 1501443"/>
                  <a:gd name="connsiteY50" fmla="*/ 924682 h 1065176"/>
                  <a:gd name="connsiteX51" fmla="*/ 382255 w 1501443"/>
                  <a:gd name="connsiteY51" fmla="*/ 927063 h 1065176"/>
                  <a:gd name="connsiteX52" fmla="*/ 417974 w 1501443"/>
                  <a:gd name="connsiteY52" fmla="*/ 931826 h 1065176"/>
                  <a:gd name="connsiteX53" fmla="*/ 422736 w 1501443"/>
                  <a:gd name="connsiteY53" fmla="*/ 938970 h 1065176"/>
                  <a:gd name="connsiteX54" fmla="*/ 439405 w 1501443"/>
                  <a:gd name="connsiteY54" fmla="*/ 929445 h 1065176"/>
                  <a:gd name="connsiteX55" fmla="*/ 441786 w 1501443"/>
                  <a:gd name="connsiteY55" fmla="*/ 922301 h 1065176"/>
                  <a:gd name="connsiteX56" fmla="*/ 467980 w 1501443"/>
                  <a:gd name="connsiteY56" fmla="*/ 922301 h 1065176"/>
                  <a:gd name="connsiteX57" fmla="*/ 482268 w 1501443"/>
                  <a:gd name="connsiteY57" fmla="*/ 934207 h 1065176"/>
                  <a:gd name="connsiteX58" fmla="*/ 491793 w 1501443"/>
                  <a:gd name="connsiteY58" fmla="*/ 948495 h 1065176"/>
                  <a:gd name="connsiteX59" fmla="*/ 491793 w 1501443"/>
                  <a:gd name="connsiteY59" fmla="*/ 977070 h 1065176"/>
                  <a:gd name="connsiteX60" fmla="*/ 494174 w 1501443"/>
                  <a:gd name="connsiteY60" fmla="*/ 1065176 h 1065176"/>
                  <a:gd name="connsiteX61" fmla="*/ 529893 w 1501443"/>
                  <a:gd name="connsiteY61" fmla="*/ 1062795 h 1065176"/>
                  <a:gd name="connsiteX62" fmla="*/ 544180 w 1501443"/>
                  <a:gd name="connsiteY62" fmla="*/ 1048507 h 1065176"/>
                  <a:gd name="connsiteX63" fmla="*/ 551324 w 1501443"/>
                  <a:gd name="connsiteY63" fmla="*/ 1046126 h 1065176"/>
                  <a:gd name="connsiteX64" fmla="*/ 567993 w 1501443"/>
                  <a:gd name="connsiteY64" fmla="*/ 1034220 h 1065176"/>
                  <a:gd name="connsiteX65" fmla="*/ 575136 w 1501443"/>
                  <a:gd name="connsiteY65" fmla="*/ 1029457 h 1065176"/>
                  <a:gd name="connsiteX66" fmla="*/ 584661 w 1501443"/>
                  <a:gd name="connsiteY66" fmla="*/ 1027076 h 1065176"/>
                  <a:gd name="connsiteX67" fmla="*/ 598949 w 1501443"/>
                  <a:gd name="connsiteY67" fmla="*/ 1019932 h 1065176"/>
                  <a:gd name="connsiteX68" fmla="*/ 613236 w 1501443"/>
                  <a:gd name="connsiteY68" fmla="*/ 1022313 h 1065176"/>
                  <a:gd name="connsiteX69" fmla="*/ 620380 w 1501443"/>
                  <a:gd name="connsiteY69" fmla="*/ 1024695 h 1065176"/>
                  <a:gd name="connsiteX70" fmla="*/ 644193 w 1501443"/>
                  <a:gd name="connsiteY70" fmla="*/ 1031838 h 1065176"/>
                  <a:gd name="connsiteX71" fmla="*/ 653718 w 1501443"/>
                  <a:gd name="connsiteY71" fmla="*/ 1036601 h 1065176"/>
                  <a:gd name="connsiteX72" fmla="*/ 668005 w 1501443"/>
                  <a:gd name="connsiteY72" fmla="*/ 1041363 h 1065176"/>
                  <a:gd name="connsiteX73" fmla="*/ 675149 w 1501443"/>
                  <a:gd name="connsiteY73" fmla="*/ 1043745 h 1065176"/>
                  <a:gd name="connsiteX74" fmla="*/ 708486 w 1501443"/>
                  <a:gd name="connsiteY74" fmla="*/ 1041363 h 1065176"/>
                  <a:gd name="connsiteX75" fmla="*/ 715630 w 1501443"/>
                  <a:gd name="connsiteY75" fmla="*/ 1038982 h 1065176"/>
                  <a:gd name="connsiteX76" fmla="*/ 729918 w 1501443"/>
                  <a:gd name="connsiteY76" fmla="*/ 1029457 h 1065176"/>
                  <a:gd name="connsiteX77" fmla="*/ 744205 w 1501443"/>
                  <a:gd name="connsiteY77" fmla="*/ 1017551 h 1065176"/>
                  <a:gd name="connsiteX78" fmla="*/ 753730 w 1501443"/>
                  <a:gd name="connsiteY78" fmla="*/ 1015170 h 1065176"/>
                  <a:gd name="connsiteX79" fmla="*/ 768018 w 1501443"/>
                  <a:gd name="connsiteY79" fmla="*/ 1010407 h 1065176"/>
                  <a:gd name="connsiteX80" fmla="*/ 775161 w 1501443"/>
                  <a:gd name="connsiteY80" fmla="*/ 1008026 h 1065176"/>
                  <a:gd name="connsiteX81" fmla="*/ 789449 w 1501443"/>
                  <a:gd name="connsiteY81" fmla="*/ 996120 h 1065176"/>
                  <a:gd name="connsiteX82" fmla="*/ 791830 w 1501443"/>
                  <a:gd name="connsiteY82" fmla="*/ 981832 h 1065176"/>
                  <a:gd name="connsiteX83" fmla="*/ 794211 w 1501443"/>
                  <a:gd name="connsiteY83" fmla="*/ 974688 h 1065176"/>
                  <a:gd name="connsiteX84" fmla="*/ 796593 w 1501443"/>
                  <a:gd name="connsiteY84" fmla="*/ 950876 h 1065176"/>
                  <a:gd name="connsiteX85" fmla="*/ 798974 w 1501443"/>
                  <a:gd name="connsiteY85" fmla="*/ 936588 h 1065176"/>
                  <a:gd name="connsiteX86" fmla="*/ 806118 w 1501443"/>
                  <a:gd name="connsiteY86" fmla="*/ 934207 h 1065176"/>
                  <a:gd name="connsiteX87" fmla="*/ 820405 w 1501443"/>
                  <a:gd name="connsiteY87" fmla="*/ 936588 h 1065176"/>
                  <a:gd name="connsiteX88" fmla="*/ 832311 w 1501443"/>
                  <a:gd name="connsiteY88" fmla="*/ 950876 h 1065176"/>
                  <a:gd name="connsiteX89" fmla="*/ 846599 w 1501443"/>
                  <a:gd name="connsiteY89" fmla="*/ 960401 h 1065176"/>
                  <a:gd name="connsiteX90" fmla="*/ 848980 w 1501443"/>
                  <a:gd name="connsiteY90" fmla="*/ 967545 h 1065176"/>
                  <a:gd name="connsiteX91" fmla="*/ 858505 w 1501443"/>
                  <a:gd name="connsiteY91" fmla="*/ 981832 h 1065176"/>
                  <a:gd name="connsiteX92" fmla="*/ 863268 w 1501443"/>
                  <a:gd name="connsiteY92" fmla="*/ 988976 h 1065176"/>
                  <a:gd name="connsiteX93" fmla="*/ 870411 w 1501443"/>
                  <a:gd name="connsiteY93" fmla="*/ 996120 h 1065176"/>
                  <a:gd name="connsiteX94" fmla="*/ 877555 w 1501443"/>
                  <a:gd name="connsiteY94" fmla="*/ 991357 h 1065176"/>
                  <a:gd name="connsiteX95" fmla="*/ 884699 w 1501443"/>
                  <a:gd name="connsiteY95" fmla="*/ 977070 h 1065176"/>
                  <a:gd name="connsiteX96" fmla="*/ 891843 w 1501443"/>
                  <a:gd name="connsiteY96" fmla="*/ 974688 h 1065176"/>
                  <a:gd name="connsiteX97" fmla="*/ 903749 w 1501443"/>
                  <a:gd name="connsiteY97" fmla="*/ 972307 h 1065176"/>
                  <a:gd name="connsiteX98" fmla="*/ 913274 w 1501443"/>
                  <a:gd name="connsiteY98" fmla="*/ 969926 h 1065176"/>
                  <a:gd name="connsiteX99" fmla="*/ 939468 w 1501443"/>
                  <a:gd name="connsiteY99" fmla="*/ 979451 h 1065176"/>
                  <a:gd name="connsiteX100" fmla="*/ 941849 w 1501443"/>
                  <a:gd name="connsiteY100" fmla="*/ 988976 h 1065176"/>
                  <a:gd name="connsiteX101" fmla="*/ 944230 w 1501443"/>
                  <a:gd name="connsiteY101" fmla="*/ 1017551 h 1065176"/>
                  <a:gd name="connsiteX102" fmla="*/ 946611 w 1501443"/>
                  <a:gd name="connsiteY102" fmla="*/ 1024695 h 1065176"/>
                  <a:gd name="connsiteX103" fmla="*/ 953755 w 1501443"/>
                  <a:gd name="connsiteY103" fmla="*/ 1029457 h 1065176"/>
                  <a:gd name="connsiteX104" fmla="*/ 979949 w 1501443"/>
                  <a:gd name="connsiteY104" fmla="*/ 1024695 h 1065176"/>
                  <a:gd name="connsiteX105" fmla="*/ 987093 w 1501443"/>
                  <a:gd name="connsiteY105" fmla="*/ 1022313 h 1065176"/>
                  <a:gd name="connsiteX106" fmla="*/ 1022811 w 1501443"/>
                  <a:gd name="connsiteY106" fmla="*/ 1027076 h 1065176"/>
                  <a:gd name="connsiteX107" fmla="*/ 1053768 w 1501443"/>
                  <a:gd name="connsiteY107" fmla="*/ 1031838 h 1065176"/>
                  <a:gd name="connsiteX108" fmla="*/ 1070436 w 1501443"/>
                  <a:gd name="connsiteY108" fmla="*/ 1029457 h 1065176"/>
                  <a:gd name="connsiteX109" fmla="*/ 1077580 w 1501443"/>
                  <a:gd name="connsiteY109" fmla="*/ 1027076 h 1065176"/>
                  <a:gd name="connsiteX110" fmla="*/ 1087105 w 1501443"/>
                  <a:gd name="connsiteY110" fmla="*/ 1024695 h 1065176"/>
                  <a:gd name="connsiteX111" fmla="*/ 1101393 w 1501443"/>
                  <a:gd name="connsiteY111" fmla="*/ 1019932 h 1065176"/>
                  <a:gd name="connsiteX112" fmla="*/ 1118061 w 1501443"/>
                  <a:gd name="connsiteY112" fmla="*/ 1017551 h 1065176"/>
                  <a:gd name="connsiteX113" fmla="*/ 1129968 w 1501443"/>
                  <a:gd name="connsiteY113" fmla="*/ 1000882 h 1065176"/>
                  <a:gd name="connsiteX114" fmla="*/ 1132349 w 1501443"/>
                  <a:gd name="connsiteY114" fmla="*/ 993738 h 1065176"/>
                  <a:gd name="connsiteX115" fmla="*/ 1141874 w 1501443"/>
                  <a:gd name="connsiteY115" fmla="*/ 977070 h 1065176"/>
                  <a:gd name="connsiteX116" fmla="*/ 1144255 w 1501443"/>
                  <a:gd name="connsiteY116" fmla="*/ 965163 h 1065176"/>
                  <a:gd name="connsiteX117" fmla="*/ 1146636 w 1501443"/>
                  <a:gd name="connsiteY117" fmla="*/ 958020 h 1065176"/>
                  <a:gd name="connsiteX118" fmla="*/ 1149018 w 1501443"/>
                  <a:gd name="connsiteY118" fmla="*/ 934207 h 1065176"/>
                  <a:gd name="connsiteX119" fmla="*/ 1153780 w 1501443"/>
                  <a:gd name="connsiteY119" fmla="*/ 924682 h 1065176"/>
                  <a:gd name="connsiteX120" fmla="*/ 1158543 w 1501443"/>
                  <a:gd name="connsiteY120" fmla="*/ 912776 h 1065176"/>
                  <a:gd name="connsiteX121" fmla="*/ 1170449 w 1501443"/>
                  <a:gd name="connsiteY121" fmla="*/ 896107 h 1065176"/>
                  <a:gd name="connsiteX122" fmla="*/ 1189499 w 1501443"/>
                  <a:gd name="connsiteY122" fmla="*/ 869913 h 1065176"/>
                  <a:gd name="connsiteX123" fmla="*/ 1213311 w 1501443"/>
                  <a:gd name="connsiteY123" fmla="*/ 855626 h 1065176"/>
                  <a:gd name="connsiteX124" fmla="*/ 1220455 w 1501443"/>
                  <a:gd name="connsiteY124" fmla="*/ 848482 h 1065176"/>
                  <a:gd name="connsiteX125" fmla="*/ 1227599 w 1501443"/>
                  <a:gd name="connsiteY125" fmla="*/ 843720 h 1065176"/>
                  <a:gd name="connsiteX126" fmla="*/ 1234743 w 1501443"/>
                  <a:gd name="connsiteY126" fmla="*/ 834195 h 1065176"/>
                  <a:gd name="connsiteX127" fmla="*/ 1239505 w 1501443"/>
                  <a:gd name="connsiteY127" fmla="*/ 815145 h 1065176"/>
                  <a:gd name="connsiteX128" fmla="*/ 1258555 w 1501443"/>
                  <a:gd name="connsiteY128" fmla="*/ 800857 h 1065176"/>
                  <a:gd name="connsiteX129" fmla="*/ 1265699 w 1501443"/>
                  <a:gd name="connsiteY129" fmla="*/ 796095 h 1065176"/>
                  <a:gd name="connsiteX130" fmla="*/ 1268080 w 1501443"/>
                  <a:gd name="connsiteY130" fmla="*/ 746088 h 1065176"/>
                  <a:gd name="connsiteX131" fmla="*/ 1277605 w 1501443"/>
                  <a:gd name="connsiteY131" fmla="*/ 724657 h 1065176"/>
                  <a:gd name="connsiteX132" fmla="*/ 1291893 w 1501443"/>
                  <a:gd name="connsiteY132" fmla="*/ 722276 h 1065176"/>
                  <a:gd name="connsiteX133" fmla="*/ 1334755 w 1501443"/>
                  <a:gd name="connsiteY133" fmla="*/ 719895 h 1065176"/>
                  <a:gd name="connsiteX134" fmla="*/ 1341899 w 1501443"/>
                  <a:gd name="connsiteY134" fmla="*/ 717513 h 1065176"/>
                  <a:gd name="connsiteX135" fmla="*/ 1349043 w 1501443"/>
                  <a:gd name="connsiteY135" fmla="*/ 707988 h 1065176"/>
                  <a:gd name="connsiteX136" fmla="*/ 1356186 w 1501443"/>
                  <a:gd name="connsiteY136" fmla="*/ 703226 h 1065176"/>
                  <a:gd name="connsiteX137" fmla="*/ 1360949 w 1501443"/>
                  <a:gd name="connsiteY137" fmla="*/ 696082 h 1065176"/>
                  <a:gd name="connsiteX138" fmla="*/ 1368093 w 1501443"/>
                  <a:gd name="connsiteY138" fmla="*/ 688938 h 1065176"/>
                  <a:gd name="connsiteX139" fmla="*/ 1370474 w 1501443"/>
                  <a:gd name="connsiteY139" fmla="*/ 681795 h 1065176"/>
                  <a:gd name="connsiteX140" fmla="*/ 1389524 w 1501443"/>
                  <a:gd name="connsiteY140" fmla="*/ 653220 h 1065176"/>
                  <a:gd name="connsiteX141" fmla="*/ 1396668 w 1501443"/>
                  <a:gd name="connsiteY141" fmla="*/ 648457 h 1065176"/>
                  <a:gd name="connsiteX142" fmla="*/ 1406193 w 1501443"/>
                  <a:gd name="connsiteY142" fmla="*/ 634170 h 1065176"/>
                  <a:gd name="connsiteX143" fmla="*/ 1413336 w 1501443"/>
                  <a:gd name="connsiteY143" fmla="*/ 619882 h 1065176"/>
                  <a:gd name="connsiteX144" fmla="*/ 1418099 w 1501443"/>
                  <a:gd name="connsiteY144" fmla="*/ 603213 h 1065176"/>
                  <a:gd name="connsiteX145" fmla="*/ 1422861 w 1501443"/>
                  <a:gd name="connsiteY145" fmla="*/ 596070 h 1065176"/>
                  <a:gd name="connsiteX146" fmla="*/ 1430005 w 1501443"/>
                  <a:gd name="connsiteY146" fmla="*/ 584163 h 1065176"/>
                  <a:gd name="connsiteX147" fmla="*/ 1432386 w 1501443"/>
                  <a:gd name="connsiteY147" fmla="*/ 577020 h 1065176"/>
                  <a:gd name="connsiteX148" fmla="*/ 1437149 w 1501443"/>
                  <a:gd name="connsiteY148" fmla="*/ 557970 h 1065176"/>
                  <a:gd name="connsiteX149" fmla="*/ 1444293 w 1501443"/>
                  <a:gd name="connsiteY149" fmla="*/ 536538 h 1065176"/>
                  <a:gd name="connsiteX150" fmla="*/ 1458580 w 1501443"/>
                  <a:gd name="connsiteY150" fmla="*/ 524632 h 1065176"/>
                  <a:gd name="connsiteX151" fmla="*/ 1468105 w 1501443"/>
                  <a:gd name="connsiteY151" fmla="*/ 522251 h 1065176"/>
                  <a:gd name="connsiteX152" fmla="*/ 1487155 w 1501443"/>
                  <a:gd name="connsiteY152" fmla="*/ 517488 h 1065176"/>
                  <a:gd name="connsiteX153" fmla="*/ 1499061 w 1501443"/>
                  <a:gd name="connsiteY153" fmla="*/ 448432 h 1065176"/>
                  <a:gd name="connsiteX154" fmla="*/ 1501443 w 1501443"/>
                  <a:gd name="connsiteY154" fmla="*/ 431763 h 1065176"/>
                  <a:gd name="connsiteX155" fmla="*/ 1480011 w 1501443"/>
                  <a:gd name="connsiteY155" fmla="*/ 412713 h 1065176"/>
                  <a:gd name="connsiteX156" fmla="*/ 1453818 w 1501443"/>
                  <a:gd name="connsiteY156" fmla="*/ 393663 h 1065176"/>
                  <a:gd name="connsiteX157" fmla="*/ 1430005 w 1501443"/>
                  <a:gd name="connsiteY157" fmla="*/ 386520 h 1065176"/>
                  <a:gd name="connsiteX158" fmla="*/ 1422861 w 1501443"/>
                  <a:gd name="connsiteY158" fmla="*/ 384138 h 1065176"/>
                  <a:gd name="connsiteX159" fmla="*/ 1399049 w 1501443"/>
                  <a:gd name="connsiteY159" fmla="*/ 376995 h 1065176"/>
                  <a:gd name="connsiteX160" fmla="*/ 1389524 w 1501443"/>
                  <a:gd name="connsiteY160" fmla="*/ 372232 h 1065176"/>
                  <a:gd name="connsiteX161" fmla="*/ 1379999 w 1501443"/>
                  <a:gd name="connsiteY161" fmla="*/ 357945 h 1065176"/>
                  <a:gd name="connsiteX162" fmla="*/ 1375236 w 1501443"/>
                  <a:gd name="connsiteY162" fmla="*/ 341276 h 1065176"/>
                  <a:gd name="connsiteX163" fmla="*/ 1375236 w 1501443"/>
                  <a:gd name="connsiteY163" fmla="*/ 303176 h 1065176"/>
                  <a:gd name="connsiteX164" fmla="*/ 1368093 w 1501443"/>
                  <a:gd name="connsiteY164" fmla="*/ 257932 h 1065176"/>
                  <a:gd name="connsiteX165" fmla="*/ 1365711 w 1501443"/>
                  <a:gd name="connsiteY165" fmla="*/ 250788 h 1065176"/>
                  <a:gd name="connsiteX166" fmla="*/ 1368093 w 1501443"/>
                  <a:gd name="connsiteY166" fmla="*/ 229357 h 1065176"/>
                  <a:gd name="connsiteX167" fmla="*/ 1372855 w 1501443"/>
                  <a:gd name="connsiteY167" fmla="*/ 203163 h 1065176"/>
                  <a:gd name="connsiteX168" fmla="*/ 1360949 w 1501443"/>
                  <a:gd name="connsiteY168" fmla="*/ 172207 h 1065176"/>
                  <a:gd name="connsiteX169" fmla="*/ 1351424 w 1501443"/>
                  <a:gd name="connsiteY169" fmla="*/ 169826 h 1065176"/>
                  <a:gd name="connsiteX170" fmla="*/ 1341899 w 1501443"/>
                  <a:gd name="connsiteY170" fmla="*/ 172207 h 1065176"/>
                  <a:gd name="connsiteX171" fmla="*/ 1339518 w 1501443"/>
                  <a:gd name="connsiteY171" fmla="*/ 179351 h 1065176"/>
                  <a:gd name="connsiteX172" fmla="*/ 1332374 w 1501443"/>
                  <a:gd name="connsiteY172" fmla="*/ 196020 h 1065176"/>
                  <a:gd name="connsiteX173" fmla="*/ 1322849 w 1501443"/>
                  <a:gd name="connsiteY173" fmla="*/ 198401 h 1065176"/>
                  <a:gd name="connsiteX174" fmla="*/ 1310943 w 1501443"/>
                  <a:gd name="connsiteY174" fmla="*/ 203163 h 1065176"/>
                  <a:gd name="connsiteX175" fmla="*/ 1289511 w 1501443"/>
                  <a:gd name="connsiteY175" fmla="*/ 200782 h 1065176"/>
                  <a:gd name="connsiteX176" fmla="*/ 1296655 w 1501443"/>
                  <a:gd name="connsiteY176" fmla="*/ 174588 h 1065176"/>
                  <a:gd name="connsiteX177" fmla="*/ 1313324 w 1501443"/>
                  <a:gd name="connsiteY177" fmla="*/ 157920 h 1065176"/>
                  <a:gd name="connsiteX178" fmla="*/ 1315705 w 1501443"/>
                  <a:gd name="connsiteY178" fmla="*/ 148395 h 1065176"/>
                  <a:gd name="connsiteX179" fmla="*/ 1320468 w 1501443"/>
                  <a:gd name="connsiteY179" fmla="*/ 134107 h 1065176"/>
                  <a:gd name="connsiteX180" fmla="*/ 1322849 w 1501443"/>
                  <a:gd name="connsiteY180" fmla="*/ 122201 h 1065176"/>
                  <a:gd name="connsiteX181" fmla="*/ 1320468 w 1501443"/>
                  <a:gd name="connsiteY181" fmla="*/ 93626 h 1065176"/>
                  <a:gd name="connsiteX182" fmla="*/ 1318086 w 1501443"/>
                  <a:gd name="connsiteY182" fmla="*/ 84101 h 1065176"/>
                  <a:gd name="connsiteX183" fmla="*/ 1320468 w 1501443"/>
                  <a:gd name="connsiteY183" fmla="*/ 43620 h 1065176"/>
                  <a:gd name="connsiteX184" fmla="*/ 1318086 w 1501443"/>
                  <a:gd name="connsiteY184" fmla="*/ 10282 h 1065176"/>
                  <a:gd name="connsiteX185" fmla="*/ 1310943 w 1501443"/>
                  <a:gd name="connsiteY185" fmla="*/ 5520 h 1065176"/>
                  <a:gd name="connsiteX186" fmla="*/ 1275224 w 1501443"/>
                  <a:gd name="connsiteY186" fmla="*/ 3138 h 1065176"/>
                  <a:gd name="connsiteX187" fmla="*/ 1220455 w 1501443"/>
                  <a:gd name="connsiteY187" fmla="*/ 3138 h 1065176"/>
                  <a:gd name="connsiteX188" fmla="*/ 1208549 w 1501443"/>
                  <a:gd name="connsiteY188" fmla="*/ 10282 h 1065176"/>
                  <a:gd name="connsiteX189" fmla="*/ 1199024 w 1501443"/>
                  <a:gd name="connsiteY189" fmla="*/ 15045 h 1065176"/>
                  <a:gd name="connsiteX190" fmla="*/ 1184736 w 1501443"/>
                  <a:gd name="connsiteY190" fmla="*/ 26951 h 1065176"/>
                  <a:gd name="connsiteX191" fmla="*/ 1170449 w 1501443"/>
                  <a:gd name="connsiteY191" fmla="*/ 31713 h 1065176"/>
                  <a:gd name="connsiteX192" fmla="*/ 1068055 w 1501443"/>
                  <a:gd name="connsiteY192" fmla="*/ 29332 h 1065176"/>
                  <a:gd name="connsiteX193" fmla="*/ 1013286 w 1501443"/>
                  <a:gd name="connsiteY193" fmla="*/ 34095 h 1065176"/>
                  <a:gd name="connsiteX194" fmla="*/ 998999 w 1501443"/>
                  <a:gd name="connsiteY194" fmla="*/ 36476 h 1065176"/>
                  <a:gd name="connsiteX195" fmla="*/ 982330 w 1501443"/>
                  <a:gd name="connsiteY195" fmla="*/ 41238 h 1065176"/>
                  <a:gd name="connsiteX196" fmla="*/ 968043 w 1501443"/>
                  <a:gd name="connsiteY196" fmla="*/ 53145 h 1065176"/>
                  <a:gd name="connsiteX197" fmla="*/ 965661 w 1501443"/>
                  <a:gd name="connsiteY197" fmla="*/ 60288 h 1065176"/>
                  <a:gd name="connsiteX198" fmla="*/ 948993 w 1501443"/>
                  <a:gd name="connsiteY198" fmla="*/ 81720 h 1065176"/>
                  <a:gd name="connsiteX199" fmla="*/ 941849 w 1501443"/>
                  <a:gd name="connsiteY199" fmla="*/ 84101 h 1065176"/>
                  <a:gd name="connsiteX200" fmla="*/ 937086 w 1501443"/>
                  <a:gd name="connsiteY200" fmla="*/ 98388 h 1065176"/>
                  <a:gd name="connsiteX201" fmla="*/ 927561 w 1501443"/>
                  <a:gd name="connsiteY201" fmla="*/ 112676 h 1065176"/>
                  <a:gd name="connsiteX202" fmla="*/ 922799 w 1501443"/>
                  <a:gd name="connsiteY202" fmla="*/ 126963 h 1065176"/>
                  <a:gd name="connsiteX203" fmla="*/ 920418 w 1501443"/>
                  <a:gd name="connsiteY203" fmla="*/ 136488 h 1065176"/>
                  <a:gd name="connsiteX204" fmla="*/ 915655 w 1501443"/>
                  <a:gd name="connsiteY204" fmla="*/ 143632 h 1065176"/>
                  <a:gd name="connsiteX205" fmla="*/ 910893 w 1501443"/>
                  <a:gd name="connsiteY205" fmla="*/ 153157 h 1065176"/>
                  <a:gd name="connsiteX206" fmla="*/ 915655 w 1501443"/>
                  <a:gd name="connsiteY206" fmla="*/ 176970 h 1065176"/>
                  <a:gd name="connsiteX207" fmla="*/ 920418 w 1501443"/>
                  <a:gd name="connsiteY207" fmla="*/ 184113 h 1065176"/>
                  <a:gd name="connsiteX208" fmla="*/ 920418 w 1501443"/>
                  <a:gd name="connsiteY208" fmla="*/ 212688 h 1065176"/>
                  <a:gd name="connsiteX209" fmla="*/ 910893 w 1501443"/>
                  <a:gd name="connsiteY209" fmla="*/ 226976 h 1065176"/>
                  <a:gd name="connsiteX210" fmla="*/ 901368 w 1501443"/>
                  <a:gd name="connsiteY210" fmla="*/ 241263 h 1065176"/>
                  <a:gd name="connsiteX211" fmla="*/ 896605 w 1501443"/>
                  <a:gd name="connsiteY211" fmla="*/ 248407 h 1065176"/>
                  <a:gd name="connsiteX212" fmla="*/ 889461 w 1501443"/>
                  <a:gd name="connsiteY212" fmla="*/ 250788 h 1065176"/>
                  <a:gd name="connsiteX213" fmla="*/ 882318 w 1501443"/>
                  <a:gd name="connsiteY213" fmla="*/ 255551 h 1065176"/>
                  <a:gd name="connsiteX214" fmla="*/ 877555 w 1501443"/>
                  <a:gd name="connsiteY214" fmla="*/ 276982 h 1065176"/>
                  <a:gd name="connsiteX215" fmla="*/ 868030 w 1501443"/>
                  <a:gd name="connsiteY215" fmla="*/ 291270 h 1065176"/>
                  <a:gd name="connsiteX216" fmla="*/ 851361 w 1501443"/>
                  <a:gd name="connsiteY216" fmla="*/ 300795 h 1065176"/>
                  <a:gd name="connsiteX217" fmla="*/ 844218 w 1501443"/>
                  <a:gd name="connsiteY217" fmla="*/ 305557 h 1065176"/>
                  <a:gd name="connsiteX218" fmla="*/ 820405 w 1501443"/>
                  <a:gd name="connsiteY218" fmla="*/ 312701 h 1065176"/>
                  <a:gd name="connsiteX219" fmla="*/ 813261 w 1501443"/>
                  <a:gd name="connsiteY219" fmla="*/ 315082 h 1065176"/>
                  <a:gd name="connsiteX220" fmla="*/ 798974 w 1501443"/>
                  <a:gd name="connsiteY220" fmla="*/ 317463 h 1065176"/>
                  <a:gd name="connsiteX221" fmla="*/ 782305 w 1501443"/>
                  <a:gd name="connsiteY221" fmla="*/ 322226 h 1065176"/>
                  <a:gd name="connsiteX222" fmla="*/ 770399 w 1501443"/>
                  <a:gd name="connsiteY222" fmla="*/ 324607 h 1065176"/>
                  <a:gd name="connsiteX223" fmla="*/ 763255 w 1501443"/>
                  <a:gd name="connsiteY223" fmla="*/ 326988 h 1065176"/>
                  <a:gd name="connsiteX224" fmla="*/ 746586 w 1501443"/>
                  <a:gd name="connsiteY224" fmla="*/ 329370 h 1065176"/>
                  <a:gd name="connsiteX225" fmla="*/ 732299 w 1501443"/>
                  <a:gd name="connsiteY225" fmla="*/ 331751 h 1065176"/>
                  <a:gd name="connsiteX226" fmla="*/ 722774 w 1501443"/>
                  <a:gd name="connsiteY226" fmla="*/ 334132 h 1065176"/>
                  <a:gd name="connsiteX227" fmla="*/ 708486 w 1501443"/>
                  <a:gd name="connsiteY227" fmla="*/ 336513 h 1065176"/>
                  <a:gd name="connsiteX228" fmla="*/ 698961 w 1501443"/>
                  <a:gd name="connsiteY228" fmla="*/ 341276 h 1065176"/>
                  <a:gd name="connsiteX229" fmla="*/ 684674 w 1501443"/>
                  <a:gd name="connsiteY229" fmla="*/ 348420 h 1065176"/>
                  <a:gd name="connsiteX230" fmla="*/ 677530 w 1501443"/>
                  <a:gd name="connsiteY230" fmla="*/ 355563 h 1065176"/>
                  <a:gd name="connsiteX231" fmla="*/ 653718 w 1501443"/>
                  <a:gd name="connsiteY231" fmla="*/ 360326 h 1065176"/>
                  <a:gd name="connsiteX232" fmla="*/ 637049 w 1501443"/>
                  <a:gd name="connsiteY232" fmla="*/ 362707 h 1065176"/>
                  <a:gd name="connsiteX233" fmla="*/ 603711 w 1501443"/>
                  <a:gd name="connsiteY233" fmla="*/ 365088 h 1065176"/>
                  <a:gd name="connsiteX234" fmla="*/ 582280 w 1501443"/>
                  <a:gd name="connsiteY234" fmla="*/ 367470 h 1065176"/>
                  <a:gd name="connsiteX235" fmla="*/ 513224 w 1501443"/>
                  <a:gd name="connsiteY235" fmla="*/ 365088 h 1065176"/>
                  <a:gd name="connsiteX236" fmla="*/ 498936 w 1501443"/>
                  <a:gd name="connsiteY236" fmla="*/ 355563 h 1065176"/>
                  <a:gd name="connsiteX237" fmla="*/ 472743 w 1501443"/>
                  <a:gd name="connsiteY237" fmla="*/ 341276 h 1065176"/>
                  <a:gd name="connsiteX238" fmla="*/ 458455 w 1501443"/>
                  <a:gd name="connsiteY238" fmla="*/ 336513 h 1065176"/>
                  <a:gd name="connsiteX239" fmla="*/ 451311 w 1501443"/>
                  <a:gd name="connsiteY239" fmla="*/ 334132 h 1065176"/>
                  <a:gd name="connsiteX240" fmla="*/ 432261 w 1501443"/>
                  <a:gd name="connsiteY240" fmla="*/ 329370 h 1065176"/>
                  <a:gd name="connsiteX241" fmla="*/ 425118 w 1501443"/>
                  <a:gd name="connsiteY241" fmla="*/ 324607 h 1065176"/>
                  <a:gd name="connsiteX242" fmla="*/ 417974 w 1501443"/>
                  <a:gd name="connsiteY242" fmla="*/ 322226 h 1065176"/>
                  <a:gd name="connsiteX243" fmla="*/ 406068 w 1501443"/>
                  <a:gd name="connsiteY243" fmla="*/ 307938 h 1065176"/>
                  <a:gd name="connsiteX244" fmla="*/ 398924 w 1501443"/>
                  <a:gd name="connsiteY244" fmla="*/ 286507 h 1065176"/>
                  <a:gd name="connsiteX245" fmla="*/ 389399 w 1501443"/>
                  <a:gd name="connsiteY245" fmla="*/ 269838 h 1065176"/>
                  <a:gd name="connsiteX246" fmla="*/ 375111 w 1501443"/>
                  <a:gd name="connsiteY246" fmla="*/ 260313 h 1065176"/>
                  <a:gd name="connsiteX247" fmla="*/ 367968 w 1501443"/>
                  <a:gd name="connsiteY247" fmla="*/ 257932 h 1065176"/>
                  <a:gd name="connsiteX248" fmla="*/ 351299 w 1501443"/>
                  <a:gd name="connsiteY248" fmla="*/ 260313 h 1065176"/>
                  <a:gd name="connsiteX249" fmla="*/ 337011 w 1501443"/>
                  <a:gd name="connsiteY249" fmla="*/ 272220 h 1065176"/>
                  <a:gd name="connsiteX250" fmla="*/ 329868 w 1501443"/>
                  <a:gd name="connsiteY250" fmla="*/ 286507 h 1065176"/>
                  <a:gd name="connsiteX251" fmla="*/ 315580 w 1501443"/>
                  <a:gd name="connsiteY251" fmla="*/ 300795 h 1065176"/>
                  <a:gd name="connsiteX252" fmla="*/ 308436 w 1501443"/>
                  <a:gd name="connsiteY252" fmla="*/ 307938 h 1065176"/>
                  <a:gd name="connsiteX253" fmla="*/ 301293 w 1501443"/>
                  <a:gd name="connsiteY253" fmla="*/ 310320 h 1065176"/>
                  <a:gd name="connsiteX254" fmla="*/ 294149 w 1501443"/>
                  <a:gd name="connsiteY254" fmla="*/ 315082 h 1065176"/>
                  <a:gd name="connsiteX255" fmla="*/ 284624 w 1501443"/>
                  <a:gd name="connsiteY255" fmla="*/ 317463 h 1065176"/>
                  <a:gd name="connsiteX256" fmla="*/ 277480 w 1501443"/>
                  <a:gd name="connsiteY256" fmla="*/ 319845 h 1065176"/>
                  <a:gd name="connsiteX257" fmla="*/ 267955 w 1501443"/>
                  <a:gd name="connsiteY257" fmla="*/ 322226 h 1065176"/>
                  <a:gd name="connsiteX258" fmla="*/ 260811 w 1501443"/>
                  <a:gd name="connsiteY258" fmla="*/ 324607 h 1065176"/>
                  <a:gd name="connsiteX259" fmla="*/ 244143 w 1501443"/>
                  <a:gd name="connsiteY259" fmla="*/ 329370 h 1065176"/>
                  <a:gd name="connsiteX260" fmla="*/ 220330 w 1501443"/>
                  <a:gd name="connsiteY260" fmla="*/ 326988 h 1065176"/>
                  <a:gd name="connsiteX261" fmla="*/ 217949 w 1501443"/>
                  <a:gd name="connsiteY261" fmla="*/ 319845 h 1065176"/>
                  <a:gd name="connsiteX262" fmla="*/ 213186 w 1501443"/>
                  <a:gd name="connsiteY262" fmla="*/ 312701 h 1065176"/>
                  <a:gd name="connsiteX263" fmla="*/ 191755 w 1501443"/>
                  <a:gd name="connsiteY263" fmla="*/ 305557 h 1065176"/>
                  <a:gd name="connsiteX264" fmla="*/ 170324 w 1501443"/>
                  <a:gd name="connsiteY264" fmla="*/ 300795 h 1065176"/>
                  <a:gd name="connsiteX265" fmla="*/ 139368 w 1501443"/>
                  <a:gd name="connsiteY265" fmla="*/ 303176 h 1065176"/>
                  <a:gd name="connsiteX266" fmla="*/ 115555 w 1501443"/>
                  <a:gd name="connsiteY266" fmla="*/ 312701 h 1065176"/>
                  <a:gd name="connsiteX267" fmla="*/ 103649 w 1501443"/>
                  <a:gd name="connsiteY267" fmla="*/ 317463 h 1065176"/>
                  <a:gd name="connsiteX268" fmla="*/ 91743 w 1501443"/>
                  <a:gd name="connsiteY268" fmla="*/ 319845 h 1065176"/>
                  <a:gd name="connsiteX269" fmla="*/ 77455 w 1501443"/>
                  <a:gd name="connsiteY269" fmla="*/ 324607 h 1065176"/>
                  <a:gd name="connsiteX270" fmla="*/ 75074 w 1501443"/>
                  <a:gd name="connsiteY270" fmla="*/ 331751 h 1065176"/>
                  <a:gd name="connsiteX271" fmla="*/ 70311 w 1501443"/>
                  <a:gd name="connsiteY271" fmla="*/ 338895 h 1065176"/>
                  <a:gd name="connsiteX272" fmla="*/ 65549 w 1501443"/>
                  <a:gd name="connsiteY272" fmla="*/ 353182 h 1065176"/>
                  <a:gd name="connsiteX273" fmla="*/ 63168 w 1501443"/>
                  <a:gd name="connsiteY273" fmla="*/ 360326 h 1065176"/>
                  <a:gd name="connsiteX274" fmla="*/ 60786 w 1501443"/>
                  <a:gd name="connsiteY274" fmla="*/ 367470 h 1065176"/>
                  <a:gd name="connsiteX275" fmla="*/ 67930 w 1501443"/>
                  <a:gd name="connsiteY275" fmla="*/ 369851 h 1065176"/>
                  <a:gd name="connsiteX276" fmla="*/ 72693 w 1501443"/>
                  <a:gd name="connsiteY276" fmla="*/ 384138 h 1065176"/>
                  <a:gd name="connsiteX277" fmla="*/ 65549 w 1501443"/>
                  <a:gd name="connsiteY277" fmla="*/ 407951 h 1065176"/>
                  <a:gd name="connsiteX278" fmla="*/ 58405 w 1501443"/>
                  <a:gd name="connsiteY278" fmla="*/ 410332 h 1065176"/>
                  <a:gd name="connsiteX279" fmla="*/ 41736 w 1501443"/>
                  <a:gd name="connsiteY279" fmla="*/ 412713 h 1065176"/>
                  <a:gd name="connsiteX280" fmla="*/ 1255 w 1501443"/>
                  <a:gd name="connsiteY280" fmla="*/ 431763 h 106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1501443" h="1065176">
                    <a:moveTo>
                      <a:pt x="1255" y="431763"/>
                    </a:moveTo>
                    <a:cubicBezTo>
                      <a:pt x="-3904" y="436922"/>
                      <a:pt x="8346" y="439208"/>
                      <a:pt x="10780" y="443670"/>
                    </a:cubicBezTo>
                    <a:cubicBezTo>
                      <a:pt x="13184" y="448077"/>
                      <a:pt x="13955" y="453195"/>
                      <a:pt x="15543" y="457957"/>
                    </a:cubicBezTo>
                    <a:lnTo>
                      <a:pt x="22686" y="479388"/>
                    </a:lnTo>
                    <a:cubicBezTo>
                      <a:pt x="23480" y="481769"/>
                      <a:pt x="24576" y="484071"/>
                      <a:pt x="25068" y="486532"/>
                    </a:cubicBezTo>
                    <a:cubicBezTo>
                      <a:pt x="25862" y="490501"/>
                      <a:pt x="25441" y="494924"/>
                      <a:pt x="27449" y="498438"/>
                    </a:cubicBezTo>
                    <a:cubicBezTo>
                      <a:pt x="29622" y="502240"/>
                      <a:pt x="38069" y="504360"/>
                      <a:pt x="41736" y="505582"/>
                    </a:cubicBezTo>
                    <a:cubicBezTo>
                      <a:pt x="42530" y="507963"/>
                      <a:pt x="43458" y="510304"/>
                      <a:pt x="44118" y="512726"/>
                    </a:cubicBezTo>
                    <a:cubicBezTo>
                      <a:pt x="48424" y="528514"/>
                      <a:pt x="48485" y="529802"/>
                      <a:pt x="51261" y="543682"/>
                    </a:cubicBezTo>
                    <a:cubicBezTo>
                      <a:pt x="50467" y="565907"/>
                      <a:pt x="50312" y="588164"/>
                      <a:pt x="48880" y="610357"/>
                    </a:cubicBezTo>
                    <a:cubicBezTo>
                      <a:pt x="48718" y="612862"/>
                      <a:pt x="48067" y="615541"/>
                      <a:pt x="46499" y="617501"/>
                    </a:cubicBezTo>
                    <a:cubicBezTo>
                      <a:pt x="44711" y="619736"/>
                      <a:pt x="41736" y="620676"/>
                      <a:pt x="39355" y="622263"/>
                    </a:cubicBezTo>
                    <a:cubicBezTo>
                      <a:pt x="34002" y="621498"/>
                      <a:pt x="21840" y="617226"/>
                      <a:pt x="15543" y="622263"/>
                    </a:cubicBezTo>
                    <a:cubicBezTo>
                      <a:pt x="13308" y="624051"/>
                      <a:pt x="12368" y="627026"/>
                      <a:pt x="10780" y="629407"/>
                    </a:cubicBezTo>
                    <a:cubicBezTo>
                      <a:pt x="11574" y="631788"/>
                      <a:pt x="11386" y="634776"/>
                      <a:pt x="13161" y="636551"/>
                    </a:cubicBezTo>
                    <a:cubicBezTo>
                      <a:pt x="23552" y="646942"/>
                      <a:pt x="25681" y="645231"/>
                      <a:pt x="36974" y="648457"/>
                    </a:cubicBezTo>
                    <a:cubicBezTo>
                      <a:pt x="39388" y="649147"/>
                      <a:pt x="41737" y="650044"/>
                      <a:pt x="44118" y="650838"/>
                    </a:cubicBezTo>
                    <a:cubicBezTo>
                      <a:pt x="46499" y="652426"/>
                      <a:pt x="49237" y="653577"/>
                      <a:pt x="51261" y="655601"/>
                    </a:cubicBezTo>
                    <a:cubicBezTo>
                      <a:pt x="55436" y="659776"/>
                      <a:pt x="56855" y="664464"/>
                      <a:pt x="58405" y="669888"/>
                    </a:cubicBezTo>
                    <a:cubicBezTo>
                      <a:pt x="60645" y="677729"/>
                      <a:pt x="61532" y="683143"/>
                      <a:pt x="63168" y="691320"/>
                    </a:cubicBezTo>
                    <a:cubicBezTo>
                      <a:pt x="64600" y="715669"/>
                      <a:pt x="62547" y="723384"/>
                      <a:pt x="67930" y="741326"/>
                    </a:cubicBezTo>
                    <a:cubicBezTo>
                      <a:pt x="69373" y="746134"/>
                      <a:pt x="71105" y="750851"/>
                      <a:pt x="72693" y="755613"/>
                    </a:cubicBezTo>
                    <a:lnTo>
                      <a:pt x="75074" y="762757"/>
                    </a:lnTo>
                    <a:cubicBezTo>
                      <a:pt x="64820" y="793524"/>
                      <a:pt x="70975" y="772312"/>
                      <a:pt x="75074" y="846101"/>
                    </a:cubicBezTo>
                    <a:cubicBezTo>
                      <a:pt x="75314" y="850423"/>
                      <a:pt x="81571" y="867973"/>
                      <a:pt x="82218" y="869913"/>
                    </a:cubicBezTo>
                    <a:lnTo>
                      <a:pt x="84599" y="877057"/>
                    </a:lnTo>
                    <a:cubicBezTo>
                      <a:pt x="86079" y="890382"/>
                      <a:pt x="86329" y="898270"/>
                      <a:pt x="89361" y="910395"/>
                    </a:cubicBezTo>
                    <a:cubicBezTo>
                      <a:pt x="89970" y="912830"/>
                      <a:pt x="90949" y="915157"/>
                      <a:pt x="91743" y="917538"/>
                    </a:cubicBezTo>
                    <a:cubicBezTo>
                      <a:pt x="95712" y="916744"/>
                      <a:pt x="100282" y="917402"/>
                      <a:pt x="103649" y="915157"/>
                    </a:cubicBezTo>
                    <a:cubicBezTo>
                      <a:pt x="105738" y="913765"/>
                      <a:pt x="104255" y="909788"/>
                      <a:pt x="106030" y="908013"/>
                    </a:cubicBezTo>
                    <a:cubicBezTo>
                      <a:pt x="110077" y="903966"/>
                      <a:pt x="115555" y="901663"/>
                      <a:pt x="120318" y="898488"/>
                    </a:cubicBezTo>
                    <a:lnTo>
                      <a:pt x="120318" y="898488"/>
                    </a:lnTo>
                    <a:cubicBezTo>
                      <a:pt x="132786" y="894332"/>
                      <a:pt x="124976" y="896462"/>
                      <a:pt x="144130" y="893726"/>
                    </a:cubicBezTo>
                    <a:cubicBezTo>
                      <a:pt x="150480" y="894520"/>
                      <a:pt x="156884" y="894962"/>
                      <a:pt x="163180" y="896107"/>
                    </a:cubicBezTo>
                    <a:cubicBezTo>
                      <a:pt x="165650" y="896556"/>
                      <a:pt x="167910" y="897798"/>
                      <a:pt x="170324" y="898488"/>
                    </a:cubicBezTo>
                    <a:cubicBezTo>
                      <a:pt x="191255" y="904469"/>
                      <a:pt x="169864" y="897542"/>
                      <a:pt x="186993" y="903251"/>
                    </a:cubicBezTo>
                    <a:cubicBezTo>
                      <a:pt x="189393" y="906851"/>
                      <a:pt x="195847" y="915894"/>
                      <a:pt x="196518" y="919920"/>
                    </a:cubicBezTo>
                    <a:cubicBezTo>
                      <a:pt x="205907" y="976251"/>
                      <a:pt x="193838" y="938071"/>
                      <a:pt x="201280" y="960401"/>
                    </a:cubicBezTo>
                    <a:cubicBezTo>
                      <a:pt x="206043" y="959607"/>
                      <a:pt x="211902" y="961162"/>
                      <a:pt x="215568" y="958020"/>
                    </a:cubicBezTo>
                    <a:cubicBezTo>
                      <a:pt x="218641" y="955386"/>
                      <a:pt x="216884" y="950018"/>
                      <a:pt x="217949" y="946113"/>
                    </a:cubicBezTo>
                    <a:cubicBezTo>
                      <a:pt x="222393" y="929815"/>
                      <a:pt x="218504" y="933228"/>
                      <a:pt x="229855" y="929445"/>
                    </a:cubicBezTo>
                    <a:cubicBezTo>
                      <a:pt x="247802" y="935426"/>
                      <a:pt x="225689" y="927361"/>
                      <a:pt x="244143" y="936588"/>
                    </a:cubicBezTo>
                    <a:cubicBezTo>
                      <a:pt x="246388" y="937711"/>
                      <a:pt x="249041" y="937847"/>
                      <a:pt x="251286" y="938970"/>
                    </a:cubicBezTo>
                    <a:cubicBezTo>
                      <a:pt x="253846" y="940250"/>
                      <a:pt x="255815" y="942570"/>
                      <a:pt x="258430" y="943732"/>
                    </a:cubicBezTo>
                    <a:cubicBezTo>
                      <a:pt x="263018" y="945771"/>
                      <a:pt x="272718" y="948495"/>
                      <a:pt x="272718" y="948495"/>
                    </a:cubicBezTo>
                    <a:cubicBezTo>
                      <a:pt x="279068" y="947701"/>
                      <a:pt x="285741" y="948266"/>
                      <a:pt x="291768" y="946113"/>
                    </a:cubicBezTo>
                    <a:cubicBezTo>
                      <a:pt x="297158" y="944188"/>
                      <a:pt x="301293" y="939763"/>
                      <a:pt x="306055" y="936588"/>
                    </a:cubicBezTo>
                    <a:cubicBezTo>
                      <a:pt x="308436" y="935001"/>
                      <a:pt x="310484" y="932731"/>
                      <a:pt x="313199" y="931826"/>
                    </a:cubicBezTo>
                    <a:lnTo>
                      <a:pt x="334630" y="924682"/>
                    </a:lnTo>
                    <a:lnTo>
                      <a:pt x="341774" y="922301"/>
                    </a:lnTo>
                    <a:cubicBezTo>
                      <a:pt x="352886" y="923095"/>
                      <a:pt x="364047" y="923380"/>
                      <a:pt x="375111" y="924682"/>
                    </a:cubicBezTo>
                    <a:cubicBezTo>
                      <a:pt x="377604" y="924975"/>
                      <a:pt x="379805" y="926518"/>
                      <a:pt x="382255" y="927063"/>
                    </a:cubicBezTo>
                    <a:cubicBezTo>
                      <a:pt x="392952" y="929440"/>
                      <a:pt x="407643" y="930678"/>
                      <a:pt x="417974" y="931826"/>
                    </a:cubicBezTo>
                    <a:cubicBezTo>
                      <a:pt x="419561" y="934207"/>
                      <a:pt x="419984" y="938184"/>
                      <a:pt x="422736" y="938970"/>
                    </a:cubicBezTo>
                    <a:cubicBezTo>
                      <a:pt x="433447" y="942030"/>
                      <a:pt x="435227" y="935712"/>
                      <a:pt x="439405" y="929445"/>
                    </a:cubicBezTo>
                    <a:cubicBezTo>
                      <a:pt x="440199" y="927064"/>
                      <a:pt x="440011" y="924076"/>
                      <a:pt x="441786" y="922301"/>
                    </a:cubicBezTo>
                    <a:cubicBezTo>
                      <a:pt x="447169" y="916918"/>
                      <a:pt x="466406" y="922104"/>
                      <a:pt x="467980" y="922301"/>
                    </a:cubicBezTo>
                    <a:cubicBezTo>
                      <a:pt x="474331" y="926534"/>
                      <a:pt x="477331" y="927859"/>
                      <a:pt x="482268" y="934207"/>
                    </a:cubicBezTo>
                    <a:cubicBezTo>
                      <a:pt x="485782" y="938725"/>
                      <a:pt x="491793" y="948495"/>
                      <a:pt x="491793" y="948495"/>
                    </a:cubicBezTo>
                    <a:cubicBezTo>
                      <a:pt x="497375" y="965241"/>
                      <a:pt x="491793" y="945169"/>
                      <a:pt x="491793" y="977070"/>
                    </a:cubicBezTo>
                    <a:cubicBezTo>
                      <a:pt x="491793" y="1006449"/>
                      <a:pt x="493380" y="1035807"/>
                      <a:pt x="494174" y="1065176"/>
                    </a:cubicBezTo>
                    <a:cubicBezTo>
                      <a:pt x="506080" y="1064382"/>
                      <a:pt x="518123" y="1064757"/>
                      <a:pt x="529893" y="1062795"/>
                    </a:cubicBezTo>
                    <a:cubicBezTo>
                      <a:pt x="537294" y="1061561"/>
                      <a:pt x="539540" y="1052373"/>
                      <a:pt x="544180" y="1048507"/>
                    </a:cubicBezTo>
                    <a:cubicBezTo>
                      <a:pt x="546108" y="1046900"/>
                      <a:pt x="548943" y="1046920"/>
                      <a:pt x="551324" y="1046126"/>
                    </a:cubicBezTo>
                    <a:cubicBezTo>
                      <a:pt x="568147" y="1034910"/>
                      <a:pt x="547336" y="1048976"/>
                      <a:pt x="567993" y="1034220"/>
                    </a:cubicBezTo>
                    <a:cubicBezTo>
                      <a:pt x="570322" y="1032557"/>
                      <a:pt x="572506" y="1030584"/>
                      <a:pt x="575136" y="1029457"/>
                    </a:cubicBezTo>
                    <a:cubicBezTo>
                      <a:pt x="578144" y="1028168"/>
                      <a:pt x="581486" y="1027870"/>
                      <a:pt x="584661" y="1027076"/>
                    </a:cubicBezTo>
                    <a:cubicBezTo>
                      <a:pt x="588274" y="1024667"/>
                      <a:pt x="594018" y="1019932"/>
                      <a:pt x="598949" y="1019932"/>
                    </a:cubicBezTo>
                    <a:cubicBezTo>
                      <a:pt x="603777" y="1019932"/>
                      <a:pt x="608474" y="1021519"/>
                      <a:pt x="613236" y="1022313"/>
                    </a:cubicBezTo>
                    <a:cubicBezTo>
                      <a:pt x="615617" y="1023107"/>
                      <a:pt x="617966" y="1024005"/>
                      <a:pt x="620380" y="1024695"/>
                    </a:cubicBezTo>
                    <a:cubicBezTo>
                      <a:pt x="628355" y="1026974"/>
                      <a:pt x="636649" y="1028066"/>
                      <a:pt x="644193" y="1031838"/>
                    </a:cubicBezTo>
                    <a:cubicBezTo>
                      <a:pt x="647368" y="1033426"/>
                      <a:pt x="650422" y="1035283"/>
                      <a:pt x="653718" y="1036601"/>
                    </a:cubicBezTo>
                    <a:cubicBezTo>
                      <a:pt x="658379" y="1038465"/>
                      <a:pt x="663243" y="1039776"/>
                      <a:pt x="668005" y="1041363"/>
                    </a:cubicBezTo>
                    <a:lnTo>
                      <a:pt x="675149" y="1043745"/>
                    </a:lnTo>
                    <a:cubicBezTo>
                      <a:pt x="686261" y="1042951"/>
                      <a:pt x="697422" y="1042665"/>
                      <a:pt x="708486" y="1041363"/>
                    </a:cubicBezTo>
                    <a:cubicBezTo>
                      <a:pt x="710979" y="1041070"/>
                      <a:pt x="713541" y="1040374"/>
                      <a:pt x="715630" y="1038982"/>
                    </a:cubicBezTo>
                    <a:cubicBezTo>
                      <a:pt x="733468" y="1027091"/>
                      <a:pt x="712931" y="1035118"/>
                      <a:pt x="729918" y="1029457"/>
                    </a:cubicBezTo>
                    <a:cubicBezTo>
                      <a:pt x="734211" y="1025164"/>
                      <a:pt x="738401" y="1020038"/>
                      <a:pt x="744205" y="1017551"/>
                    </a:cubicBezTo>
                    <a:cubicBezTo>
                      <a:pt x="747213" y="1016262"/>
                      <a:pt x="750595" y="1016110"/>
                      <a:pt x="753730" y="1015170"/>
                    </a:cubicBezTo>
                    <a:cubicBezTo>
                      <a:pt x="758539" y="1013727"/>
                      <a:pt x="763255" y="1011995"/>
                      <a:pt x="768018" y="1010407"/>
                    </a:cubicBezTo>
                    <a:lnTo>
                      <a:pt x="775161" y="1008026"/>
                    </a:lnTo>
                    <a:cubicBezTo>
                      <a:pt x="778954" y="1005497"/>
                      <a:pt x="787520" y="1000460"/>
                      <a:pt x="789449" y="996120"/>
                    </a:cubicBezTo>
                    <a:cubicBezTo>
                      <a:pt x="791410" y="991708"/>
                      <a:pt x="790783" y="986545"/>
                      <a:pt x="791830" y="981832"/>
                    </a:cubicBezTo>
                    <a:cubicBezTo>
                      <a:pt x="792374" y="979382"/>
                      <a:pt x="793417" y="977069"/>
                      <a:pt x="794211" y="974688"/>
                    </a:cubicBezTo>
                    <a:cubicBezTo>
                      <a:pt x="795005" y="966751"/>
                      <a:pt x="795603" y="958791"/>
                      <a:pt x="796593" y="950876"/>
                    </a:cubicBezTo>
                    <a:cubicBezTo>
                      <a:pt x="797192" y="946085"/>
                      <a:pt x="796578" y="940780"/>
                      <a:pt x="798974" y="936588"/>
                    </a:cubicBezTo>
                    <a:cubicBezTo>
                      <a:pt x="800219" y="934409"/>
                      <a:pt x="803737" y="935001"/>
                      <a:pt x="806118" y="934207"/>
                    </a:cubicBezTo>
                    <a:cubicBezTo>
                      <a:pt x="810880" y="935001"/>
                      <a:pt x="815993" y="934627"/>
                      <a:pt x="820405" y="936588"/>
                    </a:cubicBezTo>
                    <a:cubicBezTo>
                      <a:pt x="829072" y="940440"/>
                      <a:pt x="826106" y="945447"/>
                      <a:pt x="832311" y="950876"/>
                    </a:cubicBezTo>
                    <a:cubicBezTo>
                      <a:pt x="836619" y="954645"/>
                      <a:pt x="846599" y="960401"/>
                      <a:pt x="846599" y="960401"/>
                    </a:cubicBezTo>
                    <a:cubicBezTo>
                      <a:pt x="847393" y="962782"/>
                      <a:pt x="847761" y="965351"/>
                      <a:pt x="848980" y="967545"/>
                    </a:cubicBezTo>
                    <a:cubicBezTo>
                      <a:pt x="851760" y="972548"/>
                      <a:pt x="855330" y="977070"/>
                      <a:pt x="858505" y="981832"/>
                    </a:cubicBezTo>
                    <a:cubicBezTo>
                      <a:pt x="860093" y="984213"/>
                      <a:pt x="861244" y="986952"/>
                      <a:pt x="863268" y="988976"/>
                    </a:cubicBezTo>
                    <a:lnTo>
                      <a:pt x="870411" y="996120"/>
                    </a:lnTo>
                    <a:cubicBezTo>
                      <a:pt x="872792" y="994532"/>
                      <a:pt x="875767" y="993592"/>
                      <a:pt x="877555" y="991357"/>
                    </a:cubicBezTo>
                    <a:cubicBezTo>
                      <a:pt x="885225" y="981769"/>
                      <a:pt x="873545" y="985993"/>
                      <a:pt x="884699" y="977070"/>
                    </a:cubicBezTo>
                    <a:cubicBezTo>
                      <a:pt x="886659" y="975502"/>
                      <a:pt x="889408" y="975297"/>
                      <a:pt x="891843" y="974688"/>
                    </a:cubicBezTo>
                    <a:cubicBezTo>
                      <a:pt x="895769" y="973706"/>
                      <a:pt x="899798" y="973185"/>
                      <a:pt x="903749" y="972307"/>
                    </a:cubicBezTo>
                    <a:cubicBezTo>
                      <a:pt x="906944" y="971597"/>
                      <a:pt x="910099" y="970720"/>
                      <a:pt x="913274" y="969926"/>
                    </a:cubicBezTo>
                    <a:cubicBezTo>
                      <a:pt x="929308" y="971707"/>
                      <a:pt x="933999" y="966691"/>
                      <a:pt x="939468" y="979451"/>
                    </a:cubicBezTo>
                    <a:cubicBezTo>
                      <a:pt x="940757" y="982459"/>
                      <a:pt x="941055" y="985801"/>
                      <a:pt x="941849" y="988976"/>
                    </a:cubicBezTo>
                    <a:cubicBezTo>
                      <a:pt x="942643" y="998501"/>
                      <a:pt x="942967" y="1008077"/>
                      <a:pt x="944230" y="1017551"/>
                    </a:cubicBezTo>
                    <a:cubicBezTo>
                      <a:pt x="944562" y="1020039"/>
                      <a:pt x="945043" y="1022735"/>
                      <a:pt x="946611" y="1024695"/>
                    </a:cubicBezTo>
                    <a:cubicBezTo>
                      <a:pt x="948399" y="1026930"/>
                      <a:pt x="951374" y="1027870"/>
                      <a:pt x="953755" y="1029457"/>
                    </a:cubicBezTo>
                    <a:cubicBezTo>
                      <a:pt x="960121" y="1028396"/>
                      <a:pt x="973295" y="1026359"/>
                      <a:pt x="979949" y="1024695"/>
                    </a:cubicBezTo>
                    <a:cubicBezTo>
                      <a:pt x="982384" y="1024086"/>
                      <a:pt x="984712" y="1023107"/>
                      <a:pt x="987093" y="1022313"/>
                    </a:cubicBezTo>
                    <a:cubicBezTo>
                      <a:pt x="1001707" y="1024140"/>
                      <a:pt x="1008582" y="1024887"/>
                      <a:pt x="1022811" y="1027076"/>
                    </a:cubicBezTo>
                    <a:cubicBezTo>
                      <a:pt x="1065744" y="1033680"/>
                      <a:pt x="1005457" y="1024937"/>
                      <a:pt x="1053768" y="1031838"/>
                    </a:cubicBezTo>
                    <a:cubicBezTo>
                      <a:pt x="1059324" y="1031044"/>
                      <a:pt x="1064933" y="1030558"/>
                      <a:pt x="1070436" y="1029457"/>
                    </a:cubicBezTo>
                    <a:cubicBezTo>
                      <a:pt x="1072897" y="1028965"/>
                      <a:pt x="1075166" y="1027766"/>
                      <a:pt x="1077580" y="1027076"/>
                    </a:cubicBezTo>
                    <a:cubicBezTo>
                      <a:pt x="1080727" y="1026177"/>
                      <a:pt x="1083970" y="1025635"/>
                      <a:pt x="1087105" y="1024695"/>
                    </a:cubicBezTo>
                    <a:cubicBezTo>
                      <a:pt x="1091914" y="1023252"/>
                      <a:pt x="1096423" y="1020642"/>
                      <a:pt x="1101393" y="1019932"/>
                    </a:cubicBezTo>
                    <a:lnTo>
                      <a:pt x="1118061" y="1017551"/>
                    </a:lnTo>
                    <a:cubicBezTo>
                      <a:pt x="1119678" y="1015395"/>
                      <a:pt x="1128228" y="1004363"/>
                      <a:pt x="1129968" y="1000882"/>
                    </a:cubicBezTo>
                    <a:cubicBezTo>
                      <a:pt x="1131091" y="998637"/>
                      <a:pt x="1131360" y="996045"/>
                      <a:pt x="1132349" y="993738"/>
                    </a:cubicBezTo>
                    <a:cubicBezTo>
                      <a:pt x="1135975" y="985276"/>
                      <a:pt x="1137089" y="984246"/>
                      <a:pt x="1141874" y="977070"/>
                    </a:cubicBezTo>
                    <a:cubicBezTo>
                      <a:pt x="1142668" y="973101"/>
                      <a:pt x="1143273" y="969090"/>
                      <a:pt x="1144255" y="965163"/>
                    </a:cubicBezTo>
                    <a:cubicBezTo>
                      <a:pt x="1144864" y="962728"/>
                      <a:pt x="1146254" y="960501"/>
                      <a:pt x="1146636" y="958020"/>
                    </a:cubicBezTo>
                    <a:cubicBezTo>
                      <a:pt x="1147849" y="950136"/>
                      <a:pt x="1147346" y="942007"/>
                      <a:pt x="1149018" y="934207"/>
                    </a:cubicBezTo>
                    <a:cubicBezTo>
                      <a:pt x="1149762" y="930736"/>
                      <a:pt x="1152338" y="927926"/>
                      <a:pt x="1153780" y="924682"/>
                    </a:cubicBezTo>
                    <a:cubicBezTo>
                      <a:pt x="1155516" y="920776"/>
                      <a:pt x="1156631" y="916599"/>
                      <a:pt x="1158543" y="912776"/>
                    </a:cubicBezTo>
                    <a:cubicBezTo>
                      <a:pt x="1160481" y="908899"/>
                      <a:pt x="1168556" y="898811"/>
                      <a:pt x="1170449" y="896107"/>
                    </a:cubicBezTo>
                    <a:cubicBezTo>
                      <a:pt x="1174691" y="890048"/>
                      <a:pt x="1183594" y="875228"/>
                      <a:pt x="1189499" y="869913"/>
                    </a:cubicBezTo>
                    <a:cubicBezTo>
                      <a:pt x="1196684" y="863446"/>
                      <a:pt x="1204903" y="859830"/>
                      <a:pt x="1213311" y="855626"/>
                    </a:cubicBezTo>
                    <a:cubicBezTo>
                      <a:pt x="1215692" y="853245"/>
                      <a:pt x="1217868" y="850638"/>
                      <a:pt x="1220455" y="848482"/>
                    </a:cubicBezTo>
                    <a:cubicBezTo>
                      <a:pt x="1222654" y="846650"/>
                      <a:pt x="1225575" y="845744"/>
                      <a:pt x="1227599" y="843720"/>
                    </a:cubicBezTo>
                    <a:cubicBezTo>
                      <a:pt x="1230405" y="840914"/>
                      <a:pt x="1232362" y="837370"/>
                      <a:pt x="1234743" y="834195"/>
                    </a:cubicBezTo>
                    <a:cubicBezTo>
                      <a:pt x="1234993" y="832946"/>
                      <a:pt x="1237471" y="817993"/>
                      <a:pt x="1239505" y="815145"/>
                    </a:cubicBezTo>
                    <a:cubicBezTo>
                      <a:pt x="1247206" y="804364"/>
                      <a:pt x="1248441" y="806636"/>
                      <a:pt x="1258555" y="800857"/>
                    </a:cubicBezTo>
                    <a:cubicBezTo>
                      <a:pt x="1261040" y="799437"/>
                      <a:pt x="1263318" y="797682"/>
                      <a:pt x="1265699" y="796095"/>
                    </a:cubicBezTo>
                    <a:cubicBezTo>
                      <a:pt x="1266493" y="779426"/>
                      <a:pt x="1266237" y="762674"/>
                      <a:pt x="1268080" y="746088"/>
                    </a:cubicBezTo>
                    <a:cubicBezTo>
                      <a:pt x="1268189" y="745105"/>
                      <a:pt x="1273228" y="726846"/>
                      <a:pt x="1277605" y="724657"/>
                    </a:cubicBezTo>
                    <a:cubicBezTo>
                      <a:pt x="1281924" y="722498"/>
                      <a:pt x="1287081" y="722677"/>
                      <a:pt x="1291893" y="722276"/>
                    </a:cubicBezTo>
                    <a:cubicBezTo>
                      <a:pt x="1306153" y="721088"/>
                      <a:pt x="1320468" y="720689"/>
                      <a:pt x="1334755" y="719895"/>
                    </a:cubicBezTo>
                    <a:cubicBezTo>
                      <a:pt x="1337136" y="719101"/>
                      <a:pt x="1339971" y="719120"/>
                      <a:pt x="1341899" y="717513"/>
                    </a:cubicBezTo>
                    <a:cubicBezTo>
                      <a:pt x="1344948" y="714972"/>
                      <a:pt x="1346237" y="710794"/>
                      <a:pt x="1349043" y="707988"/>
                    </a:cubicBezTo>
                    <a:cubicBezTo>
                      <a:pt x="1351066" y="705965"/>
                      <a:pt x="1353805" y="704813"/>
                      <a:pt x="1356186" y="703226"/>
                    </a:cubicBezTo>
                    <a:cubicBezTo>
                      <a:pt x="1357774" y="700845"/>
                      <a:pt x="1359117" y="698281"/>
                      <a:pt x="1360949" y="696082"/>
                    </a:cubicBezTo>
                    <a:cubicBezTo>
                      <a:pt x="1363105" y="693495"/>
                      <a:pt x="1366225" y="691740"/>
                      <a:pt x="1368093" y="688938"/>
                    </a:cubicBezTo>
                    <a:cubicBezTo>
                      <a:pt x="1369485" y="686850"/>
                      <a:pt x="1369272" y="683998"/>
                      <a:pt x="1370474" y="681795"/>
                    </a:cubicBezTo>
                    <a:cubicBezTo>
                      <a:pt x="1371780" y="679401"/>
                      <a:pt x="1384620" y="658124"/>
                      <a:pt x="1389524" y="653220"/>
                    </a:cubicBezTo>
                    <a:cubicBezTo>
                      <a:pt x="1391548" y="651196"/>
                      <a:pt x="1394287" y="650045"/>
                      <a:pt x="1396668" y="648457"/>
                    </a:cubicBezTo>
                    <a:cubicBezTo>
                      <a:pt x="1399843" y="643695"/>
                      <a:pt x="1404383" y="639600"/>
                      <a:pt x="1406193" y="634170"/>
                    </a:cubicBezTo>
                    <a:cubicBezTo>
                      <a:pt x="1409479" y="624311"/>
                      <a:pt x="1407182" y="629115"/>
                      <a:pt x="1413336" y="619882"/>
                    </a:cubicBezTo>
                    <a:cubicBezTo>
                      <a:pt x="1414098" y="616835"/>
                      <a:pt x="1416393" y="606626"/>
                      <a:pt x="1418099" y="603213"/>
                    </a:cubicBezTo>
                    <a:cubicBezTo>
                      <a:pt x="1419379" y="600653"/>
                      <a:pt x="1421344" y="598497"/>
                      <a:pt x="1422861" y="596070"/>
                    </a:cubicBezTo>
                    <a:cubicBezTo>
                      <a:pt x="1425314" y="592145"/>
                      <a:pt x="1427935" y="588303"/>
                      <a:pt x="1430005" y="584163"/>
                    </a:cubicBezTo>
                    <a:cubicBezTo>
                      <a:pt x="1431127" y="581918"/>
                      <a:pt x="1431726" y="579441"/>
                      <a:pt x="1432386" y="577020"/>
                    </a:cubicBezTo>
                    <a:cubicBezTo>
                      <a:pt x="1434108" y="570705"/>
                      <a:pt x="1435079" y="564180"/>
                      <a:pt x="1437149" y="557970"/>
                    </a:cubicBezTo>
                    <a:cubicBezTo>
                      <a:pt x="1439530" y="550826"/>
                      <a:pt x="1438968" y="541863"/>
                      <a:pt x="1444293" y="536538"/>
                    </a:cubicBezTo>
                    <a:cubicBezTo>
                      <a:pt x="1448583" y="532248"/>
                      <a:pt x="1452779" y="527118"/>
                      <a:pt x="1458580" y="524632"/>
                    </a:cubicBezTo>
                    <a:cubicBezTo>
                      <a:pt x="1461588" y="523343"/>
                      <a:pt x="1464958" y="523150"/>
                      <a:pt x="1468105" y="522251"/>
                    </a:cubicBezTo>
                    <a:cubicBezTo>
                      <a:pt x="1485196" y="517368"/>
                      <a:pt x="1462940" y="522333"/>
                      <a:pt x="1487155" y="517488"/>
                    </a:cubicBezTo>
                    <a:cubicBezTo>
                      <a:pt x="1509100" y="495546"/>
                      <a:pt x="1493036" y="514707"/>
                      <a:pt x="1499061" y="448432"/>
                    </a:cubicBezTo>
                    <a:cubicBezTo>
                      <a:pt x="1499569" y="442842"/>
                      <a:pt x="1500649" y="437319"/>
                      <a:pt x="1501443" y="431763"/>
                    </a:cubicBezTo>
                    <a:cubicBezTo>
                      <a:pt x="1496388" y="411551"/>
                      <a:pt x="1504050" y="431944"/>
                      <a:pt x="1480011" y="412713"/>
                    </a:cubicBezTo>
                    <a:cubicBezTo>
                      <a:pt x="1472771" y="406921"/>
                      <a:pt x="1462046" y="397777"/>
                      <a:pt x="1453818" y="393663"/>
                    </a:cubicBezTo>
                    <a:cubicBezTo>
                      <a:pt x="1446272" y="389890"/>
                      <a:pt x="1437981" y="388799"/>
                      <a:pt x="1430005" y="386520"/>
                    </a:cubicBezTo>
                    <a:cubicBezTo>
                      <a:pt x="1427591" y="385830"/>
                      <a:pt x="1425275" y="384828"/>
                      <a:pt x="1422861" y="384138"/>
                    </a:cubicBezTo>
                    <a:cubicBezTo>
                      <a:pt x="1410579" y="380628"/>
                      <a:pt x="1413200" y="382656"/>
                      <a:pt x="1399049" y="376995"/>
                    </a:cubicBezTo>
                    <a:cubicBezTo>
                      <a:pt x="1395753" y="375677"/>
                      <a:pt x="1392699" y="373820"/>
                      <a:pt x="1389524" y="372232"/>
                    </a:cubicBezTo>
                    <a:cubicBezTo>
                      <a:pt x="1386349" y="367470"/>
                      <a:pt x="1382779" y="362948"/>
                      <a:pt x="1379999" y="357945"/>
                    </a:cubicBezTo>
                    <a:cubicBezTo>
                      <a:pt x="1378448" y="355153"/>
                      <a:pt x="1375795" y="343513"/>
                      <a:pt x="1375236" y="341276"/>
                    </a:cubicBezTo>
                    <a:cubicBezTo>
                      <a:pt x="1379254" y="321195"/>
                      <a:pt x="1378167" y="332487"/>
                      <a:pt x="1375236" y="303176"/>
                    </a:cubicBezTo>
                    <a:cubicBezTo>
                      <a:pt x="1373995" y="290767"/>
                      <a:pt x="1371974" y="269571"/>
                      <a:pt x="1368093" y="257932"/>
                    </a:cubicBezTo>
                    <a:lnTo>
                      <a:pt x="1365711" y="250788"/>
                    </a:lnTo>
                    <a:cubicBezTo>
                      <a:pt x="1366505" y="243644"/>
                      <a:pt x="1367143" y="236482"/>
                      <a:pt x="1368093" y="229357"/>
                    </a:cubicBezTo>
                    <a:cubicBezTo>
                      <a:pt x="1369312" y="220216"/>
                      <a:pt x="1371059" y="212143"/>
                      <a:pt x="1372855" y="203163"/>
                    </a:cubicBezTo>
                    <a:cubicBezTo>
                      <a:pt x="1370657" y="178987"/>
                      <a:pt x="1378111" y="178643"/>
                      <a:pt x="1360949" y="172207"/>
                    </a:cubicBezTo>
                    <a:cubicBezTo>
                      <a:pt x="1357885" y="171058"/>
                      <a:pt x="1354599" y="170620"/>
                      <a:pt x="1351424" y="169826"/>
                    </a:cubicBezTo>
                    <a:cubicBezTo>
                      <a:pt x="1348249" y="170620"/>
                      <a:pt x="1344455" y="170163"/>
                      <a:pt x="1341899" y="172207"/>
                    </a:cubicBezTo>
                    <a:cubicBezTo>
                      <a:pt x="1339939" y="173775"/>
                      <a:pt x="1340208" y="176937"/>
                      <a:pt x="1339518" y="179351"/>
                    </a:cubicBezTo>
                    <a:cubicBezTo>
                      <a:pt x="1338113" y="184269"/>
                      <a:pt x="1337490" y="192609"/>
                      <a:pt x="1332374" y="196020"/>
                    </a:cubicBezTo>
                    <a:cubicBezTo>
                      <a:pt x="1329651" y="197835"/>
                      <a:pt x="1325954" y="197366"/>
                      <a:pt x="1322849" y="198401"/>
                    </a:cubicBezTo>
                    <a:cubicBezTo>
                      <a:pt x="1318794" y="199753"/>
                      <a:pt x="1314912" y="201576"/>
                      <a:pt x="1310943" y="203163"/>
                    </a:cubicBezTo>
                    <a:cubicBezTo>
                      <a:pt x="1303799" y="202369"/>
                      <a:pt x="1294286" y="206154"/>
                      <a:pt x="1289511" y="200782"/>
                    </a:cubicBezTo>
                    <a:cubicBezTo>
                      <a:pt x="1284316" y="194937"/>
                      <a:pt x="1291891" y="179881"/>
                      <a:pt x="1296655" y="174588"/>
                    </a:cubicBezTo>
                    <a:cubicBezTo>
                      <a:pt x="1301911" y="168748"/>
                      <a:pt x="1313324" y="157920"/>
                      <a:pt x="1313324" y="157920"/>
                    </a:cubicBezTo>
                    <a:cubicBezTo>
                      <a:pt x="1314118" y="154745"/>
                      <a:pt x="1314765" y="151530"/>
                      <a:pt x="1315705" y="148395"/>
                    </a:cubicBezTo>
                    <a:cubicBezTo>
                      <a:pt x="1317148" y="143586"/>
                      <a:pt x="1319484" y="139030"/>
                      <a:pt x="1320468" y="134107"/>
                    </a:cubicBezTo>
                    <a:lnTo>
                      <a:pt x="1322849" y="122201"/>
                    </a:lnTo>
                    <a:cubicBezTo>
                      <a:pt x="1322055" y="112676"/>
                      <a:pt x="1321654" y="103110"/>
                      <a:pt x="1320468" y="93626"/>
                    </a:cubicBezTo>
                    <a:cubicBezTo>
                      <a:pt x="1320062" y="90379"/>
                      <a:pt x="1318086" y="87374"/>
                      <a:pt x="1318086" y="84101"/>
                    </a:cubicBezTo>
                    <a:cubicBezTo>
                      <a:pt x="1318086" y="70584"/>
                      <a:pt x="1319674" y="57114"/>
                      <a:pt x="1320468" y="43620"/>
                    </a:cubicBezTo>
                    <a:cubicBezTo>
                      <a:pt x="1319674" y="32507"/>
                      <a:pt x="1320788" y="21090"/>
                      <a:pt x="1318086" y="10282"/>
                    </a:cubicBezTo>
                    <a:cubicBezTo>
                      <a:pt x="1317392" y="7506"/>
                      <a:pt x="1313766" y="5990"/>
                      <a:pt x="1310943" y="5520"/>
                    </a:cubicBezTo>
                    <a:cubicBezTo>
                      <a:pt x="1299173" y="3558"/>
                      <a:pt x="1287130" y="3932"/>
                      <a:pt x="1275224" y="3138"/>
                    </a:cubicBezTo>
                    <a:cubicBezTo>
                      <a:pt x="1253360" y="15"/>
                      <a:pt x="1247377" y="-1990"/>
                      <a:pt x="1220455" y="3138"/>
                    </a:cubicBezTo>
                    <a:cubicBezTo>
                      <a:pt x="1215908" y="4004"/>
                      <a:pt x="1212595" y="8034"/>
                      <a:pt x="1208549" y="10282"/>
                    </a:cubicBezTo>
                    <a:cubicBezTo>
                      <a:pt x="1205446" y="12006"/>
                      <a:pt x="1201913" y="12982"/>
                      <a:pt x="1199024" y="15045"/>
                    </a:cubicBezTo>
                    <a:cubicBezTo>
                      <a:pt x="1189792" y="21639"/>
                      <a:pt x="1194737" y="22506"/>
                      <a:pt x="1184736" y="26951"/>
                    </a:cubicBezTo>
                    <a:cubicBezTo>
                      <a:pt x="1180149" y="28990"/>
                      <a:pt x="1170449" y="31713"/>
                      <a:pt x="1170449" y="31713"/>
                    </a:cubicBezTo>
                    <a:cubicBezTo>
                      <a:pt x="1136318" y="30919"/>
                      <a:pt x="1102196" y="29332"/>
                      <a:pt x="1068055" y="29332"/>
                    </a:cubicBezTo>
                    <a:cubicBezTo>
                      <a:pt x="1004390" y="29332"/>
                      <a:pt x="1040746" y="28602"/>
                      <a:pt x="1013286" y="34095"/>
                    </a:cubicBezTo>
                    <a:cubicBezTo>
                      <a:pt x="1008552" y="35042"/>
                      <a:pt x="1003733" y="35529"/>
                      <a:pt x="998999" y="36476"/>
                    </a:cubicBezTo>
                    <a:cubicBezTo>
                      <a:pt x="991524" y="37971"/>
                      <a:pt x="989139" y="38969"/>
                      <a:pt x="982330" y="41238"/>
                    </a:cubicBezTo>
                    <a:cubicBezTo>
                      <a:pt x="977057" y="44753"/>
                      <a:pt x="971711" y="47643"/>
                      <a:pt x="968043" y="53145"/>
                    </a:cubicBezTo>
                    <a:cubicBezTo>
                      <a:pt x="966651" y="55233"/>
                      <a:pt x="966880" y="58094"/>
                      <a:pt x="965661" y="60288"/>
                    </a:cubicBezTo>
                    <a:cubicBezTo>
                      <a:pt x="962879" y="65294"/>
                      <a:pt x="955117" y="77637"/>
                      <a:pt x="948993" y="81720"/>
                    </a:cubicBezTo>
                    <a:cubicBezTo>
                      <a:pt x="946904" y="83112"/>
                      <a:pt x="944230" y="83307"/>
                      <a:pt x="941849" y="84101"/>
                    </a:cubicBezTo>
                    <a:cubicBezTo>
                      <a:pt x="940261" y="88863"/>
                      <a:pt x="939871" y="94211"/>
                      <a:pt x="937086" y="98388"/>
                    </a:cubicBezTo>
                    <a:lnTo>
                      <a:pt x="927561" y="112676"/>
                    </a:lnTo>
                    <a:cubicBezTo>
                      <a:pt x="925974" y="117438"/>
                      <a:pt x="924016" y="122093"/>
                      <a:pt x="922799" y="126963"/>
                    </a:cubicBezTo>
                    <a:cubicBezTo>
                      <a:pt x="922005" y="130138"/>
                      <a:pt x="921707" y="133480"/>
                      <a:pt x="920418" y="136488"/>
                    </a:cubicBezTo>
                    <a:cubicBezTo>
                      <a:pt x="919291" y="139119"/>
                      <a:pt x="917075" y="141147"/>
                      <a:pt x="915655" y="143632"/>
                    </a:cubicBezTo>
                    <a:cubicBezTo>
                      <a:pt x="913894" y="146714"/>
                      <a:pt x="912480" y="149982"/>
                      <a:pt x="910893" y="153157"/>
                    </a:cubicBezTo>
                    <a:cubicBezTo>
                      <a:pt x="911770" y="159295"/>
                      <a:pt x="912331" y="170322"/>
                      <a:pt x="915655" y="176970"/>
                    </a:cubicBezTo>
                    <a:cubicBezTo>
                      <a:pt x="916935" y="179530"/>
                      <a:pt x="918830" y="181732"/>
                      <a:pt x="920418" y="184113"/>
                    </a:cubicBezTo>
                    <a:cubicBezTo>
                      <a:pt x="923261" y="195486"/>
                      <a:pt x="925336" y="198917"/>
                      <a:pt x="920418" y="212688"/>
                    </a:cubicBezTo>
                    <a:cubicBezTo>
                      <a:pt x="918493" y="218079"/>
                      <a:pt x="912704" y="221546"/>
                      <a:pt x="910893" y="226976"/>
                    </a:cubicBezTo>
                    <a:cubicBezTo>
                      <a:pt x="906707" y="239531"/>
                      <a:pt x="911277" y="229372"/>
                      <a:pt x="901368" y="241263"/>
                    </a:cubicBezTo>
                    <a:cubicBezTo>
                      <a:pt x="899536" y="243462"/>
                      <a:pt x="898840" y="246619"/>
                      <a:pt x="896605" y="248407"/>
                    </a:cubicBezTo>
                    <a:cubicBezTo>
                      <a:pt x="894645" y="249975"/>
                      <a:pt x="891842" y="249994"/>
                      <a:pt x="889461" y="250788"/>
                    </a:cubicBezTo>
                    <a:cubicBezTo>
                      <a:pt x="887080" y="252376"/>
                      <a:pt x="884106" y="253316"/>
                      <a:pt x="882318" y="255551"/>
                    </a:cubicBezTo>
                    <a:cubicBezTo>
                      <a:pt x="879842" y="258646"/>
                      <a:pt x="877592" y="276816"/>
                      <a:pt x="877555" y="276982"/>
                    </a:cubicBezTo>
                    <a:cubicBezTo>
                      <a:pt x="875821" y="284786"/>
                      <a:pt x="874652" y="285752"/>
                      <a:pt x="868030" y="291270"/>
                    </a:cubicBezTo>
                    <a:cubicBezTo>
                      <a:pt x="861705" y="296541"/>
                      <a:pt x="858766" y="296563"/>
                      <a:pt x="851361" y="300795"/>
                    </a:cubicBezTo>
                    <a:cubicBezTo>
                      <a:pt x="848876" y="302215"/>
                      <a:pt x="846833" y="304395"/>
                      <a:pt x="844218" y="305557"/>
                    </a:cubicBezTo>
                    <a:cubicBezTo>
                      <a:pt x="834029" y="310086"/>
                      <a:pt x="830104" y="309930"/>
                      <a:pt x="820405" y="312701"/>
                    </a:cubicBezTo>
                    <a:cubicBezTo>
                      <a:pt x="817991" y="313391"/>
                      <a:pt x="815711" y="314538"/>
                      <a:pt x="813261" y="315082"/>
                    </a:cubicBezTo>
                    <a:cubicBezTo>
                      <a:pt x="808548" y="316129"/>
                      <a:pt x="803708" y="316516"/>
                      <a:pt x="798974" y="317463"/>
                    </a:cubicBezTo>
                    <a:cubicBezTo>
                      <a:pt x="776710" y="321916"/>
                      <a:pt x="800456" y="317689"/>
                      <a:pt x="782305" y="322226"/>
                    </a:cubicBezTo>
                    <a:cubicBezTo>
                      <a:pt x="778379" y="323208"/>
                      <a:pt x="774325" y="323625"/>
                      <a:pt x="770399" y="324607"/>
                    </a:cubicBezTo>
                    <a:cubicBezTo>
                      <a:pt x="767964" y="325216"/>
                      <a:pt x="765716" y="326496"/>
                      <a:pt x="763255" y="326988"/>
                    </a:cubicBezTo>
                    <a:cubicBezTo>
                      <a:pt x="757751" y="328089"/>
                      <a:pt x="752133" y="328516"/>
                      <a:pt x="746586" y="329370"/>
                    </a:cubicBezTo>
                    <a:cubicBezTo>
                      <a:pt x="741814" y="330104"/>
                      <a:pt x="737033" y="330804"/>
                      <a:pt x="732299" y="331751"/>
                    </a:cubicBezTo>
                    <a:cubicBezTo>
                      <a:pt x="729090" y="332393"/>
                      <a:pt x="725983" y="333490"/>
                      <a:pt x="722774" y="334132"/>
                    </a:cubicBezTo>
                    <a:cubicBezTo>
                      <a:pt x="718039" y="335079"/>
                      <a:pt x="713249" y="335719"/>
                      <a:pt x="708486" y="336513"/>
                    </a:cubicBezTo>
                    <a:cubicBezTo>
                      <a:pt x="705311" y="338101"/>
                      <a:pt x="702224" y="339878"/>
                      <a:pt x="698961" y="341276"/>
                    </a:cubicBezTo>
                    <a:cubicBezTo>
                      <a:pt x="690114" y="345068"/>
                      <a:pt x="692753" y="341688"/>
                      <a:pt x="684674" y="348420"/>
                    </a:cubicBezTo>
                    <a:cubicBezTo>
                      <a:pt x="682087" y="350576"/>
                      <a:pt x="680673" y="354354"/>
                      <a:pt x="677530" y="355563"/>
                    </a:cubicBezTo>
                    <a:cubicBezTo>
                      <a:pt x="669975" y="358469"/>
                      <a:pt x="661731" y="359181"/>
                      <a:pt x="653718" y="360326"/>
                    </a:cubicBezTo>
                    <a:cubicBezTo>
                      <a:pt x="648162" y="361120"/>
                      <a:pt x="642636" y="362175"/>
                      <a:pt x="637049" y="362707"/>
                    </a:cubicBezTo>
                    <a:cubicBezTo>
                      <a:pt x="625958" y="363763"/>
                      <a:pt x="614810" y="364123"/>
                      <a:pt x="603711" y="365088"/>
                    </a:cubicBezTo>
                    <a:cubicBezTo>
                      <a:pt x="596550" y="365711"/>
                      <a:pt x="589424" y="366676"/>
                      <a:pt x="582280" y="367470"/>
                    </a:cubicBezTo>
                    <a:cubicBezTo>
                      <a:pt x="559261" y="366676"/>
                      <a:pt x="536025" y="368345"/>
                      <a:pt x="513224" y="365088"/>
                    </a:cubicBezTo>
                    <a:cubicBezTo>
                      <a:pt x="507558" y="364278"/>
                      <a:pt x="498936" y="355563"/>
                      <a:pt x="498936" y="355563"/>
                    </a:cubicBezTo>
                    <a:cubicBezTo>
                      <a:pt x="489997" y="342155"/>
                      <a:pt x="496888" y="349324"/>
                      <a:pt x="472743" y="341276"/>
                    </a:cubicBezTo>
                    <a:lnTo>
                      <a:pt x="458455" y="336513"/>
                    </a:lnTo>
                    <a:cubicBezTo>
                      <a:pt x="456074" y="335719"/>
                      <a:pt x="453772" y="334624"/>
                      <a:pt x="451311" y="334132"/>
                    </a:cubicBezTo>
                    <a:cubicBezTo>
                      <a:pt x="436944" y="331259"/>
                      <a:pt x="443245" y="333031"/>
                      <a:pt x="432261" y="329370"/>
                    </a:cubicBezTo>
                    <a:cubicBezTo>
                      <a:pt x="429880" y="327782"/>
                      <a:pt x="427678" y="325887"/>
                      <a:pt x="425118" y="324607"/>
                    </a:cubicBezTo>
                    <a:cubicBezTo>
                      <a:pt x="422873" y="323484"/>
                      <a:pt x="420063" y="323618"/>
                      <a:pt x="417974" y="322226"/>
                    </a:cubicBezTo>
                    <a:cubicBezTo>
                      <a:pt x="414431" y="319864"/>
                      <a:pt x="407918" y="312101"/>
                      <a:pt x="406068" y="307938"/>
                    </a:cubicBezTo>
                    <a:cubicBezTo>
                      <a:pt x="406062" y="307924"/>
                      <a:pt x="400117" y="290086"/>
                      <a:pt x="398924" y="286507"/>
                    </a:cubicBezTo>
                    <a:cubicBezTo>
                      <a:pt x="396440" y="279053"/>
                      <a:pt x="396228" y="275908"/>
                      <a:pt x="389399" y="269838"/>
                    </a:cubicBezTo>
                    <a:cubicBezTo>
                      <a:pt x="385121" y="266035"/>
                      <a:pt x="380541" y="262123"/>
                      <a:pt x="375111" y="260313"/>
                    </a:cubicBezTo>
                    <a:lnTo>
                      <a:pt x="367968" y="257932"/>
                    </a:lnTo>
                    <a:cubicBezTo>
                      <a:pt x="362412" y="258726"/>
                      <a:pt x="356675" y="258700"/>
                      <a:pt x="351299" y="260313"/>
                    </a:cubicBezTo>
                    <a:cubicBezTo>
                      <a:pt x="346563" y="261734"/>
                      <a:pt x="340048" y="269183"/>
                      <a:pt x="337011" y="272220"/>
                    </a:cubicBezTo>
                    <a:cubicBezTo>
                      <a:pt x="334805" y="278838"/>
                      <a:pt x="334791" y="280969"/>
                      <a:pt x="329868" y="286507"/>
                    </a:cubicBezTo>
                    <a:cubicBezTo>
                      <a:pt x="325393" y="291541"/>
                      <a:pt x="320343" y="296032"/>
                      <a:pt x="315580" y="300795"/>
                    </a:cubicBezTo>
                    <a:cubicBezTo>
                      <a:pt x="313199" y="303176"/>
                      <a:pt x="311631" y="306873"/>
                      <a:pt x="308436" y="307938"/>
                    </a:cubicBezTo>
                    <a:cubicBezTo>
                      <a:pt x="306055" y="308732"/>
                      <a:pt x="303538" y="309197"/>
                      <a:pt x="301293" y="310320"/>
                    </a:cubicBezTo>
                    <a:cubicBezTo>
                      <a:pt x="298733" y="311600"/>
                      <a:pt x="296780" y="313955"/>
                      <a:pt x="294149" y="315082"/>
                    </a:cubicBezTo>
                    <a:cubicBezTo>
                      <a:pt x="291141" y="316371"/>
                      <a:pt x="287771" y="316564"/>
                      <a:pt x="284624" y="317463"/>
                    </a:cubicBezTo>
                    <a:cubicBezTo>
                      <a:pt x="282210" y="318153"/>
                      <a:pt x="279894" y="319155"/>
                      <a:pt x="277480" y="319845"/>
                    </a:cubicBezTo>
                    <a:cubicBezTo>
                      <a:pt x="274333" y="320744"/>
                      <a:pt x="271102" y="321327"/>
                      <a:pt x="267955" y="322226"/>
                    </a:cubicBezTo>
                    <a:cubicBezTo>
                      <a:pt x="265541" y="322916"/>
                      <a:pt x="263225" y="323917"/>
                      <a:pt x="260811" y="324607"/>
                    </a:cubicBezTo>
                    <a:cubicBezTo>
                      <a:pt x="239916" y="330576"/>
                      <a:pt x="261243" y="323668"/>
                      <a:pt x="244143" y="329370"/>
                    </a:cubicBezTo>
                    <a:cubicBezTo>
                      <a:pt x="236205" y="328576"/>
                      <a:pt x="227827" y="329714"/>
                      <a:pt x="220330" y="326988"/>
                    </a:cubicBezTo>
                    <a:cubicBezTo>
                      <a:pt x="217971" y="326130"/>
                      <a:pt x="219071" y="322090"/>
                      <a:pt x="217949" y="319845"/>
                    </a:cubicBezTo>
                    <a:cubicBezTo>
                      <a:pt x="216669" y="317285"/>
                      <a:pt x="215385" y="314533"/>
                      <a:pt x="213186" y="312701"/>
                    </a:cubicBezTo>
                    <a:cubicBezTo>
                      <a:pt x="206719" y="307312"/>
                      <a:pt x="199528" y="307284"/>
                      <a:pt x="191755" y="305557"/>
                    </a:cubicBezTo>
                    <a:cubicBezTo>
                      <a:pt x="161490" y="298832"/>
                      <a:pt x="206232" y="307976"/>
                      <a:pt x="170324" y="300795"/>
                    </a:cubicBezTo>
                    <a:cubicBezTo>
                      <a:pt x="160005" y="301589"/>
                      <a:pt x="149591" y="301562"/>
                      <a:pt x="139368" y="303176"/>
                    </a:cubicBezTo>
                    <a:cubicBezTo>
                      <a:pt x="128674" y="304864"/>
                      <a:pt x="124648" y="308660"/>
                      <a:pt x="115555" y="312701"/>
                    </a:cubicBezTo>
                    <a:cubicBezTo>
                      <a:pt x="111649" y="314437"/>
                      <a:pt x="107743" y="316235"/>
                      <a:pt x="103649" y="317463"/>
                    </a:cubicBezTo>
                    <a:cubicBezTo>
                      <a:pt x="99772" y="318626"/>
                      <a:pt x="95648" y="318780"/>
                      <a:pt x="91743" y="319845"/>
                    </a:cubicBezTo>
                    <a:cubicBezTo>
                      <a:pt x="86900" y="321166"/>
                      <a:pt x="77455" y="324607"/>
                      <a:pt x="77455" y="324607"/>
                    </a:cubicBezTo>
                    <a:cubicBezTo>
                      <a:pt x="76661" y="326988"/>
                      <a:pt x="76197" y="329506"/>
                      <a:pt x="75074" y="331751"/>
                    </a:cubicBezTo>
                    <a:cubicBezTo>
                      <a:pt x="73794" y="334311"/>
                      <a:pt x="71473" y="336280"/>
                      <a:pt x="70311" y="338895"/>
                    </a:cubicBezTo>
                    <a:cubicBezTo>
                      <a:pt x="68272" y="343482"/>
                      <a:pt x="67136" y="348420"/>
                      <a:pt x="65549" y="353182"/>
                    </a:cubicBezTo>
                    <a:lnTo>
                      <a:pt x="63168" y="360326"/>
                    </a:lnTo>
                    <a:lnTo>
                      <a:pt x="60786" y="367470"/>
                    </a:lnTo>
                    <a:cubicBezTo>
                      <a:pt x="63167" y="368264"/>
                      <a:pt x="66471" y="367809"/>
                      <a:pt x="67930" y="369851"/>
                    </a:cubicBezTo>
                    <a:cubicBezTo>
                      <a:pt x="70848" y="373936"/>
                      <a:pt x="72693" y="384138"/>
                      <a:pt x="72693" y="384138"/>
                    </a:cubicBezTo>
                    <a:cubicBezTo>
                      <a:pt x="71611" y="390627"/>
                      <a:pt x="71085" y="402415"/>
                      <a:pt x="65549" y="407951"/>
                    </a:cubicBezTo>
                    <a:cubicBezTo>
                      <a:pt x="63774" y="409726"/>
                      <a:pt x="60866" y="409840"/>
                      <a:pt x="58405" y="410332"/>
                    </a:cubicBezTo>
                    <a:cubicBezTo>
                      <a:pt x="52901" y="411433"/>
                      <a:pt x="47299" y="411971"/>
                      <a:pt x="41736" y="412713"/>
                    </a:cubicBezTo>
                    <a:cubicBezTo>
                      <a:pt x="22396" y="415292"/>
                      <a:pt x="6414" y="426604"/>
                      <a:pt x="1255" y="431763"/>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0" name="Freeform 309"/>
              <p:cNvSpPr/>
              <p:nvPr/>
            </p:nvSpPr>
            <p:spPr>
              <a:xfrm>
                <a:off x="5118677" y="3437545"/>
                <a:ext cx="570529" cy="742950"/>
              </a:xfrm>
              <a:custGeom>
                <a:avLst/>
                <a:gdLst>
                  <a:gd name="connsiteX0" fmla="*/ 1411 w 570529"/>
                  <a:gd name="connsiteY0" fmla="*/ 554832 h 742950"/>
                  <a:gd name="connsiteX1" fmla="*/ 10936 w 570529"/>
                  <a:gd name="connsiteY1" fmla="*/ 566738 h 742950"/>
                  <a:gd name="connsiteX2" fmla="*/ 15698 w 570529"/>
                  <a:gd name="connsiteY2" fmla="*/ 581025 h 742950"/>
                  <a:gd name="connsiteX3" fmla="*/ 18079 w 570529"/>
                  <a:gd name="connsiteY3" fmla="*/ 588169 h 742950"/>
                  <a:gd name="connsiteX4" fmla="*/ 22842 w 570529"/>
                  <a:gd name="connsiteY4" fmla="*/ 595313 h 742950"/>
                  <a:gd name="connsiteX5" fmla="*/ 29986 w 570529"/>
                  <a:gd name="connsiteY5" fmla="*/ 609600 h 742950"/>
                  <a:gd name="connsiteX6" fmla="*/ 37129 w 570529"/>
                  <a:gd name="connsiteY6" fmla="*/ 638175 h 742950"/>
                  <a:gd name="connsiteX7" fmla="*/ 39511 w 570529"/>
                  <a:gd name="connsiteY7" fmla="*/ 645319 h 742950"/>
                  <a:gd name="connsiteX8" fmla="*/ 44273 w 570529"/>
                  <a:gd name="connsiteY8" fmla="*/ 671513 h 742950"/>
                  <a:gd name="connsiteX9" fmla="*/ 49036 w 570529"/>
                  <a:gd name="connsiteY9" fmla="*/ 685800 h 742950"/>
                  <a:gd name="connsiteX10" fmla="*/ 51417 w 570529"/>
                  <a:gd name="connsiteY10" fmla="*/ 692944 h 742950"/>
                  <a:gd name="connsiteX11" fmla="*/ 53798 w 570529"/>
                  <a:gd name="connsiteY11" fmla="*/ 704850 h 742950"/>
                  <a:gd name="connsiteX12" fmla="*/ 58561 w 570529"/>
                  <a:gd name="connsiteY12" fmla="*/ 733425 h 742950"/>
                  <a:gd name="connsiteX13" fmla="*/ 60942 w 570529"/>
                  <a:gd name="connsiteY13" fmla="*/ 740569 h 742950"/>
                  <a:gd name="connsiteX14" fmla="*/ 68086 w 570529"/>
                  <a:gd name="connsiteY14" fmla="*/ 742950 h 742950"/>
                  <a:gd name="connsiteX15" fmla="*/ 103804 w 570529"/>
                  <a:gd name="connsiteY15" fmla="*/ 740569 h 742950"/>
                  <a:gd name="connsiteX16" fmla="*/ 110948 w 570529"/>
                  <a:gd name="connsiteY16" fmla="*/ 735807 h 742950"/>
                  <a:gd name="connsiteX17" fmla="*/ 127617 w 570529"/>
                  <a:gd name="connsiteY17" fmla="*/ 721519 h 742950"/>
                  <a:gd name="connsiteX18" fmla="*/ 132379 w 570529"/>
                  <a:gd name="connsiteY18" fmla="*/ 714375 h 742950"/>
                  <a:gd name="connsiteX19" fmla="*/ 153811 w 570529"/>
                  <a:gd name="connsiteY19" fmla="*/ 702469 h 742950"/>
                  <a:gd name="connsiteX20" fmla="*/ 160954 w 570529"/>
                  <a:gd name="connsiteY20" fmla="*/ 697707 h 742950"/>
                  <a:gd name="connsiteX21" fmla="*/ 234773 w 570529"/>
                  <a:gd name="connsiteY21" fmla="*/ 690563 h 742950"/>
                  <a:gd name="connsiteX22" fmla="*/ 251442 w 570529"/>
                  <a:gd name="connsiteY22" fmla="*/ 685800 h 742950"/>
                  <a:gd name="connsiteX23" fmla="*/ 260967 w 570529"/>
                  <a:gd name="connsiteY23" fmla="*/ 683419 h 742950"/>
                  <a:gd name="connsiteX24" fmla="*/ 275254 w 570529"/>
                  <a:gd name="connsiteY24" fmla="*/ 678657 h 742950"/>
                  <a:gd name="connsiteX25" fmla="*/ 282398 w 570529"/>
                  <a:gd name="connsiteY25" fmla="*/ 673894 h 742950"/>
                  <a:gd name="connsiteX26" fmla="*/ 289542 w 570529"/>
                  <a:gd name="connsiteY26" fmla="*/ 666750 h 742950"/>
                  <a:gd name="connsiteX27" fmla="*/ 303829 w 570529"/>
                  <a:gd name="connsiteY27" fmla="*/ 661988 h 742950"/>
                  <a:gd name="connsiteX28" fmla="*/ 318117 w 570529"/>
                  <a:gd name="connsiteY28" fmla="*/ 654844 h 742950"/>
                  <a:gd name="connsiteX29" fmla="*/ 325261 w 570529"/>
                  <a:gd name="connsiteY29" fmla="*/ 650082 h 742950"/>
                  <a:gd name="connsiteX30" fmla="*/ 334786 w 570529"/>
                  <a:gd name="connsiteY30" fmla="*/ 647700 h 742950"/>
                  <a:gd name="connsiteX31" fmla="*/ 356217 w 570529"/>
                  <a:gd name="connsiteY31" fmla="*/ 640557 h 742950"/>
                  <a:gd name="connsiteX32" fmla="*/ 363361 w 570529"/>
                  <a:gd name="connsiteY32" fmla="*/ 635794 h 742950"/>
                  <a:gd name="connsiteX33" fmla="*/ 380029 w 570529"/>
                  <a:gd name="connsiteY33" fmla="*/ 626269 h 742950"/>
                  <a:gd name="connsiteX34" fmla="*/ 384792 w 570529"/>
                  <a:gd name="connsiteY34" fmla="*/ 619125 h 742950"/>
                  <a:gd name="connsiteX35" fmla="*/ 387173 w 570529"/>
                  <a:gd name="connsiteY35" fmla="*/ 611982 h 742950"/>
                  <a:gd name="connsiteX36" fmla="*/ 391936 w 570529"/>
                  <a:gd name="connsiteY36" fmla="*/ 604838 h 742950"/>
                  <a:gd name="connsiteX37" fmla="*/ 394317 w 570529"/>
                  <a:gd name="connsiteY37" fmla="*/ 595313 h 742950"/>
                  <a:gd name="connsiteX38" fmla="*/ 396698 w 570529"/>
                  <a:gd name="connsiteY38" fmla="*/ 588169 h 742950"/>
                  <a:gd name="connsiteX39" fmla="*/ 403842 w 570529"/>
                  <a:gd name="connsiteY39" fmla="*/ 559594 h 742950"/>
                  <a:gd name="connsiteX40" fmla="*/ 432417 w 570529"/>
                  <a:gd name="connsiteY40" fmla="*/ 535782 h 742950"/>
                  <a:gd name="connsiteX41" fmla="*/ 439561 w 570529"/>
                  <a:gd name="connsiteY41" fmla="*/ 531019 h 742950"/>
                  <a:gd name="connsiteX42" fmla="*/ 449086 w 570529"/>
                  <a:gd name="connsiteY42" fmla="*/ 504825 h 742950"/>
                  <a:gd name="connsiteX43" fmla="*/ 458611 w 570529"/>
                  <a:gd name="connsiteY43" fmla="*/ 490538 h 742950"/>
                  <a:gd name="connsiteX44" fmla="*/ 465754 w 570529"/>
                  <a:gd name="connsiteY44" fmla="*/ 478632 h 742950"/>
                  <a:gd name="connsiteX45" fmla="*/ 472898 w 570529"/>
                  <a:gd name="connsiteY45" fmla="*/ 473869 h 742950"/>
                  <a:gd name="connsiteX46" fmla="*/ 487186 w 570529"/>
                  <a:gd name="connsiteY46" fmla="*/ 461963 h 742950"/>
                  <a:gd name="connsiteX47" fmla="*/ 496711 w 570529"/>
                  <a:gd name="connsiteY47" fmla="*/ 450057 h 742950"/>
                  <a:gd name="connsiteX48" fmla="*/ 499092 w 570529"/>
                  <a:gd name="connsiteY48" fmla="*/ 442913 h 742950"/>
                  <a:gd name="connsiteX49" fmla="*/ 506236 w 570529"/>
                  <a:gd name="connsiteY49" fmla="*/ 435769 h 742950"/>
                  <a:gd name="connsiteX50" fmla="*/ 510998 w 570529"/>
                  <a:gd name="connsiteY50" fmla="*/ 426244 h 742950"/>
                  <a:gd name="connsiteX51" fmla="*/ 515761 w 570529"/>
                  <a:gd name="connsiteY51" fmla="*/ 419100 h 742950"/>
                  <a:gd name="connsiteX52" fmla="*/ 522904 w 570529"/>
                  <a:gd name="connsiteY52" fmla="*/ 397669 h 742950"/>
                  <a:gd name="connsiteX53" fmla="*/ 525286 w 570529"/>
                  <a:gd name="connsiteY53" fmla="*/ 390525 h 742950"/>
                  <a:gd name="connsiteX54" fmla="*/ 527667 w 570529"/>
                  <a:gd name="connsiteY54" fmla="*/ 371475 h 742950"/>
                  <a:gd name="connsiteX55" fmla="*/ 530048 w 570529"/>
                  <a:gd name="connsiteY55" fmla="*/ 357188 h 742950"/>
                  <a:gd name="connsiteX56" fmla="*/ 537192 w 570529"/>
                  <a:gd name="connsiteY56" fmla="*/ 352425 h 742950"/>
                  <a:gd name="connsiteX57" fmla="*/ 541954 w 570529"/>
                  <a:gd name="connsiteY57" fmla="*/ 345282 h 742950"/>
                  <a:gd name="connsiteX58" fmla="*/ 551479 w 570529"/>
                  <a:gd name="connsiteY58" fmla="*/ 342900 h 742950"/>
                  <a:gd name="connsiteX59" fmla="*/ 558623 w 570529"/>
                  <a:gd name="connsiteY59" fmla="*/ 340519 h 742950"/>
                  <a:gd name="connsiteX60" fmla="*/ 570529 w 570529"/>
                  <a:gd name="connsiteY60" fmla="*/ 304800 h 742950"/>
                  <a:gd name="connsiteX61" fmla="*/ 568148 w 570529"/>
                  <a:gd name="connsiteY61" fmla="*/ 273844 h 742950"/>
                  <a:gd name="connsiteX62" fmla="*/ 561004 w 570529"/>
                  <a:gd name="connsiteY62" fmla="*/ 271463 h 742950"/>
                  <a:gd name="connsiteX63" fmla="*/ 537192 w 570529"/>
                  <a:gd name="connsiteY63" fmla="*/ 269082 h 742950"/>
                  <a:gd name="connsiteX64" fmla="*/ 494329 w 570529"/>
                  <a:gd name="connsiteY64" fmla="*/ 266700 h 742950"/>
                  <a:gd name="connsiteX65" fmla="*/ 472898 w 570529"/>
                  <a:gd name="connsiteY65" fmla="*/ 261938 h 742950"/>
                  <a:gd name="connsiteX66" fmla="*/ 465754 w 570529"/>
                  <a:gd name="connsiteY66" fmla="*/ 259557 h 742950"/>
                  <a:gd name="connsiteX67" fmla="*/ 458611 w 570529"/>
                  <a:gd name="connsiteY67" fmla="*/ 254794 h 742950"/>
                  <a:gd name="connsiteX68" fmla="*/ 451467 w 570529"/>
                  <a:gd name="connsiteY68" fmla="*/ 247650 h 742950"/>
                  <a:gd name="connsiteX69" fmla="*/ 437179 w 570529"/>
                  <a:gd name="connsiteY69" fmla="*/ 238125 h 742950"/>
                  <a:gd name="connsiteX70" fmla="*/ 437179 w 570529"/>
                  <a:gd name="connsiteY70" fmla="*/ 130969 h 742950"/>
                  <a:gd name="connsiteX71" fmla="*/ 444323 w 570529"/>
                  <a:gd name="connsiteY71" fmla="*/ 114300 h 742950"/>
                  <a:gd name="connsiteX72" fmla="*/ 439561 w 570529"/>
                  <a:gd name="connsiteY72" fmla="*/ 45244 h 742950"/>
                  <a:gd name="connsiteX73" fmla="*/ 425273 w 570529"/>
                  <a:gd name="connsiteY73" fmla="*/ 16669 h 742950"/>
                  <a:gd name="connsiteX74" fmla="*/ 410986 w 570529"/>
                  <a:gd name="connsiteY74" fmla="*/ 11907 h 742950"/>
                  <a:gd name="connsiteX75" fmla="*/ 403842 w 570529"/>
                  <a:gd name="connsiteY75" fmla="*/ 9525 h 742950"/>
                  <a:gd name="connsiteX76" fmla="*/ 396698 w 570529"/>
                  <a:gd name="connsiteY76" fmla="*/ 4763 h 742950"/>
                  <a:gd name="connsiteX77" fmla="*/ 382411 w 570529"/>
                  <a:gd name="connsiteY77" fmla="*/ 0 h 742950"/>
                  <a:gd name="connsiteX78" fmla="*/ 375267 w 570529"/>
                  <a:gd name="connsiteY78" fmla="*/ 4763 h 742950"/>
                  <a:gd name="connsiteX79" fmla="*/ 370504 w 570529"/>
                  <a:gd name="connsiteY79" fmla="*/ 19050 h 742950"/>
                  <a:gd name="connsiteX80" fmla="*/ 372886 w 570529"/>
                  <a:gd name="connsiteY80" fmla="*/ 28575 h 742950"/>
                  <a:gd name="connsiteX81" fmla="*/ 372886 w 570529"/>
                  <a:gd name="connsiteY81" fmla="*/ 42863 h 742950"/>
                  <a:gd name="connsiteX82" fmla="*/ 358598 w 570529"/>
                  <a:gd name="connsiteY82" fmla="*/ 52388 h 742950"/>
                  <a:gd name="connsiteX83" fmla="*/ 339548 w 570529"/>
                  <a:gd name="connsiteY83" fmla="*/ 61913 h 742950"/>
                  <a:gd name="connsiteX84" fmla="*/ 325261 w 570529"/>
                  <a:gd name="connsiteY84" fmla="*/ 66675 h 742950"/>
                  <a:gd name="connsiteX85" fmla="*/ 320498 w 570529"/>
                  <a:gd name="connsiteY85" fmla="*/ 73819 h 742950"/>
                  <a:gd name="connsiteX86" fmla="*/ 315736 w 570529"/>
                  <a:gd name="connsiteY86" fmla="*/ 88107 h 742950"/>
                  <a:gd name="connsiteX87" fmla="*/ 313354 w 570529"/>
                  <a:gd name="connsiteY87" fmla="*/ 95250 h 742950"/>
                  <a:gd name="connsiteX88" fmla="*/ 310973 w 570529"/>
                  <a:gd name="connsiteY88" fmla="*/ 102394 h 742950"/>
                  <a:gd name="connsiteX89" fmla="*/ 308592 w 570529"/>
                  <a:gd name="connsiteY89" fmla="*/ 109538 h 742950"/>
                  <a:gd name="connsiteX90" fmla="*/ 303829 w 570529"/>
                  <a:gd name="connsiteY90" fmla="*/ 128588 h 742950"/>
                  <a:gd name="connsiteX91" fmla="*/ 301448 w 570529"/>
                  <a:gd name="connsiteY91" fmla="*/ 135732 h 742950"/>
                  <a:gd name="connsiteX92" fmla="*/ 294304 w 570529"/>
                  <a:gd name="connsiteY92" fmla="*/ 140494 h 742950"/>
                  <a:gd name="connsiteX93" fmla="*/ 284779 w 570529"/>
                  <a:gd name="connsiteY93" fmla="*/ 169069 h 742950"/>
                  <a:gd name="connsiteX94" fmla="*/ 277636 w 570529"/>
                  <a:gd name="connsiteY94" fmla="*/ 183357 h 742950"/>
                  <a:gd name="connsiteX95" fmla="*/ 270492 w 570529"/>
                  <a:gd name="connsiteY95" fmla="*/ 188119 h 742950"/>
                  <a:gd name="connsiteX96" fmla="*/ 258586 w 570529"/>
                  <a:gd name="connsiteY96" fmla="*/ 200025 h 742950"/>
                  <a:gd name="connsiteX97" fmla="*/ 253823 w 570529"/>
                  <a:gd name="connsiteY97" fmla="*/ 207169 h 742950"/>
                  <a:gd name="connsiteX98" fmla="*/ 246679 w 570529"/>
                  <a:gd name="connsiteY98" fmla="*/ 221457 h 742950"/>
                  <a:gd name="connsiteX99" fmla="*/ 239536 w 570529"/>
                  <a:gd name="connsiteY99" fmla="*/ 235744 h 742950"/>
                  <a:gd name="connsiteX100" fmla="*/ 225248 w 570529"/>
                  <a:gd name="connsiteY100" fmla="*/ 245269 h 742950"/>
                  <a:gd name="connsiteX101" fmla="*/ 218104 w 570529"/>
                  <a:gd name="connsiteY101" fmla="*/ 250032 h 742950"/>
                  <a:gd name="connsiteX102" fmla="*/ 203817 w 570529"/>
                  <a:gd name="connsiteY102" fmla="*/ 254794 h 742950"/>
                  <a:gd name="connsiteX103" fmla="*/ 196673 w 570529"/>
                  <a:gd name="connsiteY103" fmla="*/ 257175 h 742950"/>
                  <a:gd name="connsiteX104" fmla="*/ 175242 w 570529"/>
                  <a:gd name="connsiteY104" fmla="*/ 259557 h 742950"/>
                  <a:gd name="connsiteX105" fmla="*/ 160954 w 570529"/>
                  <a:gd name="connsiteY105" fmla="*/ 264319 h 742950"/>
                  <a:gd name="connsiteX106" fmla="*/ 153811 w 570529"/>
                  <a:gd name="connsiteY106" fmla="*/ 266700 h 742950"/>
                  <a:gd name="connsiteX107" fmla="*/ 144286 w 570529"/>
                  <a:gd name="connsiteY107" fmla="*/ 297657 h 742950"/>
                  <a:gd name="connsiteX108" fmla="*/ 139523 w 570529"/>
                  <a:gd name="connsiteY108" fmla="*/ 311944 h 742950"/>
                  <a:gd name="connsiteX109" fmla="*/ 137142 w 570529"/>
                  <a:gd name="connsiteY109" fmla="*/ 338138 h 742950"/>
                  <a:gd name="connsiteX110" fmla="*/ 129998 w 570529"/>
                  <a:gd name="connsiteY110" fmla="*/ 342900 h 742950"/>
                  <a:gd name="connsiteX111" fmla="*/ 115711 w 570529"/>
                  <a:gd name="connsiteY111" fmla="*/ 350044 h 742950"/>
                  <a:gd name="connsiteX112" fmla="*/ 113329 w 570529"/>
                  <a:gd name="connsiteY112" fmla="*/ 357188 h 742950"/>
                  <a:gd name="connsiteX113" fmla="*/ 113329 w 570529"/>
                  <a:gd name="connsiteY113" fmla="*/ 381000 h 742950"/>
                  <a:gd name="connsiteX114" fmla="*/ 99042 w 570529"/>
                  <a:gd name="connsiteY114" fmla="*/ 390525 h 742950"/>
                  <a:gd name="connsiteX115" fmla="*/ 82373 w 570529"/>
                  <a:gd name="connsiteY115" fmla="*/ 397669 h 742950"/>
                  <a:gd name="connsiteX116" fmla="*/ 68086 w 570529"/>
                  <a:gd name="connsiteY116" fmla="*/ 407194 h 742950"/>
                  <a:gd name="connsiteX117" fmla="*/ 56179 w 570529"/>
                  <a:gd name="connsiteY117" fmla="*/ 428625 h 742950"/>
                  <a:gd name="connsiteX118" fmla="*/ 41892 w 570529"/>
                  <a:gd name="connsiteY118" fmla="*/ 442913 h 742950"/>
                  <a:gd name="connsiteX119" fmla="*/ 27604 w 570529"/>
                  <a:gd name="connsiteY119" fmla="*/ 452438 h 742950"/>
                  <a:gd name="connsiteX120" fmla="*/ 22842 w 570529"/>
                  <a:gd name="connsiteY120" fmla="*/ 485775 h 742950"/>
                  <a:gd name="connsiteX121" fmla="*/ 15698 w 570529"/>
                  <a:gd name="connsiteY121" fmla="*/ 526257 h 742950"/>
                  <a:gd name="connsiteX122" fmla="*/ 10936 w 570529"/>
                  <a:gd name="connsiteY122" fmla="*/ 533400 h 742950"/>
                  <a:gd name="connsiteX123" fmla="*/ 3792 w 570529"/>
                  <a:gd name="connsiteY123" fmla="*/ 538163 h 742950"/>
                  <a:gd name="connsiteX124" fmla="*/ 1411 w 570529"/>
                  <a:gd name="connsiteY124" fmla="*/ 554832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570529" h="742950">
                    <a:moveTo>
                      <a:pt x="1411" y="554832"/>
                    </a:moveTo>
                    <a:cubicBezTo>
                      <a:pt x="2602" y="559594"/>
                      <a:pt x="8502" y="562276"/>
                      <a:pt x="10936" y="566738"/>
                    </a:cubicBezTo>
                    <a:cubicBezTo>
                      <a:pt x="13340" y="571145"/>
                      <a:pt x="14111" y="576263"/>
                      <a:pt x="15698" y="581025"/>
                    </a:cubicBezTo>
                    <a:cubicBezTo>
                      <a:pt x="16492" y="583406"/>
                      <a:pt x="16687" y="586081"/>
                      <a:pt x="18079" y="588169"/>
                    </a:cubicBezTo>
                    <a:lnTo>
                      <a:pt x="22842" y="595313"/>
                    </a:lnTo>
                    <a:cubicBezTo>
                      <a:pt x="31526" y="621368"/>
                      <a:pt x="17676" y="581903"/>
                      <a:pt x="29986" y="609600"/>
                    </a:cubicBezTo>
                    <a:cubicBezTo>
                      <a:pt x="36401" y="624034"/>
                      <a:pt x="33801" y="623201"/>
                      <a:pt x="37129" y="638175"/>
                    </a:cubicBezTo>
                    <a:cubicBezTo>
                      <a:pt x="37674" y="640625"/>
                      <a:pt x="38717" y="642938"/>
                      <a:pt x="39511" y="645319"/>
                    </a:cubicBezTo>
                    <a:cubicBezTo>
                      <a:pt x="41187" y="657054"/>
                      <a:pt x="41212" y="661309"/>
                      <a:pt x="44273" y="671513"/>
                    </a:cubicBezTo>
                    <a:cubicBezTo>
                      <a:pt x="45716" y="676321"/>
                      <a:pt x="47448" y="681038"/>
                      <a:pt x="49036" y="685800"/>
                    </a:cubicBezTo>
                    <a:cubicBezTo>
                      <a:pt x="49830" y="688181"/>
                      <a:pt x="50925" y="690483"/>
                      <a:pt x="51417" y="692944"/>
                    </a:cubicBezTo>
                    <a:cubicBezTo>
                      <a:pt x="52211" y="696913"/>
                      <a:pt x="53095" y="700864"/>
                      <a:pt x="53798" y="704850"/>
                    </a:cubicBezTo>
                    <a:cubicBezTo>
                      <a:pt x="55476" y="714359"/>
                      <a:pt x="55508" y="724264"/>
                      <a:pt x="58561" y="733425"/>
                    </a:cubicBezTo>
                    <a:cubicBezTo>
                      <a:pt x="59355" y="735806"/>
                      <a:pt x="59167" y="738794"/>
                      <a:pt x="60942" y="740569"/>
                    </a:cubicBezTo>
                    <a:cubicBezTo>
                      <a:pt x="62717" y="742344"/>
                      <a:pt x="65705" y="742156"/>
                      <a:pt x="68086" y="742950"/>
                    </a:cubicBezTo>
                    <a:cubicBezTo>
                      <a:pt x="79992" y="742156"/>
                      <a:pt x="92034" y="742531"/>
                      <a:pt x="103804" y="740569"/>
                    </a:cubicBezTo>
                    <a:cubicBezTo>
                      <a:pt x="106627" y="740099"/>
                      <a:pt x="108749" y="737639"/>
                      <a:pt x="110948" y="735807"/>
                    </a:cubicBezTo>
                    <a:cubicBezTo>
                      <a:pt x="140822" y="710913"/>
                      <a:pt x="91918" y="748294"/>
                      <a:pt x="127617" y="721519"/>
                    </a:cubicBezTo>
                    <a:cubicBezTo>
                      <a:pt x="129204" y="719138"/>
                      <a:pt x="130225" y="716260"/>
                      <a:pt x="132379" y="714375"/>
                    </a:cubicBezTo>
                    <a:cubicBezTo>
                      <a:pt x="142456" y="705557"/>
                      <a:pt x="143999" y="705739"/>
                      <a:pt x="153811" y="702469"/>
                    </a:cubicBezTo>
                    <a:cubicBezTo>
                      <a:pt x="156192" y="700882"/>
                      <a:pt x="158265" y="698685"/>
                      <a:pt x="160954" y="697707"/>
                    </a:cubicBezTo>
                    <a:cubicBezTo>
                      <a:pt x="184680" y="689079"/>
                      <a:pt x="209902" y="691644"/>
                      <a:pt x="234773" y="690563"/>
                    </a:cubicBezTo>
                    <a:cubicBezTo>
                      <a:pt x="264548" y="683120"/>
                      <a:pt x="227529" y="692633"/>
                      <a:pt x="251442" y="685800"/>
                    </a:cubicBezTo>
                    <a:cubicBezTo>
                      <a:pt x="254589" y="684901"/>
                      <a:pt x="257832" y="684359"/>
                      <a:pt x="260967" y="683419"/>
                    </a:cubicBezTo>
                    <a:cubicBezTo>
                      <a:pt x="265775" y="681977"/>
                      <a:pt x="275254" y="678657"/>
                      <a:pt x="275254" y="678657"/>
                    </a:cubicBezTo>
                    <a:cubicBezTo>
                      <a:pt x="277635" y="677069"/>
                      <a:pt x="280199" y="675726"/>
                      <a:pt x="282398" y="673894"/>
                    </a:cubicBezTo>
                    <a:cubicBezTo>
                      <a:pt x="284985" y="671738"/>
                      <a:pt x="286598" y="668385"/>
                      <a:pt x="289542" y="666750"/>
                    </a:cubicBezTo>
                    <a:cubicBezTo>
                      <a:pt x="293930" y="664312"/>
                      <a:pt x="303829" y="661988"/>
                      <a:pt x="303829" y="661988"/>
                    </a:cubicBezTo>
                    <a:cubicBezTo>
                      <a:pt x="324294" y="648344"/>
                      <a:pt x="298407" y="664698"/>
                      <a:pt x="318117" y="654844"/>
                    </a:cubicBezTo>
                    <a:cubicBezTo>
                      <a:pt x="320677" y="653564"/>
                      <a:pt x="322631" y="651209"/>
                      <a:pt x="325261" y="650082"/>
                    </a:cubicBezTo>
                    <a:cubicBezTo>
                      <a:pt x="328269" y="648793"/>
                      <a:pt x="331722" y="648849"/>
                      <a:pt x="334786" y="647700"/>
                    </a:cubicBezTo>
                    <a:cubicBezTo>
                      <a:pt x="357314" y="639252"/>
                      <a:pt x="330132" y="645774"/>
                      <a:pt x="356217" y="640557"/>
                    </a:cubicBezTo>
                    <a:cubicBezTo>
                      <a:pt x="358598" y="638969"/>
                      <a:pt x="360801" y="637074"/>
                      <a:pt x="363361" y="635794"/>
                    </a:cubicBezTo>
                    <a:cubicBezTo>
                      <a:pt x="374260" y="630344"/>
                      <a:pt x="368511" y="637787"/>
                      <a:pt x="380029" y="626269"/>
                    </a:cubicBezTo>
                    <a:cubicBezTo>
                      <a:pt x="382053" y="624245"/>
                      <a:pt x="383204" y="621506"/>
                      <a:pt x="384792" y="619125"/>
                    </a:cubicBezTo>
                    <a:cubicBezTo>
                      <a:pt x="385586" y="616744"/>
                      <a:pt x="386051" y="614227"/>
                      <a:pt x="387173" y="611982"/>
                    </a:cubicBezTo>
                    <a:cubicBezTo>
                      <a:pt x="388453" y="609422"/>
                      <a:pt x="390809" y="607469"/>
                      <a:pt x="391936" y="604838"/>
                    </a:cubicBezTo>
                    <a:cubicBezTo>
                      <a:pt x="393225" y="601830"/>
                      <a:pt x="393418" y="598460"/>
                      <a:pt x="394317" y="595313"/>
                    </a:cubicBezTo>
                    <a:cubicBezTo>
                      <a:pt x="395007" y="592899"/>
                      <a:pt x="396154" y="590619"/>
                      <a:pt x="396698" y="588169"/>
                    </a:cubicBezTo>
                    <a:cubicBezTo>
                      <a:pt x="397822" y="583108"/>
                      <a:pt x="399717" y="563719"/>
                      <a:pt x="403842" y="559594"/>
                    </a:cubicBezTo>
                    <a:cubicBezTo>
                      <a:pt x="422178" y="541258"/>
                      <a:pt x="412524" y="549044"/>
                      <a:pt x="432417" y="535782"/>
                    </a:cubicBezTo>
                    <a:lnTo>
                      <a:pt x="439561" y="531019"/>
                    </a:lnTo>
                    <a:cubicBezTo>
                      <a:pt x="441229" y="526015"/>
                      <a:pt x="446245" y="510034"/>
                      <a:pt x="449086" y="504825"/>
                    </a:cubicBezTo>
                    <a:cubicBezTo>
                      <a:pt x="451827" y="499800"/>
                      <a:pt x="455666" y="495446"/>
                      <a:pt x="458611" y="490538"/>
                    </a:cubicBezTo>
                    <a:cubicBezTo>
                      <a:pt x="460992" y="486569"/>
                      <a:pt x="462742" y="482146"/>
                      <a:pt x="465754" y="478632"/>
                    </a:cubicBezTo>
                    <a:cubicBezTo>
                      <a:pt x="467617" y="476459"/>
                      <a:pt x="470699" y="475701"/>
                      <a:pt x="472898" y="473869"/>
                    </a:cubicBezTo>
                    <a:cubicBezTo>
                      <a:pt x="491226" y="458596"/>
                      <a:pt x="469456" y="473782"/>
                      <a:pt x="487186" y="461963"/>
                    </a:cubicBezTo>
                    <a:cubicBezTo>
                      <a:pt x="493171" y="444006"/>
                      <a:pt x="484401" y="465444"/>
                      <a:pt x="496711" y="450057"/>
                    </a:cubicBezTo>
                    <a:cubicBezTo>
                      <a:pt x="498279" y="448097"/>
                      <a:pt x="497700" y="445002"/>
                      <a:pt x="499092" y="442913"/>
                    </a:cubicBezTo>
                    <a:cubicBezTo>
                      <a:pt x="500960" y="440111"/>
                      <a:pt x="503855" y="438150"/>
                      <a:pt x="506236" y="435769"/>
                    </a:cubicBezTo>
                    <a:cubicBezTo>
                      <a:pt x="507823" y="432594"/>
                      <a:pt x="509237" y="429326"/>
                      <a:pt x="510998" y="426244"/>
                    </a:cubicBezTo>
                    <a:cubicBezTo>
                      <a:pt x="512418" y="423759"/>
                      <a:pt x="514481" y="421660"/>
                      <a:pt x="515761" y="419100"/>
                    </a:cubicBezTo>
                    <a:cubicBezTo>
                      <a:pt x="521235" y="408152"/>
                      <a:pt x="519872" y="408281"/>
                      <a:pt x="522904" y="397669"/>
                    </a:cubicBezTo>
                    <a:cubicBezTo>
                      <a:pt x="523594" y="395255"/>
                      <a:pt x="524492" y="392906"/>
                      <a:pt x="525286" y="390525"/>
                    </a:cubicBezTo>
                    <a:cubicBezTo>
                      <a:pt x="526080" y="384175"/>
                      <a:pt x="526762" y="377810"/>
                      <a:pt x="527667" y="371475"/>
                    </a:cubicBezTo>
                    <a:cubicBezTo>
                      <a:pt x="528350" y="366696"/>
                      <a:pt x="527889" y="361506"/>
                      <a:pt x="530048" y="357188"/>
                    </a:cubicBezTo>
                    <a:cubicBezTo>
                      <a:pt x="531328" y="354628"/>
                      <a:pt x="534811" y="354013"/>
                      <a:pt x="537192" y="352425"/>
                    </a:cubicBezTo>
                    <a:cubicBezTo>
                      <a:pt x="538779" y="350044"/>
                      <a:pt x="539573" y="346869"/>
                      <a:pt x="541954" y="345282"/>
                    </a:cubicBezTo>
                    <a:cubicBezTo>
                      <a:pt x="544677" y="343467"/>
                      <a:pt x="548332" y="343799"/>
                      <a:pt x="551479" y="342900"/>
                    </a:cubicBezTo>
                    <a:cubicBezTo>
                      <a:pt x="553893" y="342210"/>
                      <a:pt x="556242" y="341313"/>
                      <a:pt x="558623" y="340519"/>
                    </a:cubicBezTo>
                    <a:cubicBezTo>
                      <a:pt x="572135" y="320251"/>
                      <a:pt x="567516" y="331921"/>
                      <a:pt x="570529" y="304800"/>
                    </a:cubicBezTo>
                    <a:cubicBezTo>
                      <a:pt x="569735" y="294481"/>
                      <a:pt x="570991" y="283795"/>
                      <a:pt x="568148" y="273844"/>
                    </a:cubicBezTo>
                    <a:cubicBezTo>
                      <a:pt x="567458" y="271430"/>
                      <a:pt x="563485" y="271845"/>
                      <a:pt x="561004" y="271463"/>
                    </a:cubicBezTo>
                    <a:cubicBezTo>
                      <a:pt x="553120" y="270250"/>
                      <a:pt x="545149" y="269650"/>
                      <a:pt x="537192" y="269082"/>
                    </a:cubicBezTo>
                    <a:cubicBezTo>
                      <a:pt x="522919" y="268062"/>
                      <a:pt x="508617" y="267494"/>
                      <a:pt x="494329" y="266700"/>
                    </a:cubicBezTo>
                    <a:cubicBezTo>
                      <a:pt x="487185" y="265113"/>
                      <a:pt x="479997" y="263713"/>
                      <a:pt x="472898" y="261938"/>
                    </a:cubicBezTo>
                    <a:cubicBezTo>
                      <a:pt x="470463" y="261329"/>
                      <a:pt x="467999" y="260680"/>
                      <a:pt x="465754" y="259557"/>
                    </a:cubicBezTo>
                    <a:cubicBezTo>
                      <a:pt x="463194" y="258277"/>
                      <a:pt x="460809" y="256626"/>
                      <a:pt x="458611" y="254794"/>
                    </a:cubicBezTo>
                    <a:cubicBezTo>
                      <a:pt x="456024" y="252638"/>
                      <a:pt x="454125" y="249718"/>
                      <a:pt x="451467" y="247650"/>
                    </a:cubicBezTo>
                    <a:cubicBezTo>
                      <a:pt x="446949" y="244136"/>
                      <a:pt x="437179" y="238125"/>
                      <a:pt x="437179" y="238125"/>
                    </a:cubicBezTo>
                    <a:cubicBezTo>
                      <a:pt x="424387" y="199749"/>
                      <a:pt x="432954" y="228138"/>
                      <a:pt x="437179" y="130969"/>
                    </a:cubicBezTo>
                    <a:cubicBezTo>
                      <a:pt x="437537" y="122746"/>
                      <a:pt x="440123" y="120601"/>
                      <a:pt x="444323" y="114300"/>
                    </a:cubicBezTo>
                    <a:cubicBezTo>
                      <a:pt x="443156" y="85124"/>
                      <a:pt x="446537" y="68495"/>
                      <a:pt x="439561" y="45244"/>
                    </a:cubicBezTo>
                    <a:cubicBezTo>
                      <a:pt x="437917" y="39766"/>
                      <a:pt x="431962" y="18898"/>
                      <a:pt x="425273" y="16669"/>
                    </a:cubicBezTo>
                    <a:lnTo>
                      <a:pt x="410986" y="11907"/>
                    </a:lnTo>
                    <a:cubicBezTo>
                      <a:pt x="408605" y="11113"/>
                      <a:pt x="405931" y="10917"/>
                      <a:pt x="403842" y="9525"/>
                    </a:cubicBezTo>
                    <a:cubicBezTo>
                      <a:pt x="401461" y="7938"/>
                      <a:pt x="399313" y="5925"/>
                      <a:pt x="396698" y="4763"/>
                    </a:cubicBezTo>
                    <a:cubicBezTo>
                      <a:pt x="392111" y="2724"/>
                      <a:pt x="382411" y="0"/>
                      <a:pt x="382411" y="0"/>
                    </a:cubicBezTo>
                    <a:cubicBezTo>
                      <a:pt x="380030" y="1588"/>
                      <a:pt x="376784" y="2336"/>
                      <a:pt x="375267" y="4763"/>
                    </a:cubicBezTo>
                    <a:cubicBezTo>
                      <a:pt x="372606" y="9020"/>
                      <a:pt x="370504" y="19050"/>
                      <a:pt x="370504" y="19050"/>
                    </a:cubicBezTo>
                    <a:cubicBezTo>
                      <a:pt x="371298" y="22225"/>
                      <a:pt x="371987" y="25428"/>
                      <a:pt x="372886" y="28575"/>
                    </a:cubicBezTo>
                    <a:cubicBezTo>
                      <a:pt x="374297" y="33513"/>
                      <a:pt x="377824" y="37925"/>
                      <a:pt x="372886" y="42863"/>
                    </a:cubicBezTo>
                    <a:cubicBezTo>
                      <a:pt x="368839" y="46910"/>
                      <a:pt x="363718" y="49828"/>
                      <a:pt x="358598" y="52388"/>
                    </a:cubicBezTo>
                    <a:cubicBezTo>
                      <a:pt x="352248" y="55563"/>
                      <a:pt x="346283" y="59668"/>
                      <a:pt x="339548" y="61913"/>
                    </a:cubicBezTo>
                    <a:lnTo>
                      <a:pt x="325261" y="66675"/>
                    </a:lnTo>
                    <a:cubicBezTo>
                      <a:pt x="323673" y="69056"/>
                      <a:pt x="321660" y="71204"/>
                      <a:pt x="320498" y="73819"/>
                    </a:cubicBezTo>
                    <a:cubicBezTo>
                      <a:pt x="318459" y="78407"/>
                      <a:pt x="317324" y="83344"/>
                      <a:pt x="315736" y="88107"/>
                    </a:cubicBezTo>
                    <a:lnTo>
                      <a:pt x="313354" y="95250"/>
                    </a:lnTo>
                    <a:lnTo>
                      <a:pt x="310973" y="102394"/>
                    </a:lnTo>
                    <a:cubicBezTo>
                      <a:pt x="310179" y="104775"/>
                      <a:pt x="309201" y="107103"/>
                      <a:pt x="308592" y="109538"/>
                    </a:cubicBezTo>
                    <a:cubicBezTo>
                      <a:pt x="307004" y="115888"/>
                      <a:pt x="305899" y="122378"/>
                      <a:pt x="303829" y="128588"/>
                    </a:cubicBezTo>
                    <a:cubicBezTo>
                      <a:pt x="303035" y="130969"/>
                      <a:pt x="303016" y="133772"/>
                      <a:pt x="301448" y="135732"/>
                    </a:cubicBezTo>
                    <a:cubicBezTo>
                      <a:pt x="299660" y="137967"/>
                      <a:pt x="296685" y="138907"/>
                      <a:pt x="294304" y="140494"/>
                    </a:cubicBezTo>
                    <a:lnTo>
                      <a:pt x="284779" y="169069"/>
                    </a:lnTo>
                    <a:cubicBezTo>
                      <a:pt x="282842" y="174879"/>
                      <a:pt x="282252" y="178741"/>
                      <a:pt x="277636" y="183357"/>
                    </a:cubicBezTo>
                    <a:cubicBezTo>
                      <a:pt x="275612" y="185381"/>
                      <a:pt x="272873" y="186532"/>
                      <a:pt x="270492" y="188119"/>
                    </a:cubicBezTo>
                    <a:cubicBezTo>
                      <a:pt x="257790" y="207171"/>
                      <a:pt x="274461" y="184150"/>
                      <a:pt x="258586" y="200025"/>
                    </a:cubicBezTo>
                    <a:cubicBezTo>
                      <a:pt x="256562" y="202049"/>
                      <a:pt x="255411" y="204788"/>
                      <a:pt x="253823" y="207169"/>
                    </a:cubicBezTo>
                    <a:cubicBezTo>
                      <a:pt x="247840" y="225122"/>
                      <a:pt x="255910" y="202996"/>
                      <a:pt x="246679" y="221457"/>
                    </a:cubicBezTo>
                    <a:cubicBezTo>
                      <a:pt x="243471" y="227873"/>
                      <a:pt x="245601" y="230437"/>
                      <a:pt x="239536" y="235744"/>
                    </a:cubicBezTo>
                    <a:cubicBezTo>
                      <a:pt x="235228" y="239513"/>
                      <a:pt x="230011" y="242094"/>
                      <a:pt x="225248" y="245269"/>
                    </a:cubicBezTo>
                    <a:cubicBezTo>
                      <a:pt x="222867" y="246857"/>
                      <a:pt x="220819" y="249127"/>
                      <a:pt x="218104" y="250032"/>
                    </a:cubicBezTo>
                    <a:lnTo>
                      <a:pt x="203817" y="254794"/>
                    </a:lnTo>
                    <a:cubicBezTo>
                      <a:pt x="201436" y="255588"/>
                      <a:pt x="199168" y="256898"/>
                      <a:pt x="196673" y="257175"/>
                    </a:cubicBezTo>
                    <a:lnTo>
                      <a:pt x="175242" y="259557"/>
                    </a:lnTo>
                    <a:lnTo>
                      <a:pt x="160954" y="264319"/>
                    </a:lnTo>
                    <a:lnTo>
                      <a:pt x="153811" y="266700"/>
                    </a:lnTo>
                    <a:cubicBezTo>
                      <a:pt x="138453" y="276940"/>
                      <a:pt x="149743" y="266735"/>
                      <a:pt x="144286" y="297657"/>
                    </a:cubicBezTo>
                    <a:cubicBezTo>
                      <a:pt x="143414" y="302601"/>
                      <a:pt x="139523" y="311944"/>
                      <a:pt x="139523" y="311944"/>
                    </a:cubicBezTo>
                    <a:cubicBezTo>
                      <a:pt x="138729" y="320675"/>
                      <a:pt x="139720" y="329758"/>
                      <a:pt x="137142" y="338138"/>
                    </a:cubicBezTo>
                    <a:cubicBezTo>
                      <a:pt x="136300" y="340873"/>
                      <a:pt x="132558" y="341620"/>
                      <a:pt x="129998" y="342900"/>
                    </a:cubicBezTo>
                    <a:cubicBezTo>
                      <a:pt x="110286" y="352756"/>
                      <a:pt x="136175" y="336401"/>
                      <a:pt x="115711" y="350044"/>
                    </a:cubicBezTo>
                    <a:cubicBezTo>
                      <a:pt x="114917" y="352425"/>
                      <a:pt x="113329" y="354678"/>
                      <a:pt x="113329" y="357188"/>
                    </a:cubicBezTo>
                    <a:cubicBezTo>
                      <a:pt x="113329" y="363070"/>
                      <a:pt x="118862" y="374677"/>
                      <a:pt x="113329" y="381000"/>
                    </a:cubicBezTo>
                    <a:cubicBezTo>
                      <a:pt x="109560" y="385307"/>
                      <a:pt x="103804" y="387350"/>
                      <a:pt x="99042" y="390525"/>
                    </a:cubicBezTo>
                    <a:cubicBezTo>
                      <a:pt x="89175" y="397104"/>
                      <a:pt x="94675" y="394594"/>
                      <a:pt x="82373" y="397669"/>
                    </a:cubicBezTo>
                    <a:cubicBezTo>
                      <a:pt x="77611" y="400844"/>
                      <a:pt x="69896" y="401764"/>
                      <a:pt x="68086" y="407194"/>
                    </a:cubicBezTo>
                    <a:cubicBezTo>
                      <a:pt x="65091" y="416177"/>
                      <a:pt x="64367" y="420437"/>
                      <a:pt x="56179" y="428625"/>
                    </a:cubicBezTo>
                    <a:cubicBezTo>
                      <a:pt x="51417" y="433388"/>
                      <a:pt x="47496" y="439177"/>
                      <a:pt x="41892" y="442913"/>
                    </a:cubicBezTo>
                    <a:lnTo>
                      <a:pt x="27604" y="452438"/>
                    </a:lnTo>
                    <a:cubicBezTo>
                      <a:pt x="26017" y="463550"/>
                      <a:pt x="23858" y="474596"/>
                      <a:pt x="22842" y="485775"/>
                    </a:cubicBezTo>
                    <a:cubicBezTo>
                      <a:pt x="22084" y="494115"/>
                      <a:pt x="22044" y="516738"/>
                      <a:pt x="15698" y="526257"/>
                    </a:cubicBezTo>
                    <a:cubicBezTo>
                      <a:pt x="14111" y="528638"/>
                      <a:pt x="12959" y="531377"/>
                      <a:pt x="10936" y="533400"/>
                    </a:cubicBezTo>
                    <a:cubicBezTo>
                      <a:pt x="8912" y="535424"/>
                      <a:pt x="6173" y="536575"/>
                      <a:pt x="3792" y="538163"/>
                    </a:cubicBezTo>
                    <a:cubicBezTo>
                      <a:pt x="-1955" y="546784"/>
                      <a:pt x="220" y="550070"/>
                      <a:pt x="1411" y="554832"/>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1" name="Freeform 310"/>
              <p:cNvSpPr/>
              <p:nvPr/>
            </p:nvSpPr>
            <p:spPr>
              <a:xfrm>
                <a:off x="5543079" y="3950141"/>
                <a:ext cx="72309" cy="211304"/>
              </a:xfrm>
              <a:custGeom>
                <a:avLst/>
                <a:gdLst>
                  <a:gd name="connsiteX0" fmla="*/ 36590 w 72309"/>
                  <a:gd name="connsiteY0" fmla="*/ 1754 h 211304"/>
                  <a:gd name="connsiteX1" fmla="*/ 48496 w 72309"/>
                  <a:gd name="connsiteY1" fmla="*/ 4136 h 211304"/>
                  <a:gd name="connsiteX2" fmla="*/ 60402 w 72309"/>
                  <a:gd name="connsiteY2" fmla="*/ 25567 h 211304"/>
                  <a:gd name="connsiteX3" fmla="*/ 69927 w 72309"/>
                  <a:gd name="connsiteY3" fmla="*/ 51761 h 211304"/>
                  <a:gd name="connsiteX4" fmla="*/ 67546 w 72309"/>
                  <a:gd name="connsiteY4" fmla="*/ 66048 h 211304"/>
                  <a:gd name="connsiteX5" fmla="*/ 72309 w 72309"/>
                  <a:gd name="connsiteY5" fmla="*/ 111292 h 211304"/>
                  <a:gd name="connsiteX6" fmla="*/ 69927 w 72309"/>
                  <a:gd name="connsiteY6" fmla="*/ 139867 h 211304"/>
                  <a:gd name="connsiteX7" fmla="*/ 65165 w 72309"/>
                  <a:gd name="connsiteY7" fmla="*/ 156536 h 211304"/>
                  <a:gd name="connsiteX8" fmla="*/ 62784 w 72309"/>
                  <a:gd name="connsiteY8" fmla="*/ 166061 h 211304"/>
                  <a:gd name="connsiteX9" fmla="*/ 48496 w 72309"/>
                  <a:gd name="connsiteY9" fmla="*/ 175586 h 211304"/>
                  <a:gd name="connsiteX10" fmla="*/ 34209 w 72309"/>
                  <a:gd name="connsiteY10" fmla="*/ 185111 h 211304"/>
                  <a:gd name="connsiteX11" fmla="*/ 27065 w 72309"/>
                  <a:gd name="connsiteY11" fmla="*/ 189873 h 211304"/>
                  <a:gd name="connsiteX12" fmla="*/ 22302 w 72309"/>
                  <a:gd name="connsiteY12" fmla="*/ 197017 h 211304"/>
                  <a:gd name="connsiteX13" fmla="*/ 15159 w 72309"/>
                  <a:gd name="connsiteY13" fmla="*/ 211304 h 211304"/>
                  <a:gd name="connsiteX14" fmla="*/ 871 w 72309"/>
                  <a:gd name="connsiteY14" fmla="*/ 208923 h 211304"/>
                  <a:gd name="connsiteX15" fmla="*/ 3252 w 72309"/>
                  <a:gd name="connsiteY15" fmla="*/ 197017 h 211304"/>
                  <a:gd name="connsiteX16" fmla="*/ 8015 w 72309"/>
                  <a:gd name="connsiteY16" fmla="*/ 182729 h 211304"/>
                  <a:gd name="connsiteX17" fmla="*/ 5634 w 72309"/>
                  <a:gd name="connsiteY17" fmla="*/ 156536 h 211304"/>
                  <a:gd name="connsiteX18" fmla="*/ 871 w 72309"/>
                  <a:gd name="connsiteY18" fmla="*/ 139867 h 211304"/>
                  <a:gd name="connsiteX19" fmla="*/ 3252 w 72309"/>
                  <a:gd name="connsiteY19" fmla="*/ 61286 h 211304"/>
                  <a:gd name="connsiteX20" fmla="*/ 10396 w 72309"/>
                  <a:gd name="connsiteY20" fmla="*/ 56523 h 211304"/>
                  <a:gd name="connsiteX21" fmla="*/ 15159 w 72309"/>
                  <a:gd name="connsiteY21" fmla="*/ 37473 h 211304"/>
                  <a:gd name="connsiteX22" fmla="*/ 17540 w 72309"/>
                  <a:gd name="connsiteY22" fmla="*/ 30329 h 211304"/>
                  <a:gd name="connsiteX23" fmla="*/ 36590 w 72309"/>
                  <a:gd name="connsiteY23" fmla="*/ 1754 h 2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309" h="211304">
                    <a:moveTo>
                      <a:pt x="36590" y="1754"/>
                    </a:moveTo>
                    <a:cubicBezTo>
                      <a:pt x="41749" y="-2612"/>
                      <a:pt x="44876" y="2326"/>
                      <a:pt x="48496" y="4136"/>
                    </a:cubicBezTo>
                    <a:cubicBezTo>
                      <a:pt x="56547" y="8161"/>
                      <a:pt x="58516" y="18024"/>
                      <a:pt x="60402" y="25567"/>
                    </a:cubicBezTo>
                    <a:cubicBezTo>
                      <a:pt x="65859" y="47393"/>
                      <a:pt x="61535" y="39171"/>
                      <a:pt x="69927" y="51761"/>
                    </a:cubicBezTo>
                    <a:cubicBezTo>
                      <a:pt x="69133" y="56523"/>
                      <a:pt x="67546" y="61220"/>
                      <a:pt x="67546" y="66048"/>
                    </a:cubicBezTo>
                    <a:cubicBezTo>
                      <a:pt x="67546" y="99043"/>
                      <a:pt x="66403" y="93578"/>
                      <a:pt x="72309" y="111292"/>
                    </a:cubicBezTo>
                    <a:cubicBezTo>
                      <a:pt x="71515" y="120817"/>
                      <a:pt x="71113" y="130383"/>
                      <a:pt x="69927" y="139867"/>
                    </a:cubicBezTo>
                    <a:cubicBezTo>
                      <a:pt x="69100" y="146484"/>
                      <a:pt x="66922" y="150385"/>
                      <a:pt x="65165" y="156536"/>
                    </a:cubicBezTo>
                    <a:cubicBezTo>
                      <a:pt x="64266" y="159683"/>
                      <a:pt x="64408" y="163220"/>
                      <a:pt x="62784" y="166061"/>
                    </a:cubicBezTo>
                    <a:cubicBezTo>
                      <a:pt x="56886" y="176382"/>
                      <a:pt x="56582" y="171093"/>
                      <a:pt x="48496" y="175586"/>
                    </a:cubicBezTo>
                    <a:cubicBezTo>
                      <a:pt x="43493" y="178366"/>
                      <a:pt x="38971" y="181936"/>
                      <a:pt x="34209" y="185111"/>
                    </a:cubicBezTo>
                    <a:lnTo>
                      <a:pt x="27065" y="189873"/>
                    </a:lnTo>
                    <a:cubicBezTo>
                      <a:pt x="25477" y="192254"/>
                      <a:pt x="23582" y="194457"/>
                      <a:pt x="22302" y="197017"/>
                    </a:cubicBezTo>
                    <a:cubicBezTo>
                      <a:pt x="12442" y="216737"/>
                      <a:pt x="28808" y="190830"/>
                      <a:pt x="15159" y="211304"/>
                    </a:cubicBezTo>
                    <a:cubicBezTo>
                      <a:pt x="10396" y="210510"/>
                      <a:pt x="3962" y="212632"/>
                      <a:pt x="871" y="208923"/>
                    </a:cubicBezTo>
                    <a:cubicBezTo>
                      <a:pt x="-1720" y="205814"/>
                      <a:pt x="2187" y="200922"/>
                      <a:pt x="3252" y="197017"/>
                    </a:cubicBezTo>
                    <a:cubicBezTo>
                      <a:pt x="4573" y="192174"/>
                      <a:pt x="8015" y="182729"/>
                      <a:pt x="8015" y="182729"/>
                    </a:cubicBezTo>
                    <a:cubicBezTo>
                      <a:pt x="7221" y="173998"/>
                      <a:pt x="6793" y="165226"/>
                      <a:pt x="5634" y="156536"/>
                    </a:cubicBezTo>
                    <a:cubicBezTo>
                      <a:pt x="4970" y="151559"/>
                      <a:pt x="2502" y="144760"/>
                      <a:pt x="871" y="139867"/>
                    </a:cubicBezTo>
                    <a:cubicBezTo>
                      <a:pt x="1665" y="113673"/>
                      <a:pt x="276" y="87322"/>
                      <a:pt x="3252" y="61286"/>
                    </a:cubicBezTo>
                    <a:cubicBezTo>
                      <a:pt x="3577" y="58442"/>
                      <a:pt x="8608" y="58758"/>
                      <a:pt x="10396" y="56523"/>
                    </a:cubicBezTo>
                    <a:cubicBezTo>
                      <a:pt x="12374" y="54051"/>
                      <a:pt x="14998" y="38117"/>
                      <a:pt x="15159" y="37473"/>
                    </a:cubicBezTo>
                    <a:cubicBezTo>
                      <a:pt x="15768" y="35038"/>
                      <a:pt x="15765" y="32104"/>
                      <a:pt x="17540" y="30329"/>
                    </a:cubicBezTo>
                    <a:cubicBezTo>
                      <a:pt x="32253" y="15616"/>
                      <a:pt x="31431" y="6120"/>
                      <a:pt x="36590" y="1754"/>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2" name="Freeform 311"/>
              <p:cNvSpPr/>
              <p:nvPr/>
            </p:nvSpPr>
            <p:spPr>
              <a:xfrm>
                <a:off x="5016900" y="2060104"/>
                <a:ext cx="1281084" cy="1657213"/>
              </a:xfrm>
              <a:custGeom>
                <a:avLst/>
                <a:gdLst>
                  <a:gd name="connsiteX0" fmla="*/ 85725 w 1281084"/>
                  <a:gd name="connsiteY0" fmla="*/ 724185 h 1657213"/>
                  <a:gd name="connsiteX1" fmla="*/ 142875 w 1281084"/>
                  <a:gd name="connsiteY1" fmla="*/ 721010 h 1657213"/>
                  <a:gd name="connsiteX2" fmla="*/ 171450 w 1281084"/>
                  <a:gd name="connsiteY2" fmla="*/ 730535 h 1657213"/>
                  <a:gd name="connsiteX3" fmla="*/ 184150 w 1281084"/>
                  <a:gd name="connsiteY3" fmla="*/ 711485 h 1657213"/>
                  <a:gd name="connsiteX4" fmla="*/ 187325 w 1281084"/>
                  <a:gd name="connsiteY4" fmla="*/ 686085 h 1657213"/>
                  <a:gd name="connsiteX5" fmla="*/ 193675 w 1281084"/>
                  <a:gd name="connsiteY5" fmla="*/ 657510 h 1657213"/>
                  <a:gd name="connsiteX6" fmla="*/ 206375 w 1281084"/>
                  <a:gd name="connsiteY6" fmla="*/ 638460 h 1657213"/>
                  <a:gd name="connsiteX7" fmla="*/ 215900 w 1281084"/>
                  <a:gd name="connsiteY7" fmla="*/ 632110 h 1657213"/>
                  <a:gd name="connsiteX8" fmla="*/ 225425 w 1281084"/>
                  <a:gd name="connsiteY8" fmla="*/ 613060 h 1657213"/>
                  <a:gd name="connsiteX9" fmla="*/ 219075 w 1281084"/>
                  <a:gd name="connsiteY9" fmla="*/ 578135 h 1657213"/>
                  <a:gd name="connsiteX10" fmla="*/ 222250 w 1281084"/>
                  <a:gd name="connsiteY10" fmla="*/ 546385 h 1657213"/>
                  <a:gd name="connsiteX11" fmla="*/ 231775 w 1281084"/>
                  <a:gd name="connsiteY11" fmla="*/ 536860 h 1657213"/>
                  <a:gd name="connsiteX12" fmla="*/ 254000 w 1281084"/>
                  <a:gd name="connsiteY12" fmla="*/ 508285 h 1657213"/>
                  <a:gd name="connsiteX13" fmla="*/ 273050 w 1281084"/>
                  <a:gd name="connsiteY13" fmla="*/ 501935 h 1657213"/>
                  <a:gd name="connsiteX14" fmla="*/ 292100 w 1281084"/>
                  <a:gd name="connsiteY14" fmla="*/ 495585 h 1657213"/>
                  <a:gd name="connsiteX15" fmla="*/ 301625 w 1281084"/>
                  <a:gd name="connsiteY15" fmla="*/ 492410 h 1657213"/>
                  <a:gd name="connsiteX16" fmla="*/ 311150 w 1281084"/>
                  <a:gd name="connsiteY16" fmla="*/ 489235 h 1657213"/>
                  <a:gd name="connsiteX17" fmla="*/ 317500 w 1281084"/>
                  <a:gd name="connsiteY17" fmla="*/ 479710 h 1657213"/>
                  <a:gd name="connsiteX18" fmla="*/ 314325 w 1281084"/>
                  <a:gd name="connsiteY18" fmla="*/ 444785 h 1657213"/>
                  <a:gd name="connsiteX19" fmla="*/ 304800 w 1281084"/>
                  <a:gd name="connsiteY19" fmla="*/ 435260 h 1657213"/>
                  <a:gd name="connsiteX20" fmla="*/ 301625 w 1281084"/>
                  <a:gd name="connsiteY20" fmla="*/ 425735 h 1657213"/>
                  <a:gd name="connsiteX21" fmla="*/ 304800 w 1281084"/>
                  <a:gd name="connsiteY21" fmla="*/ 400335 h 1657213"/>
                  <a:gd name="connsiteX22" fmla="*/ 314325 w 1281084"/>
                  <a:gd name="connsiteY22" fmla="*/ 365410 h 1657213"/>
                  <a:gd name="connsiteX23" fmla="*/ 323850 w 1281084"/>
                  <a:gd name="connsiteY23" fmla="*/ 346360 h 1657213"/>
                  <a:gd name="connsiteX24" fmla="*/ 355600 w 1281084"/>
                  <a:gd name="connsiteY24" fmla="*/ 336835 h 1657213"/>
                  <a:gd name="connsiteX25" fmla="*/ 384175 w 1281084"/>
                  <a:gd name="connsiteY25" fmla="*/ 320960 h 1657213"/>
                  <a:gd name="connsiteX26" fmla="*/ 393700 w 1281084"/>
                  <a:gd name="connsiteY26" fmla="*/ 311435 h 1657213"/>
                  <a:gd name="connsiteX27" fmla="*/ 403225 w 1281084"/>
                  <a:gd name="connsiteY27" fmla="*/ 305085 h 1657213"/>
                  <a:gd name="connsiteX28" fmla="*/ 412750 w 1281084"/>
                  <a:gd name="connsiteY28" fmla="*/ 292385 h 1657213"/>
                  <a:gd name="connsiteX29" fmla="*/ 415925 w 1281084"/>
                  <a:gd name="connsiteY29" fmla="*/ 282860 h 1657213"/>
                  <a:gd name="connsiteX30" fmla="*/ 422275 w 1281084"/>
                  <a:gd name="connsiteY30" fmla="*/ 244760 h 1657213"/>
                  <a:gd name="connsiteX31" fmla="*/ 425450 w 1281084"/>
                  <a:gd name="connsiteY31" fmla="*/ 225710 h 1657213"/>
                  <a:gd name="connsiteX32" fmla="*/ 434975 w 1281084"/>
                  <a:gd name="connsiteY32" fmla="*/ 133635 h 1657213"/>
                  <a:gd name="connsiteX33" fmla="*/ 441325 w 1281084"/>
                  <a:gd name="connsiteY33" fmla="*/ 89185 h 1657213"/>
                  <a:gd name="connsiteX34" fmla="*/ 444500 w 1281084"/>
                  <a:gd name="connsiteY34" fmla="*/ 79660 h 1657213"/>
                  <a:gd name="connsiteX35" fmla="*/ 447675 w 1281084"/>
                  <a:gd name="connsiteY35" fmla="*/ 60610 h 1657213"/>
                  <a:gd name="connsiteX36" fmla="*/ 450850 w 1281084"/>
                  <a:gd name="connsiteY36" fmla="*/ 51085 h 1657213"/>
                  <a:gd name="connsiteX37" fmla="*/ 479425 w 1281084"/>
                  <a:gd name="connsiteY37" fmla="*/ 35210 h 1657213"/>
                  <a:gd name="connsiteX38" fmla="*/ 488950 w 1281084"/>
                  <a:gd name="connsiteY38" fmla="*/ 16160 h 1657213"/>
                  <a:gd name="connsiteX39" fmla="*/ 498475 w 1281084"/>
                  <a:gd name="connsiteY39" fmla="*/ 9810 h 1657213"/>
                  <a:gd name="connsiteX40" fmla="*/ 504825 w 1281084"/>
                  <a:gd name="connsiteY40" fmla="*/ 285 h 1657213"/>
                  <a:gd name="connsiteX41" fmla="*/ 533400 w 1281084"/>
                  <a:gd name="connsiteY41" fmla="*/ 6635 h 1657213"/>
                  <a:gd name="connsiteX42" fmla="*/ 549275 w 1281084"/>
                  <a:gd name="connsiteY42" fmla="*/ 3460 h 1657213"/>
                  <a:gd name="connsiteX43" fmla="*/ 558800 w 1281084"/>
                  <a:gd name="connsiteY43" fmla="*/ 285 h 1657213"/>
                  <a:gd name="connsiteX44" fmla="*/ 628650 w 1281084"/>
                  <a:gd name="connsiteY44" fmla="*/ 3460 h 1657213"/>
                  <a:gd name="connsiteX45" fmla="*/ 685800 w 1281084"/>
                  <a:gd name="connsiteY45" fmla="*/ 19335 h 1657213"/>
                  <a:gd name="connsiteX46" fmla="*/ 704850 w 1281084"/>
                  <a:gd name="connsiteY46" fmla="*/ 12985 h 1657213"/>
                  <a:gd name="connsiteX47" fmla="*/ 723900 w 1281084"/>
                  <a:gd name="connsiteY47" fmla="*/ 3460 h 1657213"/>
                  <a:gd name="connsiteX48" fmla="*/ 765175 w 1281084"/>
                  <a:gd name="connsiteY48" fmla="*/ 285 h 1657213"/>
                  <a:gd name="connsiteX49" fmla="*/ 815975 w 1281084"/>
                  <a:gd name="connsiteY49" fmla="*/ 3460 h 1657213"/>
                  <a:gd name="connsiteX50" fmla="*/ 825500 w 1281084"/>
                  <a:gd name="connsiteY50" fmla="*/ 6635 h 1657213"/>
                  <a:gd name="connsiteX51" fmla="*/ 844550 w 1281084"/>
                  <a:gd name="connsiteY51" fmla="*/ 19335 h 1657213"/>
                  <a:gd name="connsiteX52" fmla="*/ 854075 w 1281084"/>
                  <a:gd name="connsiteY52" fmla="*/ 28860 h 1657213"/>
                  <a:gd name="connsiteX53" fmla="*/ 860425 w 1281084"/>
                  <a:gd name="connsiteY53" fmla="*/ 38385 h 1657213"/>
                  <a:gd name="connsiteX54" fmla="*/ 879475 w 1281084"/>
                  <a:gd name="connsiteY54" fmla="*/ 47910 h 1657213"/>
                  <a:gd name="connsiteX55" fmla="*/ 889000 w 1281084"/>
                  <a:gd name="connsiteY55" fmla="*/ 57435 h 1657213"/>
                  <a:gd name="connsiteX56" fmla="*/ 898525 w 1281084"/>
                  <a:gd name="connsiteY56" fmla="*/ 63785 h 1657213"/>
                  <a:gd name="connsiteX57" fmla="*/ 908050 w 1281084"/>
                  <a:gd name="connsiteY57" fmla="*/ 76485 h 1657213"/>
                  <a:gd name="connsiteX58" fmla="*/ 917575 w 1281084"/>
                  <a:gd name="connsiteY58" fmla="*/ 98710 h 1657213"/>
                  <a:gd name="connsiteX59" fmla="*/ 920750 w 1281084"/>
                  <a:gd name="connsiteY59" fmla="*/ 108235 h 1657213"/>
                  <a:gd name="connsiteX60" fmla="*/ 933450 w 1281084"/>
                  <a:gd name="connsiteY60" fmla="*/ 127285 h 1657213"/>
                  <a:gd name="connsiteX61" fmla="*/ 939800 w 1281084"/>
                  <a:gd name="connsiteY61" fmla="*/ 136810 h 1657213"/>
                  <a:gd name="connsiteX62" fmla="*/ 971550 w 1281084"/>
                  <a:gd name="connsiteY62" fmla="*/ 146335 h 1657213"/>
                  <a:gd name="connsiteX63" fmla="*/ 981075 w 1281084"/>
                  <a:gd name="connsiteY63" fmla="*/ 149510 h 1657213"/>
                  <a:gd name="connsiteX64" fmla="*/ 987425 w 1281084"/>
                  <a:gd name="connsiteY64" fmla="*/ 159035 h 1657213"/>
                  <a:gd name="connsiteX65" fmla="*/ 965200 w 1281084"/>
                  <a:gd name="connsiteY65" fmla="*/ 181260 h 1657213"/>
                  <a:gd name="connsiteX66" fmla="*/ 866775 w 1281084"/>
                  <a:gd name="connsiteY66" fmla="*/ 184435 h 1657213"/>
                  <a:gd name="connsiteX67" fmla="*/ 847725 w 1281084"/>
                  <a:gd name="connsiteY67" fmla="*/ 190785 h 1657213"/>
                  <a:gd name="connsiteX68" fmla="*/ 838200 w 1281084"/>
                  <a:gd name="connsiteY68" fmla="*/ 193960 h 1657213"/>
                  <a:gd name="connsiteX69" fmla="*/ 835025 w 1281084"/>
                  <a:gd name="connsiteY69" fmla="*/ 203485 h 1657213"/>
                  <a:gd name="connsiteX70" fmla="*/ 879475 w 1281084"/>
                  <a:gd name="connsiteY70" fmla="*/ 219360 h 1657213"/>
                  <a:gd name="connsiteX71" fmla="*/ 889000 w 1281084"/>
                  <a:gd name="connsiteY71" fmla="*/ 222535 h 1657213"/>
                  <a:gd name="connsiteX72" fmla="*/ 895350 w 1281084"/>
                  <a:gd name="connsiteY72" fmla="*/ 241585 h 1657213"/>
                  <a:gd name="connsiteX73" fmla="*/ 892175 w 1281084"/>
                  <a:gd name="connsiteY73" fmla="*/ 251110 h 1657213"/>
                  <a:gd name="connsiteX74" fmla="*/ 873125 w 1281084"/>
                  <a:gd name="connsiteY74" fmla="*/ 260635 h 1657213"/>
                  <a:gd name="connsiteX75" fmla="*/ 869950 w 1281084"/>
                  <a:gd name="connsiteY75" fmla="*/ 270160 h 1657213"/>
                  <a:gd name="connsiteX76" fmla="*/ 873125 w 1281084"/>
                  <a:gd name="connsiteY76" fmla="*/ 292385 h 1657213"/>
                  <a:gd name="connsiteX77" fmla="*/ 911225 w 1281084"/>
                  <a:gd name="connsiteY77" fmla="*/ 301910 h 1657213"/>
                  <a:gd name="connsiteX78" fmla="*/ 920750 w 1281084"/>
                  <a:gd name="connsiteY78" fmla="*/ 308260 h 1657213"/>
                  <a:gd name="connsiteX79" fmla="*/ 930275 w 1281084"/>
                  <a:gd name="connsiteY79" fmla="*/ 311435 h 1657213"/>
                  <a:gd name="connsiteX80" fmla="*/ 939800 w 1281084"/>
                  <a:gd name="connsiteY80" fmla="*/ 320960 h 1657213"/>
                  <a:gd name="connsiteX81" fmla="*/ 946150 w 1281084"/>
                  <a:gd name="connsiteY81" fmla="*/ 340010 h 1657213"/>
                  <a:gd name="connsiteX82" fmla="*/ 949325 w 1281084"/>
                  <a:gd name="connsiteY82" fmla="*/ 349535 h 1657213"/>
                  <a:gd name="connsiteX83" fmla="*/ 958850 w 1281084"/>
                  <a:gd name="connsiteY83" fmla="*/ 355885 h 1657213"/>
                  <a:gd name="connsiteX84" fmla="*/ 962025 w 1281084"/>
                  <a:gd name="connsiteY84" fmla="*/ 365410 h 1657213"/>
                  <a:gd name="connsiteX85" fmla="*/ 968375 w 1281084"/>
                  <a:gd name="connsiteY85" fmla="*/ 374935 h 1657213"/>
                  <a:gd name="connsiteX86" fmla="*/ 971550 w 1281084"/>
                  <a:gd name="connsiteY86" fmla="*/ 387635 h 1657213"/>
                  <a:gd name="connsiteX87" fmla="*/ 974725 w 1281084"/>
                  <a:gd name="connsiteY87" fmla="*/ 397160 h 1657213"/>
                  <a:gd name="connsiteX88" fmla="*/ 981075 w 1281084"/>
                  <a:gd name="connsiteY88" fmla="*/ 419385 h 1657213"/>
                  <a:gd name="connsiteX89" fmla="*/ 996950 w 1281084"/>
                  <a:gd name="connsiteY89" fmla="*/ 438435 h 1657213"/>
                  <a:gd name="connsiteX90" fmla="*/ 1009650 w 1281084"/>
                  <a:gd name="connsiteY90" fmla="*/ 457485 h 1657213"/>
                  <a:gd name="connsiteX91" fmla="*/ 1016000 w 1281084"/>
                  <a:gd name="connsiteY91" fmla="*/ 467010 h 1657213"/>
                  <a:gd name="connsiteX92" fmla="*/ 1025525 w 1281084"/>
                  <a:gd name="connsiteY92" fmla="*/ 476535 h 1657213"/>
                  <a:gd name="connsiteX93" fmla="*/ 1035050 w 1281084"/>
                  <a:gd name="connsiteY93" fmla="*/ 495585 h 1657213"/>
                  <a:gd name="connsiteX94" fmla="*/ 1038225 w 1281084"/>
                  <a:gd name="connsiteY94" fmla="*/ 505110 h 1657213"/>
                  <a:gd name="connsiteX95" fmla="*/ 1047750 w 1281084"/>
                  <a:gd name="connsiteY95" fmla="*/ 511460 h 1657213"/>
                  <a:gd name="connsiteX96" fmla="*/ 1060450 w 1281084"/>
                  <a:gd name="connsiteY96" fmla="*/ 530510 h 1657213"/>
                  <a:gd name="connsiteX97" fmla="*/ 1041400 w 1281084"/>
                  <a:gd name="connsiteY97" fmla="*/ 536860 h 1657213"/>
                  <a:gd name="connsiteX98" fmla="*/ 1031875 w 1281084"/>
                  <a:gd name="connsiteY98" fmla="*/ 540035 h 1657213"/>
                  <a:gd name="connsiteX99" fmla="*/ 1019175 w 1281084"/>
                  <a:gd name="connsiteY99" fmla="*/ 559085 h 1657213"/>
                  <a:gd name="connsiteX100" fmla="*/ 1012825 w 1281084"/>
                  <a:gd name="connsiteY100" fmla="*/ 578135 h 1657213"/>
                  <a:gd name="connsiteX101" fmla="*/ 1019175 w 1281084"/>
                  <a:gd name="connsiteY101" fmla="*/ 644810 h 1657213"/>
                  <a:gd name="connsiteX102" fmla="*/ 1022350 w 1281084"/>
                  <a:gd name="connsiteY102" fmla="*/ 654335 h 1657213"/>
                  <a:gd name="connsiteX103" fmla="*/ 1041400 w 1281084"/>
                  <a:gd name="connsiteY103" fmla="*/ 673385 h 1657213"/>
                  <a:gd name="connsiteX104" fmla="*/ 1047750 w 1281084"/>
                  <a:gd name="connsiteY104" fmla="*/ 682910 h 1657213"/>
                  <a:gd name="connsiteX105" fmla="*/ 1066800 w 1281084"/>
                  <a:gd name="connsiteY105" fmla="*/ 695610 h 1657213"/>
                  <a:gd name="connsiteX106" fmla="*/ 1076325 w 1281084"/>
                  <a:gd name="connsiteY106" fmla="*/ 705135 h 1657213"/>
                  <a:gd name="connsiteX107" fmla="*/ 1089025 w 1281084"/>
                  <a:gd name="connsiteY107" fmla="*/ 714660 h 1657213"/>
                  <a:gd name="connsiteX108" fmla="*/ 1098550 w 1281084"/>
                  <a:gd name="connsiteY108" fmla="*/ 721010 h 1657213"/>
                  <a:gd name="connsiteX109" fmla="*/ 1127125 w 1281084"/>
                  <a:gd name="connsiteY109" fmla="*/ 743235 h 1657213"/>
                  <a:gd name="connsiteX110" fmla="*/ 1146175 w 1281084"/>
                  <a:gd name="connsiteY110" fmla="*/ 749585 h 1657213"/>
                  <a:gd name="connsiteX111" fmla="*/ 1155700 w 1281084"/>
                  <a:gd name="connsiteY111" fmla="*/ 755935 h 1657213"/>
                  <a:gd name="connsiteX112" fmla="*/ 1177925 w 1281084"/>
                  <a:gd name="connsiteY112" fmla="*/ 759110 h 1657213"/>
                  <a:gd name="connsiteX113" fmla="*/ 1196975 w 1281084"/>
                  <a:gd name="connsiteY113" fmla="*/ 774985 h 1657213"/>
                  <a:gd name="connsiteX114" fmla="*/ 1209675 w 1281084"/>
                  <a:gd name="connsiteY114" fmla="*/ 794035 h 1657213"/>
                  <a:gd name="connsiteX115" fmla="*/ 1216025 w 1281084"/>
                  <a:gd name="connsiteY115" fmla="*/ 803560 h 1657213"/>
                  <a:gd name="connsiteX116" fmla="*/ 1225550 w 1281084"/>
                  <a:gd name="connsiteY116" fmla="*/ 813085 h 1657213"/>
                  <a:gd name="connsiteX117" fmla="*/ 1247775 w 1281084"/>
                  <a:gd name="connsiteY117" fmla="*/ 828960 h 1657213"/>
                  <a:gd name="connsiteX118" fmla="*/ 1266825 w 1281084"/>
                  <a:gd name="connsiteY118" fmla="*/ 835310 h 1657213"/>
                  <a:gd name="connsiteX119" fmla="*/ 1279525 w 1281084"/>
                  <a:gd name="connsiteY119" fmla="*/ 854360 h 1657213"/>
                  <a:gd name="connsiteX120" fmla="*/ 1270000 w 1281084"/>
                  <a:gd name="connsiteY120" fmla="*/ 860710 h 1657213"/>
                  <a:gd name="connsiteX121" fmla="*/ 1247775 w 1281084"/>
                  <a:gd name="connsiteY121" fmla="*/ 863885 h 1657213"/>
                  <a:gd name="connsiteX122" fmla="*/ 1231900 w 1281084"/>
                  <a:gd name="connsiteY122" fmla="*/ 867060 h 1657213"/>
                  <a:gd name="connsiteX123" fmla="*/ 1212850 w 1281084"/>
                  <a:gd name="connsiteY123" fmla="*/ 876585 h 1657213"/>
                  <a:gd name="connsiteX124" fmla="*/ 1146175 w 1281084"/>
                  <a:gd name="connsiteY124" fmla="*/ 882935 h 1657213"/>
                  <a:gd name="connsiteX125" fmla="*/ 1082675 w 1281084"/>
                  <a:gd name="connsiteY125" fmla="*/ 873410 h 1657213"/>
                  <a:gd name="connsiteX126" fmla="*/ 1073150 w 1281084"/>
                  <a:gd name="connsiteY126" fmla="*/ 863885 h 1657213"/>
                  <a:gd name="connsiteX127" fmla="*/ 1054100 w 1281084"/>
                  <a:gd name="connsiteY127" fmla="*/ 851185 h 1657213"/>
                  <a:gd name="connsiteX128" fmla="*/ 1035050 w 1281084"/>
                  <a:gd name="connsiteY128" fmla="*/ 844835 h 1657213"/>
                  <a:gd name="connsiteX129" fmla="*/ 1025525 w 1281084"/>
                  <a:gd name="connsiteY129" fmla="*/ 848010 h 1657213"/>
                  <a:gd name="connsiteX130" fmla="*/ 1019175 w 1281084"/>
                  <a:gd name="connsiteY130" fmla="*/ 870235 h 1657213"/>
                  <a:gd name="connsiteX131" fmla="*/ 1016000 w 1281084"/>
                  <a:gd name="connsiteY131" fmla="*/ 905160 h 1657213"/>
                  <a:gd name="connsiteX132" fmla="*/ 971550 w 1281084"/>
                  <a:gd name="connsiteY132" fmla="*/ 908335 h 1657213"/>
                  <a:gd name="connsiteX133" fmla="*/ 962025 w 1281084"/>
                  <a:gd name="connsiteY133" fmla="*/ 914685 h 1657213"/>
                  <a:gd name="connsiteX134" fmla="*/ 939800 w 1281084"/>
                  <a:gd name="connsiteY134" fmla="*/ 930560 h 1657213"/>
                  <a:gd name="connsiteX135" fmla="*/ 933450 w 1281084"/>
                  <a:gd name="connsiteY135" fmla="*/ 962310 h 1657213"/>
                  <a:gd name="connsiteX136" fmla="*/ 930275 w 1281084"/>
                  <a:gd name="connsiteY136" fmla="*/ 971835 h 1657213"/>
                  <a:gd name="connsiteX137" fmla="*/ 927100 w 1281084"/>
                  <a:gd name="connsiteY137" fmla="*/ 984535 h 1657213"/>
                  <a:gd name="connsiteX138" fmla="*/ 920750 w 1281084"/>
                  <a:gd name="connsiteY138" fmla="*/ 1009935 h 1657213"/>
                  <a:gd name="connsiteX139" fmla="*/ 901700 w 1281084"/>
                  <a:gd name="connsiteY139" fmla="*/ 1022635 h 1657213"/>
                  <a:gd name="connsiteX140" fmla="*/ 892175 w 1281084"/>
                  <a:gd name="connsiteY140" fmla="*/ 1028985 h 1657213"/>
                  <a:gd name="connsiteX141" fmla="*/ 885825 w 1281084"/>
                  <a:gd name="connsiteY141" fmla="*/ 1038510 h 1657213"/>
                  <a:gd name="connsiteX142" fmla="*/ 879475 w 1281084"/>
                  <a:gd name="connsiteY142" fmla="*/ 1057560 h 1657213"/>
                  <a:gd name="connsiteX143" fmla="*/ 882650 w 1281084"/>
                  <a:gd name="connsiteY143" fmla="*/ 1086135 h 1657213"/>
                  <a:gd name="connsiteX144" fmla="*/ 889000 w 1281084"/>
                  <a:gd name="connsiteY144" fmla="*/ 1105185 h 1657213"/>
                  <a:gd name="connsiteX145" fmla="*/ 892175 w 1281084"/>
                  <a:gd name="connsiteY145" fmla="*/ 1114710 h 1657213"/>
                  <a:gd name="connsiteX146" fmla="*/ 898525 w 1281084"/>
                  <a:gd name="connsiteY146" fmla="*/ 1171860 h 1657213"/>
                  <a:gd name="connsiteX147" fmla="*/ 901700 w 1281084"/>
                  <a:gd name="connsiteY147" fmla="*/ 1187735 h 1657213"/>
                  <a:gd name="connsiteX148" fmla="*/ 911225 w 1281084"/>
                  <a:gd name="connsiteY148" fmla="*/ 1216310 h 1657213"/>
                  <a:gd name="connsiteX149" fmla="*/ 914400 w 1281084"/>
                  <a:gd name="connsiteY149" fmla="*/ 1225835 h 1657213"/>
                  <a:gd name="connsiteX150" fmla="*/ 917575 w 1281084"/>
                  <a:gd name="connsiteY150" fmla="*/ 1235360 h 1657213"/>
                  <a:gd name="connsiteX151" fmla="*/ 914400 w 1281084"/>
                  <a:gd name="connsiteY151" fmla="*/ 1260760 h 1657213"/>
                  <a:gd name="connsiteX152" fmla="*/ 895350 w 1281084"/>
                  <a:gd name="connsiteY152" fmla="*/ 1270285 h 1657213"/>
                  <a:gd name="connsiteX153" fmla="*/ 885825 w 1281084"/>
                  <a:gd name="connsiteY153" fmla="*/ 1276635 h 1657213"/>
                  <a:gd name="connsiteX154" fmla="*/ 866775 w 1281084"/>
                  <a:gd name="connsiteY154" fmla="*/ 1286160 h 1657213"/>
                  <a:gd name="connsiteX155" fmla="*/ 860425 w 1281084"/>
                  <a:gd name="connsiteY155" fmla="*/ 1295685 h 1657213"/>
                  <a:gd name="connsiteX156" fmla="*/ 841375 w 1281084"/>
                  <a:gd name="connsiteY156" fmla="*/ 1305210 h 1657213"/>
                  <a:gd name="connsiteX157" fmla="*/ 825500 w 1281084"/>
                  <a:gd name="connsiteY157" fmla="*/ 1311560 h 1657213"/>
                  <a:gd name="connsiteX158" fmla="*/ 796925 w 1281084"/>
                  <a:gd name="connsiteY158" fmla="*/ 1333785 h 1657213"/>
                  <a:gd name="connsiteX159" fmla="*/ 787400 w 1281084"/>
                  <a:gd name="connsiteY159" fmla="*/ 1365535 h 1657213"/>
                  <a:gd name="connsiteX160" fmla="*/ 768350 w 1281084"/>
                  <a:gd name="connsiteY160" fmla="*/ 1378235 h 1657213"/>
                  <a:gd name="connsiteX161" fmla="*/ 758825 w 1281084"/>
                  <a:gd name="connsiteY161" fmla="*/ 1384585 h 1657213"/>
                  <a:gd name="connsiteX162" fmla="*/ 746125 w 1281084"/>
                  <a:gd name="connsiteY162" fmla="*/ 1403635 h 1657213"/>
                  <a:gd name="connsiteX163" fmla="*/ 739775 w 1281084"/>
                  <a:gd name="connsiteY163" fmla="*/ 1413160 h 1657213"/>
                  <a:gd name="connsiteX164" fmla="*/ 736600 w 1281084"/>
                  <a:gd name="connsiteY164" fmla="*/ 1422685 h 1657213"/>
                  <a:gd name="connsiteX165" fmla="*/ 727075 w 1281084"/>
                  <a:gd name="connsiteY165" fmla="*/ 1425860 h 1657213"/>
                  <a:gd name="connsiteX166" fmla="*/ 717550 w 1281084"/>
                  <a:gd name="connsiteY166" fmla="*/ 1432210 h 1657213"/>
                  <a:gd name="connsiteX167" fmla="*/ 688975 w 1281084"/>
                  <a:gd name="connsiteY167" fmla="*/ 1438560 h 1657213"/>
                  <a:gd name="connsiteX168" fmla="*/ 669925 w 1281084"/>
                  <a:gd name="connsiteY168" fmla="*/ 1444910 h 1657213"/>
                  <a:gd name="connsiteX169" fmla="*/ 666750 w 1281084"/>
                  <a:gd name="connsiteY169" fmla="*/ 1454435 h 1657213"/>
                  <a:gd name="connsiteX170" fmla="*/ 663575 w 1281084"/>
                  <a:gd name="connsiteY170" fmla="*/ 1470310 h 1657213"/>
                  <a:gd name="connsiteX171" fmla="*/ 654050 w 1281084"/>
                  <a:gd name="connsiteY171" fmla="*/ 1476660 h 1657213"/>
                  <a:gd name="connsiteX172" fmla="*/ 635000 w 1281084"/>
                  <a:gd name="connsiteY172" fmla="*/ 1479835 h 1657213"/>
                  <a:gd name="connsiteX173" fmla="*/ 619125 w 1281084"/>
                  <a:gd name="connsiteY173" fmla="*/ 1483010 h 1657213"/>
                  <a:gd name="connsiteX174" fmla="*/ 609600 w 1281084"/>
                  <a:gd name="connsiteY174" fmla="*/ 1489360 h 1657213"/>
                  <a:gd name="connsiteX175" fmla="*/ 590550 w 1281084"/>
                  <a:gd name="connsiteY175" fmla="*/ 1495710 h 1657213"/>
                  <a:gd name="connsiteX176" fmla="*/ 581025 w 1281084"/>
                  <a:gd name="connsiteY176" fmla="*/ 1502060 h 1657213"/>
                  <a:gd name="connsiteX177" fmla="*/ 584200 w 1281084"/>
                  <a:gd name="connsiteY177" fmla="*/ 1511585 h 1657213"/>
                  <a:gd name="connsiteX178" fmla="*/ 600075 w 1281084"/>
                  <a:gd name="connsiteY178" fmla="*/ 1514760 h 1657213"/>
                  <a:gd name="connsiteX179" fmla="*/ 612775 w 1281084"/>
                  <a:gd name="connsiteY179" fmla="*/ 1517935 h 1657213"/>
                  <a:gd name="connsiteX180" fmla="*/ 631825 w 1281084"/>
                  <a:gd name="connsiteY180" fmla="*/ 1524285 h 1657213"/>
                  <a:gd name="connsiteX181" fmla="*/ 631825 w 1281084"/>
                  <a:gd name="connsiteY181" fmla="*/ 1597310 h 1657213"/>
                  <a:gd name="connsiteX182" fmla="*/ 619125 w 1281084"/>
                  <a:gd name="connsiteY182" fmla="*/ 1616360 h 1657213"/>
                  <a:gd name="connsiteX183" fmla="*/ 647700 w 1281084"/>
                  <a:gd name="connsiteY183" fmla="*/ 1632235 h 1657213"/>
                  <a:gd name="connsiteX184" fmla="*/ 657225 w 1281084"/>
                  <a:gd name="connsiteY184" fmla="*/ 1638585 h 1657213"/>
                  <a:gd name="connsiteX185" fmla="*/ 654050 w 1281084"/>
                  <a:gd name="connsiteY185" fmla="*/ 1651285 h 1657213"/>
                  <a:gd name="connsiteX186" fmla="*/ 600075 w 1281084"/>
                  <a:gd name="connsiteY186" fmla="*/ 1641760 h 1657213"/>
                  <a:gd name="connsiteX187" fmla="*/ 584200 w 1281084"/>
                  <a:gd name="connsiteY187" fmla="*/ 1638585 h 1657213"/>
                  <a:gd name="connsiteX188" fmla="*/ 565150 w 1281084"/>
                  <a:gd name="connsiteY188" fmla="*/ 1629060 h 1657213"/>
                  <a:gd name="connsiteX189" fmla="*/ 549275 w 1281084"/>
                  <a:gd name="connsiteY189" fmla="*/ 1584610 h 1657213"/>
                  <a:gd name="connsiteX190" fmla="*/ 542925 w 1281084"/>
                  <a:gd name="connsiteY190" fmla="*/ 1565560 h 1657213"/>
                  <a:gd name="connsiteX191" fmla="*/ 539750 w 1281084"/>
                  <a:gd name="connsiteY191" fmla="*/ 1556035 h 1657213"/>
                  <a:gd name="connsiteX192" fmla="*/ 546100 w 1281084"/>
                  <a:gd name="connsiteY192" fmla="*/ 1517935 h 1657213"/>
                  <a:gd name="connsiteX193" fmla="*/ 552450 w 1281084"/>
                  <a:gd name="connsiteY193" fmla="*/ 1489360 h 1657213"/>
                  <a:gd name="connsiteX194" fmla="*/ 555625 w 1281084"/>
                  <a:gd name="connsiteY194" fmla="*/ 1473485 h 1657213"/>
                  <a:gd name="connsiteX195" fmla="*/ 552450 w 1281084"/>
                  <a:gd name="connsiteY195" fmla="*/ 1454435 h 1657213"/>
                  <a:gd name="connsiteX196" fmla="*/ 542925 w 1281084"/>
                  <a:gd name="connsiteY196" fmla="*/ 1425860 h 1657213"/>
                  <a:gd name="connsiteX197" fmla="*/ 539750 w 1281084"/>
                  <a:gd name="connsiteY197" fmla="*/ 1416335 h 1657213"/>
                  <a:gd name="connsiteX198" fmla="*/ 536575 w 1281084"/>
                  <a:gd name="connsiteY198" fmla="*/ 1397285 h 1657213"/>
                  <a:gd name="connsiteX199" fmla="*/ 517525 w 1281084"/>
                  <a:gd name="connsiteY199" fmla="*/ 1390935 h 1657213"/>
                  <a:gd name="connsiteX200" fmla="*/ 508000 w 1281084"/>
                  <a:gd name="connsiteY200" fmla="*/ 1384585 h 1657213"/>
                  <a:gd name="connsiteX201" fmla="*/ 498475 w 1281084"/>
                  <a:gd name="connsiteY201" fmla="*/ 1381410 h 1657213"/>
                  <a:gd name="connsiteX202" fmla="*/ 488950 w 1281084"/>
                  <a:gd name="connsiteY202" fmla="*/ 1371885 h 1657213"/>
                  <a:gd name="connsiteX203" fmla="*/ 479425 w 1281084"/>
                  <a:gd name="connsiteY203" fmla="*/ 1340135 h 1657213"/>
                  <a:gd name="connsiteX204" fmla="*/ 476250 w 1281084"/>
                  <a:gd name="connsiteY204" fmla="*/ 1330610 h 1657213"/>
                  <a:gd name="connsiteX205" fmla="*/ 466725 w 1281084"/>
                  <a:gd name="connsiteY205" fmla="*/ 1321085 h 1657213"/>
                  <a:gd name="connsiteX206" fmla="*/ 450850 w 1281084"/>
                  <a:gd name="connsiteY206" fmla="*/ 1302035 h 1657213"/>
                  <a:gd name="connsiteX207" fmla="*/ 441325 w 1281084"/>
                  <a:gd name="connsiteY207" fmla="*/ 1298860 h 1657213"/>
                  <a:gd name="connsiteX208" fmla="*/ 431800 w 1281084"/>
                  <a:gd name="connsiteY208" fmla="*/ 1292510 h 1657213"/>
                  <a:gd name="connsiteX209" fmla="*/ 412750 w 1281084"/>
                  <a:gd name="connsiteY209" fmla="*/ 1286160 h 1657213"/>
                  <a:gd name="connsiteX210" fmla="*/ 403225 w 1281084"/>
                  <a:gd name="connsiteY210" fmla="*/ 1279810 h 1657213"/>
                  <a:gd name="connsiteX211" fmla="*/ 374650 w 1281084"/>
                  <a:gd name="connsiteY211" fmla="*/ 1267110 h 1657213"/>
                  <a:gd name="connsiteX212" fmla="*/ 371475 w 1281084"/>
                  <a:gd name="connsiteY212" fmla="*/ 1257585 h 1657213"/>
                  <a:gd name="connsiteX213" fmla="*/ 365125 w 1281084"/>
                  <a:gd name="connsiteY213" fmla="*/ 1213135 h 1657213"/>
                  <a:gd name="connsiteX214" fmla="*/ 358775 w 1281084"/>
                  <a:gd name="connsiteY214" fmla="*/ 1194085 h 1657213"/>
                  <a:gd name="connsiteX215" fmla="*/ 349250 w 1281084"/>
                  <a:gd name="connsiteY215" fmla="*/ 1165510 h 1657213"/>
                  <a:gd name="connsiteX216" fmla="*/ 346075 w 1281084"/>
                  <a:gd name="connsiteY216" fmla="*/ 1155985 h 1657213"/>
                  <a:gd name="connsiteX217" fmla="*/ 349250 w 1281084"/>
                  <a:gd name="connsiteY217" fmla="*/ 1140110 h 1657213"/>
                  <a:gd name="connsiteX218" fmla="*/ 355600 w 1281084"/>
                  <a:gd name="connsiteY218" fmla="*/ 1121060 h 1657213"/>
                  <a:gd name="connsiteX219" fmla="*/ 352425 w 1281084"/>
                  <a:gd name="connsiteY219" fmla="*/ 1089310 h 1657213"/>
                  <a:gd name="connsiteX220" fmla="*/ 346075 w 1281084"/>
                  <a:gd name="connsiteY220" fmla="*/ 1079785 h 1657213"/>
                  <a:gd name="connsiteX221" fmla="*/ 320675 w 1281084"/>
                  <a:gd name="connsiteY221" fmla="*/ 1082960 h 1657213"/>
                  <a:gd name="connsiteX222" fmla="*/ 307975 w 1281084"/>
                  <a:gd name="connsiteY222" fmla="*/ 1102010 h 1657213"/>
                  <a:gd name="connsiteX223" fmla="*/ 301625 w 1281084"/>
                  <a:gd name="connsiteY223" fmla="*/ 1111535 h 1657213"/>
                  <a:gd name="connsiteX224" fmla="*/ 292100 w 1281084"/>
                  <a:gd name="connsiteY224" fmla="*/ 1114710 h 1657213"/>
                  <a:gd name="connsiteX225" fmla="*/ 273050 w 1281084"/>
                  <a:gd name="connsiteY225" fmla="*/ 1111535 h 1657213"/>
                  <a:gd name="connsiteX226" fmla="*/ 269875 w 1281084"/>
                  <a:gd name="connsiteY226" fmla="*/ 1102010 h 1657213"/>
                  <a:gd name="connsiteX227" fmla="*/ 282575 w 1281084"/>
                  <a:gd name="connsiteY227" fmla="*/ 1082960 h 1657213"/>
                  <a:gd name="connsiteX228" fmla="*/ 292100 w 1281084"/>
                  <a:gd name="connsiteY228" fmla="*/ 1054385 h 1657213"/>
                  <a:gd name="connsiteX229" fmla="*/ 295275 w 1281084"/>
                  <a:gd name="connsiteY229" fmla="*/ 1044860 h 1657213"/>
                  <a:gd name="connsiteX230" fmla="*/ 298450 w 1281084"/>
                  <a:gd name="connsiteY230" fmla="*/ 1035335 h 1657213"/>
                  <a:gd name="connsiteX231" fmla="*/ 301625 w 1281084"/>
                  <a:gd name="connsiteY231" fmla="*/ 997235 h 1657213"/>
                  <a:gd name="connsiteX232" fmla="*/ 301625 w 1281084"/>
                  <a:gd name="connsiteY232" fmla="*/ 924210 h 1657213"/>
                  <a:gd name="connsiteX233" fmla="*/ 292100 w 1281084"/>
                  <a:gd name="connsiteY233" fmla="*/ 917860 h 1657213"/>
                  <a:gd name="connsiteX234" fmla="*/ 273050 w 1281084"/>
                  <a:gd name="connsiteY234" fmla="*/ 911510 h 1657213"/>
                  <a:gd name="connsiteX235" fmla="*/ 196850 w 1281084"/>
                  <a:gd name="connsiteY235" fmla="*/ 914685 h 1657213"/>
                  <a:gd name="connsiteX236" fmla="*/ 177800 w 1281084"/>
                  <a:gd name="connsiteY236" fmla="*/ 924210 h 1657213"/>
                  <a:gd name="connsiteX237" fmla="*/ 139700 w 1281084"/>
                  <a:gd name="connsiteY237" fmla="*/ 933735 h 1657213"/>
                  <a:gd name="connsiteX238" fmla="*/ 47625 w 1281084"/>
                  <a:gd name="connsiteY238" fmla="*/ 927385 h 1657213"/>
                  <a:gd name="connsiteX239" fmla="*/ 28575 w 1281084"/>
                  <a:gd name="connsiteY239" fmla="*/ 921035 h 1657213"/>
                  <a:gd name="connsiteX240" fmla="*/ 19050 w 1281084"/>
                  <a:gd name="connsiteY240" fmla="*/ 917860 h 1657213"/>
                  <a:gd name="connsiteX241" fmla="*/ 9525 w 1281084"/>
                  <a:gd name="connsiteY241" fmla="*/ 914685 h 1657213"/>
                  <a:gd name="connsiteX242" fmla="*/ 6350 w 1281084"/>
                  <a:gd name="connsiteY242" fmla="*/ 886110 h 1657213"/>
                  <a:gd name="connsiteX243" fmla="*/ 3175 w 1281084"/>
                  <a:gd name="connsiteY243" fmla="*/ 870235 h 1657213"/>
                  <a:gd name="connsiteX244" fmla="*/ 0 w 1281084"/>
                  <a:gd name="connsiteY244" fmla="*/ 844835 h 1657213"/>
                  <a:gd name="connsiteX245" fmla="*/ 3175 w 1281084"/>
                  <a:gd name="connsiteY245" fmla="*/ 825785 h 1657213"/>
                  <a:gd name="connsiteX246" fmla="*/ 22225 w 1281084"/>
                  <a:gd name="connsiteY246" fmla="*/ 813085 h 1657213"/>
                  <a:gd name="connsiteX247" fmla="*/ 31750 w 1281084"/>
                  <a:gd name="connsiteY247" fmla="*/ 806735 h 1657213"/>
                  <a:gd name="connsiteX248" fmla="*/ 50800 w 1281084"/>
                  <a:gd name="connsiteY248" fmla="*/ 800385 h 1657213"/>
                  <a:gd name="connsiteX249" fmla="*/ 60325 w 1281084"/>
                  <a:gd name="connsiteY249" fmla="*/ 781335 h 1657213"/>
                  <a:gd name="connsiteX250" fmla="*/ 69850 w 1281084"/>
                  <a:gd name="connsiteY250" fmla="*/ 774985 h 1657213"/>
                  <a:gd name="connsiteX251" fmla="*/ 82550 w 1281084"/>
                  <a:gd name="connsiteY251" fmla="*/ 746410 h 1657213"/>
                  <a:gd name="connsiteX252" fmla="*/ 85725 w 1281084"/>
                  <a:gd name="connsiteY252" fmla="*/ 724185 h 16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281084" h="1657213">
                    <a:moveTo>
                      <a:pt x="85725" y="724185"/>
                    </a:moveTo>
                    <a:cubicBezTo>
                      <a:pt x="95779" y="719952"/>
                      <a:pt x="106765" y="716496"/>
                      <a:pt x="142875" y="721010"/>
                    </a:cubicBezTo>
                    <a:cubicBezTo>
                      <a:pt x="164710" y="735566"/>
                      <a:pt x="154685" y="736123"/>
                      <a:pt x="171450" y="730535"/>
                    </a:cubicBezTo>
                    <a:cubicBezTo>
                      <a:pt x="175683" y="724185"/>
                      <a:pt x="183203" y="719058"/>
                      <a:pt x="184150" y="711485"/>
                    </a:cubicBezTo>
                    <a:cubicBezTo>
                      <a:pt x="185208" y="703018"/>
                      <a:pt x="186118" y="694532"/>
                      <a:pt x="187325" y="686085"/>
                    </a:cubicBezTo>
                    <a:cubicBezTo>
                      <a:pt x="188021" y="681214"/>
                      <a:pt x="190039" y="664055"/>
                      <a:pt x="193675" y="657510"/>
                    </a:cubicBezTo>
                    <a:cubicBezTo>
                      <a:pt x="197381" y="650839"/>
                      <a:pt x="200025" y="642693"/>
                      <a:pt x="206375" y="638460"/>
                    </a:cubicBezTo>
                    <a:lnTo>
                      <a:pt x="215900" y="632110"/>
                    </a:lnTo>
                    <a:cubicBezTo>
                      <a:pt x="219111" y="627294"/>
                      <a:pt x="225425" y="619633"/>
                      <a:pt x="225425" y="613060"/>
                    </a:cubicBezTo>
                    <a:cubicBezTo>
                      <a:pt x="225425" y="608998"/>
                      <a:pt x="220107" y="583297"/>
                      <a:pt x="219075" y="578135"/>
                    </a:cubicBezTo>
                    <a:cubicBezTo>
                      <a:pt x="220133" y="567552"/>
                      <a:pt x="219122" y="556551"/>
                      <a:pt x="222250" y="546385"/>
                    </a:cubicBezTo>
                    <a:cubicBezTo>
                      <a:pt x="223570" y="542093"/>
                      <a:pt x="229018" y="540404"/>
                      <a:pt x="231775" y="536860"/>
                    </a:cubicBezTo>
                    <a:cubicBezTo>
                      <a:pt x="235986" y="531445"/>
                      <a:pt x="245538" y="512986"/>
                      <a:pt x="254000" y="508285"/>
                    </a:cubicBezTo>
                    <a:cubicBezTo>
                      <a:pt x="259851" y="505034"/>
                      <a:pt x="266700" y="504052"/>
                      <a:pt x="273050" y="501935"/>
                    </a:cubicBezTo>
                    <a:lnTo>
                      <a:pt x="292100" y="495585"/>
                    </a:lnTo>
                    <a:lnTo>
                      <a:pt x="301625" y="492410"/>
                    </a:lnTo>
                    <a:lnTo>
                      <a:pt x="311150" y="489235"/>
                    </a:lnTo>
                    <a:cubicBezTo>
                      <a:pt x="313267" y="486060"/>
                      <a:pt x="316160" y="483283"/>
                      <a:pt x="317500" y="479710"/>
                    </a:cubicBezTo>
                    <a:cubicBezTo>
                      <a:pt x="321301" y="469575"/>
                      <a:pt x="323234" y="453694"/>
                      <a:pt x="314325" y="444785"/>
                    </a:cubicBezTo>
                    <a:lnTo>
                      <a:pt x="304800" y="435260"/>
                    </a:lnTo>
                    <a:cubicBezTo>
                      <a:pt x="303742" y="432085"/>
                      <a:pt x="301625" y="429082"/>
                      <a:pt x="301625" y="425735"/>
                    </a:cubicBezTo>
                    <a:cubicBezTo>
                      <a:pt x="301625" y="417202"/>
                      <a:pt x="303503" y="408768"/>
                      <a:pt x="304800" y="400335"/>
                    </a:cubicBezTo>
                    <a:cubicBezTo>
                      <a:pt x="307364" y="383666"/>
                      <a:pt x="308654" y="382423"/>
                      <a:pt x="314325" y="365410"/>
                    </a:cubicBezTo>
                    <a:cubicBezTo>
                      <a:pt x="316055" y="360220"/>
                      <a:pt x="318667" y="349599"/>
                      <a:pt x="323850" y="346360"/>
                    </a:cubicBezTo>
                    <a:cubicBezTo>
                      <a:pt x="329003" y="343139"/>
                      <a:pt x="348165" y="338694"/>
                      <a:pt x="355600" y="336835"/>
                    </a:cubicBezTo>
                    <a:cubicBezTo>
                      <a:pt x="377435" y="322279"/>
                      <a:pt x="367410" y="326548"/>
                      <a:pt x="384175" y="320960"/>
                    </a:cubicBezTo>
                    <a:cubicBezTo>
                      <a:pt x="387350" y="317785"/>
                      <a:pt x="390251" y="314310"/>
                      <a:pt x="393700" y="311435"/>
                    </a:cubicBezTo>
                    <a:cubicBezTo>
                      <a:pt x="396631" y="308992"/>
                      <a:pt x="400527" y="307783"/>
                      <a:pt x="403225" y="305085"/>
                    </a:cubicBezTo>
                    <a:cubicBezTo>
                      <a:pt x="406967" y="301343"/>
                      <a:pt x="409575" y="296618"/>
                      <a:pt x="412750" y="292385"/>
                    </a:cubicBezTo>
                    <a:cubicBezTo>
                      <a:pt x="413808" y="289210"/>
                      <a:pt x="415113" y="286107"/>
                      <a:pt x="415925" y="282860"/>
                    </a:cubicBezTo>
                    <a:cubicBezTo>
                      <a:pt x="419279" y="269446"/>
                      <a:pt x="420124" y="258738"/>
                      <a:pt x="422275" y="244760"/>
                    </a:cubicBezTo>
                    <a:cubicBezTo>
                      <a:pt x="423254" y="238397"/>
                      <a:pt x="424392" y="232060"/>
                      <a:pt x="425450" y="225710"/>
                    </a:cubicBezTo>
                    <a:cubicBezTo>
                      <a:pt x="430927" y="143561"/>
                      <a:pt x="425146" y="212264"/>
                      <a:pt x="434975" y="133635"/>
                    </a:cubicBezTo>
                    <a:cubicBezTo>
                      <a:pt x="436348" y="122650"/>
                      <a:pt x="438709" y="100956"/>
                      <a:pt x="441325" y="89185"/>
                    </a:cubicBezTo>
                    <a:cubicBezTo>
                      <a:pt x="442051" y="85918"/>
                      <a:pt x="443774" y="82927"/>
                      <a:pt x="444500" y="79660"/>
                    </a:cubicBezTo>
                    <a:cubicBezTo>
                      <a:pt x="445897" y="73376"/>
                      <a:pt x="446278" y="66894"/>
                      <a:pt x="447675" y="60610"/>
                    </a:cubicBezTo>
                    <a:cubicBezTo>
                      <a:pt x="448401" y="57343"/>
                      <a:pt x="448483" y="53452"/>
                      <a:pt x="450850" y="51085"/>
                    </a:cubicBezTo>
                    <a:cubicBezTo>
                      <a:pt x="461767" y="40168"/>
                      <a:pt x="467447" y="39203"/>
                      <a:pt x="479425" y="35210"/>
                    </a:cubicBezTo>
                    <a:cubicBezTo>
                      <a:pt x="482007" y="27463"/>
                      <a:pt x="482795" y="22315"/>
                      <a:pt x="488950" y="16160"/>
                    </a:cubicBezTo>
                    <a:cubicBezTo>
                      <a:pt x="491648" y="13462"/>
                      <a:pt x="495300" y="11927"/>
                      <a:pt x="498475" y="9810"/>
                    </a:cubicBezTo>
                    <a:cubicBezTo>
                      <a:pt x="500592" y="6635"/>
                      <a:pt x="501123" y="1210"/>
                      <a:pt x="504825" y="285"/>
                    </a:cubicBezTo>
                    <a:cubicBezTo>
                      <a:pt x="511211" y="-1312"/>
                      <a:pt x="526068" y="4191"/>
                      <a:pt x="533400" y="6635"/>
                    </a:cubicBezTo>
                    <a:cubicBezTo>
                      <a:pt x="538692" y="5577"/>
                      <a:pt x="544040" y="4769"/>
                      <a:pt x="549275" y="3460"/>
                    </a:cubicBezTo>
                    <a:cubicBezTo>
                      <a:pt x="552522" y="2648"/>
                      <a:pt x="555453" y="285"/>
                      <a:pt x="558800" y="285"/>
                    </a:cubicBezTo>
                    <a:cubicBezTo>
                      <a:pt x="582107" y="285"/>
                      <a:pt x="605367" y="2402"/>
                      <a:pt x="628650" y="3460"/>
                    </a:cubicBezTo>
                    <a:cubicBezTo>
                      <a:pt x="656711" y="31521"/>
                      <a:pt x="638751" y="23256"/>
                      <a:pt x="685800" y="19335"/>
                    </a:cubicBezTo>
                    <a:cubicBezTo>
                      <a:pt x="692150" y="17218"/>
                      <a:pt x="699281" y="16698"/>
                      <a:pt x="704850" y="12985"/>
                    </a:cubicBezTo>
                    <a:cubicBezTo>
                      <a:pt x="711395" y="8622"/>
                      <a:pt x="715811" y="4471"/>
                      <a:pt x="723900" y="3460"/>
                    </a:cubicBezTo>
                    <a:cubicBezTo>
                      <a:pt x="737592" y="1748"/>
                      <a:pt x="751417" y="1343"/>
                      <a:pt x="765175" y="285"/>
                    </a:cubicBezTo>
                    <a:cubicBezTo>
                      <a:pt x="782108" y="1343"/>
                      <a:pt x="799102" y="1684"/>
                      <a:pt x="815975" y="3460"/>
                    </a:cubicBezTo>
                    <a:cubicBezTo>
                      <a:pt x="819303" y="3810"/>
                      <a:pt x="822574" y="5010"/>
                      <a:pt x="825500" y="6635"/>
                    </a:cubicBezTo>
                    <a:cubicBezTo>
                      <a:pt x="832171" y="10341"/>
                      <a:pt x="839154" y="13939"/>
                      <a:pt x="844550" y="19335"/>
                    </a:cubicBezTo>
                    <a:cubicBezTo>
                      <a:pt x="847725" y="22510"/>
                      <a:pt x="851200" y="25411"/>
                      <a:pt x="854075" y="28860"/>
                    </a:cubicBezTo>
                    <a:cubicBezTo>
                      <a:pt x="856518" y="31791"/>
                      <a:pt x="857727" y="35687"/>
                      <a:pt x="860425" y="38385"/>
                    </a:cubicBezTo>
                    <a:cubicBezTo>
                      <a:pt x="866580" y="44540"/>
                      <a:pt x="871728" y="45328"/>
                      <a:pt x="879475" y="47910"/>
                    </a:cubicBezTo>
                    <a:cubicBezTo>
                      <a:pt x="882650" y="51085"/>
                      <a:pt x="885551" y="54560"/>
                      <a:pt x="889000" y="57435"/>
                    </a:cubicBezTo>
                    <a:cubicBezTo>
                      <a:pt x="891931" y="59878"/>
                      <a:pt x="895827" y="61087"/>
                      <a:pt x="898525" y="63785"/>
                    </a:cubicBezTo>
                    <a:cubicBezTo>
                      <a:pt x="902267" y="67527"/>
                      <a:pt x="904875" y="72252"/>
                      <a:pt x="908050" y="76485"/>
                    </a:cubicBezTo>
                    <a:cubicBezTo>
                      <a:pt x="915496" y="98823"/>
                      <a:pt x="905805" y="71247"/>
                      <a:pt x="917575" y="98710"/>
                    </a:cubicBezTo>
                    <a:cubicBezTo>
                      <a:pt x="918893" y="101786"/>
                      <a:pt x="919125" y="105309"/>
                      <a:pt x="920750" y="108235"/>
                    </a:cubicBezTo>
                    <a:cubicBezTo>
                      <a:pt x="924456" y="114906"/>
                      <a:pt x="929217" y="120935"/>
                      <a:pt x="933450" y="127285"/>
                    </a:cubicBezTo>
                    <a:cubicBezTo>
                      <a:pt x="935567" y="130460"/>
                      <a:pt x="936098" y="135885"/>
                      <a:pt x="939800" y="136810"/>
                    </a:cubicBezTo>
                    <a:cubicBezTo>
                      <a:pt x="958994" y="141608"/>
                      <a:pt x="948360" y="138605"/>
                      <a:pt x="971550" y="146335"/>
                    </a:cubicBezTo>
                    <a:lnTo>
                      <a:pt x="981075" y="149510"/>
                    </a:lnTo>
                    <a:cubicBezTo>
                      <a:pt x="983192" y="152685"/>
                      <a:pt x="986952" y="155249"/>
                      <a:pt x="987425" y="159035"/>
                    </a:cubicBezTo>
                    <a:cubicBezTo>
                      <a:pt x="989470" y="175396"/>
                      <a:pt x="981267" y="180742"/>
                      <a:pt x="965200" y="181260"/>
                    </a:cubicBezTo>
                    <a:lnTo>
                      <a:pt x="866775" y="184435"/>
                    </a:lnTo>
                    <a:lnTo>
                      <a:pt x="847725" y="190785"/>
                    </a:lnTo>
                    <a:lnTo>
                      <a:pt x="838200" y="193960"/>
                    </a:lnTo>
                    <a:cubicBezTo>
                      <a:pt x="837142" y="197135"/>
                      <a:pt x="835025" y="200138"/>
                      <a:pt x="835025" y="203485"/>
                    </a:cubicBezTo>
                    <a:cubicBezTo>
                      <a:pt x="835025" y="229070"/>
                      <a:pt x="854473" y="217437"/>
                      <a:pt x="879475" y="219360"/>
                    </a:cubicBezTo>
                    <a:cubicBezTo>
                      <a:pt x="882650" y="220418"/>
                      <a:pt x="887055" y="219812"/>
                      <a:pt x="889000" y="222535"/>
                    </a:cubicBezTo>
                    <a:cubicBezTo>
                      <a:pt x="892891" y="227982"/>
                      <a:pt x="895350" y="241585"/>
                      <a:pt x="895350" y="241585"/>
                    </a:cubicBezTo>
                    <a:cubicBezTo>
                      <a:pt x="894292" y="244760"/>
                      <a:pt x="894266" y="248497"/>
                      <a:pt x="892175" y="251110"/>
                    </a:cubicBezTo>
                    <a:cubicBezTo>
                      <a:pt x="887699" y="256705"/>
                      <a:pt x="879400" y="258543"/>
                      <a:pt x="873125" y="260635"/>
                    </a:cubicBezTo>
                    <a:cubicBezTo>
                      <a:pt x="872067" y="263810"/>
                      <a:pt x="869950" y="266813"/>
                      <a:pt x="869950" y="270160"/>
                    </a:cubicBezTo>
                    <a:cubicBezTo>
                      <a:pt x="869950" y="277644"/>
                      <a:pt x="868531" y="286478"/>
                      <a:pt x="873125" y="292385"/>
                    </a:cubicBezTo>
                    <a:cubicBezTo>
                      <a:pt x="876872" y="297202"/>
                      <a:pt x="906164" y="301067"/>
                      <a:pt x="911225" y="301910"/>
                    </a:cubicBezTo>
                    <a:cubicBezTo>
                      <a:pt x="914400" y="304027"/>
                      <a:pt x="917337" y="306553"/>
                      <a:pt x="920750" y="308260"/>
                    </a:cubicBezTo>
                    <a:cubicBezTo>
                      <a:pt x="923743" y="309757"/>
                      <a:pt x="927490" y="309579"/>
                      <a:pt x="930275" y="311435"/>
                    </a:cubicBezTo>
                    <a:cubicBezTo>
                      <a:pt x="934011" y="313926"/>
                      <a:pt x="936625" y="317785"/>
                      <a:pt x="939800" y="320960"/>
                    </a:cubicBezTo>
                    <a:lnTo>
                      <a:pt x="946150" y="340010"/>
                    </a:lnTo>
                    <a:cubicBezTo>
                      <a:pt x="947208" y="343185"/>
                      <a:pt x="946540" y="347679"/>
                      <a:pt x="949325" y="349535"/>
                    </a:cubicBezTo>
                    <a:lnTo>
                      <a:pt x="958850" y="355885"/>
                    </a:lnTo>
                    <a:cubicBezTo>
                      <a:pt x="959908" y="359060"/>
                      <a:pt x="960528" y="362417"/>
                      <a:pt x="962025" y="365410"/>
                    </a:cubicBezTo>
                    <a:cubicBezTo>
                      <a:pt x="963732" y="368823"/>
                      <a:pt x="966872" y="371428"/>
                      <a:pt x="968375" y="374935"/>
                    </a:cubicBezTo>
                    <a:cubicBezTo>
                      <a:pt x="970094" y="378946"/>
                      <a:pt x="970351" y="383439"/>
                      <a:pt x="971550" y="387635"/>
                    </a:cubicBezTo>
                    <a:cubicBezTo>
                      <a:pt x="972469" y="390853"/>
                      <a:pt x="973806" y="393942"/>
                      <a:pt x="974725" y="397160"/>
                    </a:cubicBezTo>
                    <a:cubicBezTo>
                      <a:pt x="976081" y="401907"/>
                      <a:pt x="978537" y="414310"/>
                      <a:pt x="981075" y="419385"/>
                    </a:cubicBezTo>
                    <a:cubicBezTo>
                      <a:pt x="987882" y="433000"/>
                      <a:pt x="987119" y="425796"/>
                      <a:pt x="996950" y="438435"/>
                    </a:cubicBezTo>
                    <a:cubicBezTo>
                      <a:pt x="1001635" y="444459"/>
                      <a:pt x="1005417" y="451135"/>
                      <a:pt x="1009650" y="457485"/>
                    </a:cubicBezTo>
                    <a:cubicBezTo>
                      <a:pt x="1011767" y="460660"/>
                      <a:pt x="1013302" y="464312"/>
                      <a:pt x="1016000" y="467010"/>
                    </a:cubicBezTo>
                    <a:lnTo>
                      <a:pt x="1025525" y="476535"/>
                    </a:lnTo>
                    <a:cubicBezTo>
                      <a:pt x="1033505" y="500476"/>
                      <a:pt x="1022740" y="470966"/>
                      <a:pt x="1035050" y="495585"/>
                    </a:cubicBezTo>
                    <a:cubicBezTo>
                      <a:pt x="1036547" y="498578"/>
                      <a:pt x="1036134" y="502497"/>
                      <a:pt x="1038225" y="505110"/>
                    </a:cubicBezTo>
                    <a:cubicBezTo>
                      <a:pt x="1040609" y="508090"/>
                      <a:pt x="1044575" y="509343"/>
                      <a:pt x="1047750" y="511460"/>
                    </a:cubicBezTo>
                    <a:cubicBezTo>
                      <a:pt x="1051983" y="517810"/>
                      <a:pt x="1067690" y="528097"/>
                      <a:pt x="1060450" y="530510"/>
                    </a:cubicBezTo>
                    <a:lnTo>
                      <a:pt x="1041400" y="536860"/>
                    </a:lnTo>
                    <a:lnTo>
                      <a:pt x="1031875" y="540035"/>
                    </a:lnTo>
                    <a:cubicBezTo>
                      <a:pt x="1027642" y="546385"/>
                      <a:pt x="1021588" y="551845"/>
                      <a:pt x="1019175" y="559085"/>
                    </a:cubicBezTo>
                    <a:lnTo>
                      <a:pt x="1012825" y="578135"/>
                    </a:lnTo>
                    <a:cubicBezTo>
                      <a:pt x="1015102" y="616842"/>
                      <a:pt x="1011908" y="619377"/>
                      <a:pt x="1019175" y="644810"/>
                    </a:cubicBezTo>
                    <a:cubicBezTo>
                      <a:pt x="1020094" y="648028"/>
                      <a:pt x="1020295" y="651693"/>
                      <a:pt x="1022350" y="654335"/>
                    </a:cubicBezTo>
                    <a:cubicBezTo>
                      <a:pt x="1027863" y="661424"/>
                      <a:pt x="1036419" y="665913"/>
                      <a:pt x="1041400" y="673385"/>
                    </a:cubicBezTo>
                    <a:cubicBezTo>
                      <a:pt x="1043517" y="676560"/>
                      <a:pt x="1044878" y="680397"/>
                      <a:pt x="1047750" y="682910"/>
                    </a:cubicBezTo>
                    <a:cubicBezTo>
                      <a:pt x="1053493" y="687936"/>
                      <a:pt x="1061404" y="690214"/>
                      <a:pt x="1066800" y="695610"/>
                    </a:cubicBezTo>
                    <a:cubicBezTo>
                      <a:pt x="1069975" y="698785"/>
                      <a:pt x="1072916" y="702213"/>
                      <a:pt x="1076325" y="705135"/>
                    </a:cubicBezTo>
                    <a:cubicBezTo>
                      <a:pt x="1080343" y="708579"/>
                      <a:pt x="1084719" y="711584"/>
                      <a:pt x="1089025" y="714660"/>
                    </a:cubicBezTo>
                    <a:cubicBezTo>
                      <a:pt x="1092130" y="716878"/>
                      <a:pt x="1095619" y="718567"/>
                      <a:pt x="1098550" y="721010"/>
                    </a:cubicBezTo>
                    <a:cubicBezTo>
                      <a:pt x="1109508" y="730142"/>
                      <a:pt x="1111076" y="737885"/>
                      <a:pt x="1127125" y="743235"/>
                    </a:cubicBezTo>
                    <a:cubicBezTo>
                      <a:pt x="1133475" y="745352"/>
                      <a:pt x="1140606" y="745872"/>
                      <a:pt x="1146175" y="749585"/>
                    </a:cubicBezTo>
                    <a:cubicBezTo>
                      <a:pt x="1149350" y="751702"/>
                      <a:pt x="1152045" y="754839"/>
                      <a:pt x="1155700" y="755935"/>
                    </a:cubicBezTo>
                    <a:cubicBezTo>
                      <a:pt x="1162868" y="758085"/>
                      <a:pt x="1170517" y="758052"/>
                      <a:pt x="1177925" y="759110"/>
                    </a:cubicBezTo>
                    <a:cubicBezTo>
                      <a:pt x="1186392" y="764754"/>
                      <a:pt x="1190393" y="766523"/>
                      <a:pt x="1196975" y="774985"/>
                    </a:cubicBezTo>
                    <a:cubicBezTo>
                      <a:pt x="1201660" y="781009"/>
                      <a:pt x="1205442" y="787685"/>
                      <a:pt x="1209675" y="794035"/>
                    </a:cubicBezTo>
                    <a:cubicBezTo>
                      <a:pt x="1211792" y="797210"/>
                      <a:pt x="1213327" y="800862"/>
                      <a:pt x="1216025" y="803560"/>
                    </a:cubicBezTo>
                    <a:cubicBezTo>
                      <a:pt x="1219200" y="806735"/>
                      <a:pt x="1222141" y="810163"/>
                      <a:pt x="1225550" y="813085"/>
                    </a:cubicBezTo>
                    <a:cubicBezTo>
                      <a:pt x="1226813" y="814167"/>
                      <a:pt x="1244296" y="827414"/>
                      <a:pt x="1247775" y="828960"/>
                    </a:cubicBezTo>
                    <a:cubicBezTo>
                      <a:pt x="1253892" y="831678"/>
                      <a:pt x="1266825" y="835310"/>
                      <a:pt x="1266825" y="835310"/>
                    </a:cubicBezTo>
                    <a:cubicBezTo>
                      <a:pt x="1271058" y="841660"/>
                      <a:pt x="1285875" y="850127"/>
                      <a:pt x="1279525" y="854360"/>
                    </a:cubicBezTo>
                    <a:cubicBezTo>
                      <a:pt x="1276350" y="856477"/>
                      <a:pt x="1273655" y="859614"/>
                      <a:pt x="1270000" y="860710"/>
                    </a:cubicBezTo>
                    <a:cubicBezTo>
                      <a:pt x="1262832" y="862860"/>
                      <a:pt x="1255157" y="862655"/>
                      <a:pt x="1247775" y="863885"/>
                    </a:cubicBezTo>
                    <a:cubicBezTo>
                      <a:pt x="1242452" y="864772"/>
                      <a:pt x="1237135" y="865751"/>
                      <a:pt x="1231900" y="867060"/>
                    </a:cubicBezTo>
                    <a:cubicBezTo>
                      <a:pt x="1188715" y="877856"/>
                      <a:pt x="1259411" y="861065"/>
                      <a:pt x="1212850" y="876585"/>
                    </a:cubicBezTo>
                    <a:cubicBezTo>
                      <a:pt x="1199821" y="880928"/>
                      <a:pt x="1146556" y="882910"/>
                      <a:pt x="1146175" y="882935"/>
                    </a:cubicBezTo>
                    <a:cubicBezTo>
                      <a:pt x="1113313" y="881002"/>
                      <a:pt x="1101919" y="889447"/>
                      <a:pt x="1082675" y="873410"/>
                    </a:cubicBezTo>
                    <a:cubicBezTo>
                      <a:pt x="1079226" y="870535"/>
                      <a:pt x="1076694" y="866642"/>
                      <a:pt x="1073150" y="863885"/>
                    </a:cubicBezTo>
                    <a:cubicBezTo>
                      <a:pt x="1067126" y="859200"/>
                      <a:pt x="1061340" y="853598"/>
                      <a:pt x="1054100" y="851185"/>
                    </a:cubicBezTo>
                    <a:lnTo>
                      <a:pt x="1035050" y="844835"/>
                    </a:lnTo>
                    <a:cubicBezTo>
                      <a:pt x="1031875" y="845893"/>
                      <a:pt x="1027892" y="845643"/>
                      <a:pt x="1025525" y="848010"/>
                    </a:cubicBezTo>
                    <a:cubicBezTo>
                      <a:pt x="1024007" y="849528"/>
                      <a:pt x="1019202" y="870125"/>
                      <a:pt x="1019175" y="870235"/>
                    </a:cubicBezTo>
                    <a:cubicBezTo>
                      <a:pt x="1018117" y="881877"/>
                      <a:pt x="1025128" y="897858"/>
                      <a:pt x="1016000" y="905160"/>
                    </a:cubicBezTo>
                    <a:cubicBezTo>
                      <a:pt x="1004401" y="914439"/>
                      <a:pt x="986178" y="905754"/>
                      <a:pt x="971550" y="908335"/>
                    </a:cubicBezTo>
                    <a:cubicBezTo>
                      <a:pt x="967792" y="908998"/>
                      <a:pt x="965130" y="912467"/>
                      <a:pt x="962025" y="914685"/>
                    </a:cubicBezTo>
                    <a:cubicBezTo>
                      <a:pt x="934458" y="934376"/>
                      <a:pt x="962248" y="915595"/>
                      <a:pt x="939800" y="930560"/>
                    </a:cubicBezTo>
                    <a:cubicBezTo>
                      <a:pt x="932627" y="952079"/>
                      <a:pt x="940747" y="925827"/>
                      <a:pt x="933450" y="962310"/>
                    </a:cubicBezTo>
                    <a:cubicBezTo>
                      <a:pt x="932794" y="965592"/>
                      <a:pt x="931194" y="968617"/>
                      <a:pt x="930275" y="971835"/>
                    </a:cubicBezTo>
                    <a:cubicBezTo>
                      <a:pt x="929076" y="976031"/>
                      <a:pt x="928047" y="980275"/>
                      <a:pt x="927100" y="984535"/>
                    </a:cubicBezTo>
                    <a:cubicBezTo>
                      <a:pt x="926566" y="986939"/>
                      <a:pt x="923587" y="1005680"/>
                      <a:pt x="920750" y="1009935"/>
                    </a:cubicBezTo>
                    <a:cubicBezTo>
                      <a:pt x="911722" y="1023477"/>
                      <a:pt x="913350" y="1016810"/>
                      <a:pt x="901700" y="1022635"/>
                    </a:cubicBezTo>
                    <a:cubicBezTo>
                      <a:pt x="898287" y="1024342"/>
                      <a:pt x="895350" y="1026868"/>
                      <a:pt x="892175" y="1028985"/>
                    </a:cubicBezTo>
                    <a:cubicBezTo>
                      <a:pt x="890058" y="1032160"/>
                      <a:pt x="887375" y="1035023"/>
                      <a:pt x="885825" y="1038510"/>
                    </a:cubicBezTo>
                    <a:cubicBezTo>
                      <a:pt x="883107" y="1044627"/>
                      <a:pt x="879475" y="1057560"/>
                      <a:pt x="879475" y="1057560"/>
                    </a:cubicBezTo>
                    <a:cubicBezTo>
                      <a:pt x="880533" y="1067085"/>
                      <a:pt x="880770" y="1076737"/>
                      <a:pt x="882650" y="1086135"/>
                    </a:cubicBezTo>
                    <a:cubicBezTo>
                      <a:pt x="883963" y="1092699"/>
                      <a:pt x="886883" y="1098835"/>
                      <a:pt x="889000" y="1105185"/>
                    </a:cubicBezTo>
                    <a:lnTo>
                      <a:pt x="892175" y="1114710"/>
                    </a:lnTo>
                    <a:cubicBezTo>
                      <a:pt x="895082" y="1149595"/>
                      <a:pt x="893660" y="1145104"/>
                      <a:pt x="898525" y="1171860"/>
                    </a:cubicBezTo>
                    <a:cubicBezTo>
                      <a:pt x="899490" y="1177169"/>
                      <a:pt x="900280" y="1182529"/>
                      <a:pt x="901700" y="1187735"/>
                    </a:cubicBezTo>
                    <a:lnTo>
                      <a:pt x="911225" y="1216310"/>
                    </a:lnTo>
                    <a:lnTo>
                      <a:pt x="914400" y="1225835"/>
                    </a:lnTo>
                    <a:lnTo>
                      <a:pt x="917575" y="1235360"/>
                    </a:lnTo>
                    <a:cubicBezTo>
                      <a:pt x="916517" y="1243827"/>
                      <a:pt x="917569" y="1252838"/>
                      <a:pt x="914400" y="1260760"/>
                    </a:cubicBezTo>
                    <a:cubicBezTo>
                      <a:pt x="912125" y="1266447"/>
                      <a:pt x="899694" y="1268113"/>
                      <a:pt x="895350" y="1270285"/>
                    </a:cubicBezTo>
                    <a:cubicBezTo>
                      <a:pt x="891937" y="1271992"/>
                      <a:pt x="889238" y="1274928"/>
                      <a:pt x="885825" y="1276635"/>
                    </a:cubicBezTo>
                    <a:cubicBezTo>
                      <a:pt x="859535" y="1289780"/>
                      <a:pt x="894072" y="1267962"/>
                      <a:pt x="866775" y="1286160"/>
                    </a:cubicBezTo>
                    <a:cubicBezTo>
                      <a:pt x="864658" y="1289335"/>
                      <a:pt x="863123" y="1292987"/>
                      <a:pt x="860425" y="1295685"/>
                    </a:cubicBezTo>
                    <a:cubicBezTo>
                      <a:pt x="853681" y="1302429"/>
                      <a:pt x="849638" y="1302111"/>
                      <a:pt x="841375" y="1305210"/>
                    </a:cubicBezTo>
                    <a:cubicBezTo>
                      <a:pt x="836039" y="1307211"/>
                      <a:pt x="830503" y="1308831"/>
                      <a:pt x="825500" y="1311560"/>
                    </a:cubicBezTo>
                    <a:cubicBezTo>
                      <a:pt x="808790" y="1320674"/>
                      <a:pt x="808271" y="1322439"/>
                      <a:pt x="796925" y="1333785"/>
                    </a:cubicBezTo>
                    <a:cubicBezTo>
                      <a:pt x="795312" y="1345077"/>
                      <a:pt x="796830" y="1357284"/>
                      <a:pt x="787400" y="1365535"/>
                    </a:cubicBezTo>
                    <a:cubicBezTo>
                      <a:pt x="781657" y="1370561"/>
                      <a:pt x="774700" y="1374002"/>
                      <a:pt x="768350" y="1378235"/>
                    </a:cubicBezTo>
                    <a:lnTo>
                      <a:pt x="758825" y="1384585"/>
                    </a:lnTo>
                    <a:lnTo>
                      <a:pt x="746125" y="1403635"/>
                    </a:lnTo>
                    <a:cubicBezTo>
                      <a:pt x="744008" y="1406810"/>
                      <a:pt x="740982" y="1409540"/>
                      <a:pt x="739775" y="1413160"/>
                    </a:cubicBezTo>
                    <a:cubicBezTo>
                      <a:pt x="738717" y="1416335"/>
                      <a:pt x="738967" y="1420318"/>
                      <a:pt x="736600" y="1422685"/>
                    </a:cubicBezTo>
                    <a:cubicBezTo>
                      <a:pt x="734233" y="1425052"/>
                      <a:pt x="730068" y="1424363"/>
                      <a:pt x="727075" y="1425860"/>
                    </a:cubicBezTo>
                    <a:cubicBezTo>
                      <a:pt x="723662" y="1427567"/>
                      <a:pt x="720963" y="1430503"/>
                      <a:pt x="717550" y="1432210"/>
                    </a:cubicBezTo>
                    <a:cubicBezTo>
                      <a:pt x="708466" y="1436752"/>
                      <a:pt x="698730" y="1436121"/>
                      <a:pt x="688975" y="1438560"/>
                    </a:cubicBezTo>
                    <a:cubicBezTo>
                      <a:pt x="682481" y="1440183"/>
                      <a:pt x="669925" y="1444910"/>
                      <a:pt x="669925" y="1444910"/>
                    </a:cubicBezTo>
                    <a:cubicBezTo>
                      <a:pt x="668867" y="1448085"/>
                      <a:pt x="667562" y="1451188"/>
                      <a:pt x="666750" y="1454435"/>
                    </a:cubicBezTo>
                    <a:cubicBezTo>
                      <a:pt x="665441" y="1459670"/>
                      <a:pt x="666252" y="1465625"/>
                      <a:pt x="663575" y="1470310"/>
                    </a:cubicBezTo>
                    <a:cubicBezTo>
                      <a:pt x="661682" y="1473623"/>
                      <a:pt x="657670" y="1475453"/>
                      <a:pt x="654050" y="1476660"/>
                    </a:cubicBezTo>
                    <a:cubicBezTo>
                      <a:pt x="647943" y="1478696"/>
                      <a:pt x="641334" y="1478683"/>
                      <a:pt x="635000" y="1479835"/>
                    </a:cubicBezTo>
                    <a:cubicBezTo>
                      <a:pt x="629691" y="1480800"/>
                      <a:pt x="624417" y="1481952"/>
                      <a:pt x="619125" y="1483010"/>
                    </a:cubicBezTo>
                    <a:cubicBezTo>
                      <a:pt x="615950" y="1485127"/>
                      <a:pt x="613087" y="1487810"/>
                      <a:pt x="609600" y="1489360"/>
                    </a:cubicBezTo>
                    <a:cubicBezTo>
                      <a:pt x="603483" y="1492078"/>
                      <a:pt x="596119" y="1491997"/>
                      <a:pt x="590550" y="1495710"/>
                    </a:cubicBezTo>
                    <a:lnTo>
                      <a:pt x="581025" y="1502060"/>
                    </a:lnTo>
                    <a:cubicBezTo>
                      <a:pt x="582083" y="1505235"/>
                      <a:pt x="581415" y="1509729"/>
                      <a:pt x="584200" y="1511585"/>
                    </a:cubicBezTo>
                    <a:cubicBezTo>
                      <a:pt x="588690" y="1514578"/>
                      <a:pt x="594807" y="1513589"/>
                      <a:pt x="600075" y="1514760"/>
                    </a:cubicBezTo>
                    <a:cubicBezTo>
                      <a:pt x="604335" y="1515707"/>
                      <a:pt x="608595" y="1516681"/>
                      <a:pt x="612775" y="1517935"/>
                    </a:cubicBezTo>
                    <a:cubicBezTo>
                      <a:pt x="619186" y="1519858"/>
                      <a:pt x="631825" y="1524285"/>
                      <a:pt x="631825" y="1524285"/>
                    </a:cubicBezTo>
                    <a:cubicBezTo>
                      <a:pt x="640749" y="1551058"/>
                      <a:pt x="641199" y="1548564"/>
                      <a:pt x="631825" y="1597310"/>
                    </a:cubicBezTo>
                    <a:cubicBezTo>
                      <a:pt x="630384" y="1604804"/>
                      <a:pt x="619125" y="1616360"/>
                      <a:pt x="619125" y="1616360"/>
                    </a:cubicBezTo>
                    <a:cubicBezTo>
                      <a:pt x="635890" y="1621948"/>
                      <a:pt x="625865" y="1617679"/>
                      <a:pt x="647700" y="1632235"/>
                    </a:cubicBezTo>
                    <a:lnTo>
                      <a:pt x="657225" y="1638585"/>
                    </a:lnTo>
                    <a:cubicBezTo>
                      <a:pt x="656167" y="1642818"/>
                      <a:pt x="658329" y="1650429"/>
                      <a:pt x="654050" y="1651285"/>
                    </a:cubicBezTo>
                    <a:cubicBezTo>
                      <a:pt x="585360" y="1665023"/>
                      <a:pt x="627209" y="1651935"/>
                      <a:pt x="600075" y="1641760"/>
                    </a:cubicBezTo>
                    <a:cubicBezTo>
                      <a:pt x="595022" y="1639865"/>
                      <a:pt x="589435" y="1639894"/>
                      <a:pt x="584200" y="1638585"/>
                    </a:cubicBezTo>
                    <a:cubicBezTo>
                      <a:pt x="573684" y="1635956"/>
                      <a:pt x="574462" y="1635268"/>
                      <a:pt x="565150" y="1629060"/>
                    </a:cubicBezTo>
                    <a:cubicBezTo>
                      <a:pt x="543836" y="1597090"/>
                      <a:pt x="557735" y="1624091"/>
                      <a:pt x="549275" y="1584610"/>
                    </a:cubicBezTo>
                    <a:cubicBezTo>
                      <a:pt x="547873" y="1578065"/>
                      <a:pt x="545042" y="1571910"/>
                      <a:pt x="542925" y="1565560"/>
                    </a:cubicBezTo>
                    <a:lnTo>
                      <a:pt x="539750" y="1556035"/>
                    </a:lnTo>
                    <a:cubicBezTo>
                      <a:pt x="541867" y="1543335"/>
                      <a:pt x="543575" y="1530560"/>
                      <a:pt x="546100" y="1517935"/>
                    </a:cubicBezTo>
                    <a:cubicBezTo>
                      <a:pt x="555676" y="1470055"/>
                      <a:pt x="543482" y="1529715"/>
                      <a:pt x="552450" y="1489360"/>
                    </a:cubicBezTo>
                    <a:cubicBezTo>
                      <a:pt x="553621" y="1484092"/>
                      <a:pt x="554567" y="1478777"/>
                      <a:pt x="555625" y="1473485"/>
                    </a:cubicBezTo>
                    <a:cubicBezTo>
                      <a:pt x="554567" y="1467135"/>
                      <a:pt x="554011" y="1460680"/>
                      <a:pt x="552450" y="1454435"/>
                    </a:cubicBezTo>
                    <a:lnTo>
                      <a:pt x="542925" y="1425860"/>
                    </a:lnTo>
                    <a:cubicBezTo>
                      <a:pt x="541867" y="1422685"/>
                      <a:pt x="540300" y="1419636"/>
                      <a:pt x="539750" y="1416335"/>
                    </a:cubicBezTo>
                    <a:cubicBezTo>
                      <a:pt x="538692" y="1409985"/>
                      <a:pt x="540814" y="1402130"/>
                      <a:pt x="536575" y="1397285"/>
                    </a:cubicBezTo>
                    <a:cubicBezTo>
                      <a:pt x="532167" y="1392248"/>
                      <a:pt x="523094" y="1394648"/>
                      <a:pt x="517525" y="1390935"/>
                    </a:cubicBezTo>
                    <a:cubicBezTo>
                      <a:pt x="514350" y="1388818"/>
                      <a:pt x="511413" y="1386292"/>
                      <a:pt x="508000" y="1384585"/>
                    </a:cubicBezTo>
                    <a:cubicBezTo>
                      <a:pt x="505007" y="1383088"/>
                      <a:pt x="501650" y="1382468"/>
                      <a:pt x="498475" y="1381410"/>
                    </a:cubicBezTo>
                    <a:cubicBezTo>
                      <a:pt x="495300" y="1378235"/>
                      <a:pt x="491131" y="1375810"/>
                      <a:pt x="488950" y="1371885"/>
                    </a:cubicBezTo>
                    <a:cubicBezTo>
                      <a:pt x="484512" y="1363896"/>
                      <a:pt x="482078" y="1349419"/>
                      <a:pt x="479425" y="1340135"/>
                    </a:cubicBezTo>
                    <a:cubicBezTo>
                      <a:pt x="478506" y="1336917"/>
                      <a:pt x="478106" y="1333395"/>
                      <a:pt x="476250" y="1330610"/>
                    </a:cubicBezTo>
                    <a:cubicBezTo>
                      <a:pt x="473759" y="1326874"/>
                      <a:pt x="469600" y="1324534"/>
                      <a:pt x="466725" y="1321085"/>
                    </a:cubicBezTo>
                    <a:cubicBezTo>
                      <a:pt x="459404" y="1312300"/>
                      <a:pt x="461285" y="1308992"/>
                      <a:pt x="450850" y="1302035"/>
                    </a:cubicBezTo>
                    <a:cubicBezTo>
                      <a:pt x="448065" y="1300179"/>
                      <a:pt x="444318" y="1300357"/>
                      <a:pt x="441325" y="1298860"/>
                    </a:cubicBezTo>
                    <a:cubicBezTo>
                      <a:pt x="437912" y="1297153"/>
                      <a:pt x="435287" y="1294060"/>
                      <a:pt x="431800" y="1292510"/>
                    </a:cubicBezTo>
                    <a:cubicBezTo>
                      <a:pt x="425683" y="1289792"/>
                      <a:pt x="418319" y="1289873"/>
                      <a:pt x="412750" y="1286160"/>
                    </a:cubicBezTo>
                    <a:cubicBezTo>
                      <a:pt x="409575" y="1284043"/>
                      <a:pt x="406712" y="1281360"/>
                      <a:pt x="403225" y="1279810"/>
                    </a:cubicBezTo>
                    <a:cubicBezTo>
                      <a:pt x="369220" y="1264697"/>
                      <a:pt x="396206" y="1281481"/>
                      <a:pt x="374650" y="1267110"/>
                    </a:cubicBezTo>
                    <a:cubicBezTo>
                      <a:pt x="373592" y="1263935"/>
                      <a:pt x="372074" y="1260878"/>
                      <a:pt x="371475" y="1257585"/>
                    </a:cubicBezTo>
                    <a:cubicBezTo>
                      <a:pt x="368969" y="1243802"/>
                      <a:pt x="368596" y="1227017"/>
                      <a:pt x="365125" y="1213135"/>
                    </a:cubicBezTo>
                    <a:cubicBezTo>
                      <a:pt x="363502" y="1206641"/>
                      <a:pt x="360892" y="1200435"/>
                      <a:pt x="358775" y="1194085"/>
                    </a:cubicBezTo>
                    <a:lnTo>
                      <a:pt x="349250" y="1165510"/>
                    </a:lnTo>
                    <a:lnTo>
                      <a:pt x="346075" y="1155985"/>
                    </a:lnTo>
                    <a:cubicBezTo>
                      <a:pt x="347133" y="1150693"/>
                      <a:pt x="347830" y="1145316"/>
                      <a:pt x="349250" y="1140110"/>
                    </a:cubicBezTo>
                    <a:cubicBezTo>
                      <a:pt x="351011" y="1133652"/>
                      <a:pt x="355600" y="1121060"/>
                      <a:pt x="355600" y="1121060"/>
                    </a:cubicBezTo>
                    <a:cubicBezTo>
                      <a:pt x="354542" y="1110477"/>
                      <a:pt x="354817" y="1099674"/>
                      <a:pt x="352425" y="1089310"/>
                    </a:cubicBezTo>
                    <a:cubicBezTo>
                      <a:pt x="351567" y="1085592"/>
                      <a:pt x="349817" y="1080533"/>
                      <a:pt x="346075" y="1079785"/>
                    </a:cubicBezTo>
                    <a:cubicBezTo>
                      <a:pt x="337708" y="1078112"/>
                      <a:pt x="329142" y="1081902"/>
                      <a:pt x="320675" y="1082960"/>
                    </a:cubicBezTo>
                    <a:lnTo>
                      <a:pt x="307975" y="1102010"/>
                    </a:lnTo>
                    <a:cubicBezTo>
                      <a:pt x="305858" y="1105185"/>
                      <a:pt x="305245" y="1110328"/>
                      <a:pt x="301625" y="1111535"/>
                    </a:cubicBezTo>
                    <a:lnTo>
                      <a:pt x="292100" y="1114710"/>
                    </a:lnTo>
                    <a:cubicBezTo>
                      <a:pt x="285750" y="1113652"/>
                      <a:pt x="278639" y="1114729"/>
                      <a:pt x="273050" y="1111535"/>
                    </a:cubicBezTo>
                    <a:cubicBezTo>
                      <a:pt x="270144" y="1109875"/>
                      <a:pt x="269875" y="1105357"/>
                      <a:pt x="269875" y="1102010"/>
                    </a:cubicBezTo>
                    <a:cubicBezTo>
                      <a:pt x="269875" y="1092820"/>
                      <a:pt x="276848" y="1088687"/>
                      <a:pt x="282575" y="1082960"/>
                    </a:cubicBezTo>
                    <a:lnTo>
                      <a:pt x="292100" y="1054385"/>
                    </a:lnTo>
                    <a:lnTo>
                      <a:pt x="295275" y="1044860"/>
                    </a:lnTo>
                    <a:lnTo>
                      <a:pt x="298450" y="1035335"/>
                    </a:lnTo>
                    <a:cubicBezTo>
                      <a:pt x="299508" y="1022635"/>
                      <a:pt x="300136" y="1009892"/>
                      <a:pt x="301625" y="997235"/>
                    </a:cubicBezTo>
                    <a:cubicBezTo>
                      <a:pt x="305802" y="961728"/>
                      <a:pt x="314785" y="990010"/>
                      <a:pt x="301625" y="924210"/>
                    </a:cubicBezTo>
                    <a:cubicBezTo>
                      <a:pt x="300877" y="920468"/>
                      <a:pt x="295587" y="919410"/>
                      <a:pt x="292100" y="917860"/>
                    </a:cubicBezTo>
                    <a:cubicBezTo>
                      <a:pt x="285983" y="915142"/>
                      <a:pt x="273050" y="911510"/>
                      <a:pt x="273050" y="911510"/>
                    </a:cubicBezTo>
                    <a:cubicBezTo>
                      <a:pt x="247650" y="912568"/>
                      <a:pt x="222203" y="912807"/>
                      <a:pt x="196850" y="914685"/>
                    </a:cubicBezTo>
                    <a:cubicBezTo>
                      <a:pt x="186429" y="915457"/>
                      <a:pt x="187004" y="920119"/>
                      <a:pt x="177800" y="924210"/>
                    </a:cubicBezTo>
                    <a:cubicBezTo>
                      <a:pt x="162706" y="930919"/>
                      <a:pt x="155674" y="931073"/>
                      <a:pt x="139700" y="933735"/>
                    </a:cubicBezTo>
                    <a:cubicBezTo>
                      <a:pt x="131677" y="933334"/>
                      <a:pt x="67848" y="931430"/>
                      <a:pt x="47625" y="927385"/>
                    </a:cubicBezTo>
                    <a:cubicBezTo>
                      <a:pt x="41061" y="926072"/>
                      <a:pt x="34925" y="923152"/>
                      <a:pt x="28575" y="921035"/>
                    </a:cubicBezTo>
                    <a:lnTo>
                      <a:pt x="19050" y="917860"/>
                    </a:lnTo>
                    <a:lnTo>
                      <a:pt x="9525" y="914685"/>
                    </a:lnTo>
                    <a:cubicBezTo>
                      <a:pt x="8467" y="905160"/>
                      <a:pt x="7705" y="895597"/>
                      <a:pt x="6350" y="886110"/>
                    </a:cubicBezTo>
                    <a:cubicBezTo>
                      <a:pt x="5587" y="880768"/>
                      <a:pt x="3996" y="875569"/>
                      <a:pt x="3175" y="870235"/>
                    </a:cubicBezTo>
                    <a:cubicBezTo>
                      <a:pt x="1878" y="861802"/>
                      <a:pt x="1058" y="853302"/>
                      <a:pt x="0" y="844835"/>
                    </a:cubicBezTo>
                    <a:cubicBezTo>
                      <a:pt x="1058" y="838485"/>
                      <a:pt x="-517" y="831059"/>
                      <a:pt x="3175" y="825785"/>
                    </a:cubicBezTo>
                    <a:cubicBezTo>
                      <a:pt x="7552" y="819533"/>
                      <a:pt x="15875" y="817318"/>
                      <a:pt x="22225" y="813085"/>
                    </a:cubicBezTo>
                    <a:cubicBezTo>
                      <a:pt x="25400" y="810968"/>
                      <a:pt x="28130" y="807942"/>
                      <a:pt x="31750" y="806735"/>
                    </a:cubicBezTo>
                    <a:lnTo>
                      <a:pt x="50800" y="800385"/>
                    </a:lnTo>
                    <a:cubicBezTo>
                      <a:pt x="53382" y="792638"/>
                      <a:pt x="54170" y="787490"/>
                      <a:pt x="60325" y="781335"/>
                    </a:cubicBezTo>
                    <a:cubicBezTo>
                      <a:pt x="63023" y="778637"/>
                      <a:pt x="66675" y="777102"/>
                      <a:pt x="69850" y="774985"/>
                    </a:cubicBezTo>
                    <a:cubicBezTo>
                      <a:pt x="75642" y="757610"/>
                      <a:pt x="73493" y="758485"/>
                      <a:pt x="82550" y="746410"/>
                    </a:cubicBezTo>
                    <a:cubicBezTo>
                      <a:pt x="83448" y="745213"/>
                      <a:pt x="75671" y="728418"/>
                      <a:pt x="85725" y="724185"/>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sp>
            <p:nvSpPr>
              <p:cNvPr id="313" name="Freeform 312"/>
              <p:cNvSpPr/>
              <p:nvPr/>
            </p:nvSpPr>
            <p:spPr>
              <a:xfrm>
                <a:off x="4103865" y="5167483"/>
                <a:ext cx="189990" cy="149225"/>
              </a:xfrm>
              <a:custGeom>
                <a:avLst/>
                <a:gdLst>
                  <a:gd name="connsiteX0" fmla="*/ 0 w 189990"/>
                  <a:gd name="connsiteY0" fmla="*/ 63500 h 149225"/>
                  <a:gd name="connsiteX1" fmla="*/ 22225 w 189990"/>
                  <a:gd name="connsiteY1" fmla="*/ 28575 h 149225"/>
                  <a:gd name="connsiteX2" fmla="*/ 38100 w 189990"/>
                  <a:gd name="connsiteY2" fmla="*/ 9525 h 149225"/>
                  <a:gd name="connsiteX3" fmla="*/ 60325 w 189990"/>
                  <a:gd name="connsiteY3" fmla="*/ 6350 h 149225"/>
                  <a:gd name="connsiteX4" fmla="*/ 85725 w 189990"/>
                  <a:gd name="connsiteY4" fmla="*/ 0 h 149225"/>
                  <a:gd name="connsiteX5" fmla="*/ 107950 w 189990"/>
                  <a:gd name="connsiteY5" fmla="*/ 3175 h 149225"/>
                  <a:gd name="connsiteX6" fmla="*/ 114300 w 189990"/>
                  <a:gd name="connsiteY6" fmla="*/ 12700 h 149225"/>
                  <a:gd name="connsiteX7" fmla="*/ 123825 w 189990"/>
                  <a:gd name="connsiteY7" fmla="*/ 41275 h 149225"/>
                  <a:gd name="connsiteX8" fmla="*/ 136525 w 189990"/>
                  <a:gd name="connsiteY8" fmla="*/ 57150 h 149225"/>
                  <a:gd name="connsiteX9" fmla="*/ 184150 w 189990"/>
                  <a:gd name="connsiteY9" fmla="*/ 60325 h 149225"/>
                  <a:gd name="connsiteX10" fmla="*/ 184150 w 189990"/>
                  <a:gd name="connsiteY10" fmla="*/ 136525 h 149225"/>
                  <a:gd name="connsiteX11" fmla="*/ 171450 w 189990"/>
                  <a:gd name="connsiteY11" fmla="*/ 149225 h 149225"/>
                  <a:gd name="connsiteX12" fmla="*/ 155575 w 189990"/>
                  <a:gd name="connsiteY12" fmla="*/ 146050 h 149225"/>
                  <a:gd name="connsiteX13" fmla="*/ 146050 w 189990"/>
                  <a:gd name="connsiteY13" fmla="*/ 127000 h 149225"/>
                  <a:gd name="connsiteX14" fmla="*/ 136525 w 189990"/>
                  <a:gd name="connsiteY14" fmla="*/ 120650 h 149225"/>
                  <a:gd name="connsiteX15" fmla="*/ 117475 w 189990"/>
                  <a:gd name="connsiteY15" fmla="*/ 114300 h 149225"/>
                  <a:gd name="connsiteX16" fmla="*/ 107950 w 189990"/>
                  <a:gd name="connsiteY16" fmla="*/ 107950 h 149225"/>
                  <a:gd name="connsiteX17" fmla="*/ 98425 w 189990"/>
                  <a:gd name="connsiteY17" fmla="*/ 104775 h 149225"/>
                  <a:gd name="connsiteX18" fmla="*/ 79375 w 189990"/>
                  <a:gd name="connsiteY18" fmla="*/ 92075 h 149225"/>
                  <a:gd name="connsiteX19" fmla="*/ 69850 w 189990"/>
                  <a:gd name="connsiteY19" fmla="*/ 85725 h 149225"/>
                  <a:gd name="connsiteX20" fmla="*/ 50800 w 189990"/>
                  <a:gd name="connsiteY20" fmla="*/ 79375 h 149225"/>
                  <a:gd name="connsiteX21" fmla="*/ 31750 w 189990"/>
                  <a:gd name="connsiteY21" fmla="*/ 69850 h 149225"/>
                  <a:gd name="connsiteX22" fmla="*/ 22225 w 189990"/>
                  <a:gd name="connsiteY22" fmla="*/ 63500 h 149225"/>
                  <a:gd name="connsiteX23" fmla="*/ 0 w 189990"/>
                  <a:gd name="connsiteY23" fmla="*/ 63500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9990" h="149225">
                    <a:moveTo>
                      <a:pt x="0" y="63500"/>
                    </a:moveTo>
                    <a:cubicBezTo>
                      <a:pt x="0" y="57679"/>
                      <a:pt x="6102" y="52760"/>
                      <a:pt x="22225" y="28575"/>
                    </a:cubicBezTo>
                    <a:cubicBezTo>
                      <a:pt x="25400" y="23813"/>
                      <a:pt x="32544" y="11747"/>
                      <a:pt x="38100" y="9525"/>
                    </a:cubicBezTo>
                    <a:cubicBezTo>
                      <a:pt x="45048" y="6746"/>
                      <a:pt x="52917" y="7408"/>
                      <a:pt x="60325" y="6350"/>
                    </a:cubicBezTo>
                    <a:cubicBezTo>
                      <a:pt x="67841" y="3845"/>
                      <a:pt x="78062" y="0"/>
                      <a:pt x="85725" y="0"/>
                    </a:cubicBezTo>
                    <a:cubicBezTo>
                      <a:pt x="93209" y="0"/>
                      <a:pt x="100542" y="2117"/>
                      <a:pt x="107950" y="3175"/>
                    </a:cubicBezTo>
                    <a:cubicBezTo>
                      <a:pt x="110067" y="6350"/>
                      <a:pt x="112750" y="9213"/>
                      <a:pt x="114300" y="12700"/>
                    </a:cubicBezTo>
                    <a:lnTo>
                      <a:pt x="123825" y="41275"/>
                    </a:lnTo>
                    <a:cubicBezTo>
                      <a:pt x="126301" y="48704"/>
                      <a:pt x="126388" y="55460"/>
                      <a:pt x="136525" y="57150"/>
                    </a:cubicBezTo>
                    <a:cubicBezTo>
                      <a:pt x="152219" y="59766"/>
                      <a:pt x="168275" y="59267"/>
                      <a:pt x="184150" y="60325"/>
                    </a:cubicBezTo>
                    <a:cubicBezTo>
                      <a:pt x="194060" y="90056"/>
                      <a:pt x="189485" y="72509"/>
                      <a:pt x="184150" y="136525"/>
                    </a:cubicBezTo>
                    <a:cubicBezTo>
                      <a:pt x="183182" y="148136"/>
                      <a:pt x="180884" y="146080"/>
                      <a:pt x="171450" y="149225"/>
                    </a:cubicBezTo>
                    <a:cubicBezTo>
                      <a:pt x="166158" y="148167"/>
                      <a:pt x="160260" y="148727"/>
                      <a:pt x="155575" y="146050"/>
                    </a:cubicBezTo>
                    <a:cubicBezTo>
                      <a:pt x="145714" y="140415"/>
                      <a:pt x="151883" y="134291"/>
                      <a:pt x="146050" y="127000"/>
                    </a:cubicBezTo>
                    <a:cubicBezTo>
                      <a:pt x="143666" y="124020"/>
                      <a:pt x="140012" y="122200"/>
                      <a:pt x="136525" y="120650"/>
                    </a:cubicBezTo>
                    <a:cubicBezTo>
                      <a:pt x="130408" y="117932"/>
                      <a:pt x="123044" y="118013"/>
                      <a:pt x="117475" y="114300"/>
                    </a:cubicBezTo>
                    <a:cubicBezTo>
                      <a:pt x="114300" y="112183"/>
                      <a:pt x="111363" y="109657"/>
                      <a:pt x="107950" y="107950"/>
                    </a:cubicBezTo>
                    <a:cubicBezTo>
                      <a:pt x="104957" y="106453"/>
                      <a:pt x="101351" y="106400"/>
                      <a:pt x="98425" y="104775"/>
                    </a:cubicBezTo>
                    <a:cubicBezTo>
                      <a:pt x="91754" y="101069"/>
                      <a:pt x="85725" y="96308"/>
                      <a:pt x="79375" y="92075"/>
                    </a:cubicBezTo>
                    <a:cubicBezTo>
                      <a:pt x="76200" y="89958"/>
                      <a:pt x="73470" y="86932"/>
                      <a:pt x="69850" y="85725"/>
                    </a:cubicBezTo>
                    <a:cubicBezTo>
                      <a:pt x="63500" y="83608"/>
                      <a:pt x="56369" y="83088"/>
                      <a:pt x="50800" y="79375"/>
                    </a:cubicBezTo>
                    <a:cubicBezTo>
                      <a:pt x="23503" y="61177"/>
                      <a:pt x="58040" y="82995"/>
                      <a:pt x="31750" y="69850"/>
                    </a:cubicBezTo>
                    <a:cubicBezTo>
                      <a:pt x="28337" y="68143"/>
                      <a:pt x="25950" y="64328"/>
                      <a:pt x="22225" y="63500"/>
                    </a:cubicBezTo>
                    <a:cubicBezTo>
                      <a:pt x="16026" y="62122"/>
                      <a:pt x="0" y="69321"/>
                      <a:pt x="0" y="63500"/>
                    </a:cubicBezTo>
                    <a:close/>
                  </a:path>
                </a:pathLst>
              </a:custGeom>
              <a:grpFill/>
              <a:ln w="25400" cap="flat" cmpd="sng" algn="ctr">
                <a:solidFill>
                  <a:srgbClr val="1F497D">
                    <a:lumMod val="75000"/>
                  </a:srgbClr>
                </a:solidFill>
                <a:prstDash val="solid"/>
              </a:ln>
              <a:effectLst/>
            </p:spPr>
            <p:txBody>
              <a:bodyPr rtlCol="0" anchor="ctr"/>
              <a:lstStyle/>
              <a:p>
                <a:pPr algn="ctr" defTabSz="914400">
                  <a:defRPr/>
                </a:pPr>
                <a:endParaRPr lang="id-ID" sz="1800" kern="0">
                  <a:solidFill>
                    <a:sysClr val="window" lastClr="FFFFFF"/>
                  </a:solidFill>
                  <a:latin typeface="Calibri"/>
                </a:endParaRPr>
              </a:p>
            </p:txBody>
          </p:sp>
        </p:grpSp>
        <p:sp>
          <p:nvSpPr>
            <p:cNvPr id="2" name="Oval 1"/>
            <p:cNvSpPr/>
            <p:nvPr/>
          </p:nvSpPr>
          <p:spPr>
            <a:xfrm>
              <a:off x="352269" y="4065105"/>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p:cNvSpPr/>
            <p:nvPr/>
          </p:nvSpPr>
          <p:spPr>
            <a:xfrm>
              <a:off x="737245" y="44023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p:cNvSpPr/>
            <p:nvPr/>
          </p:nvSpPr>
          <p:spPr>
            <a:xfrm>
              <a:off x="813445" y="47833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p:cNvSpPr/>
            <p:nvPr/>
          </p:nvSpPr>
          <p:spPr>
            <a:xfrm>
              <a:off x="1118245" y="47833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p:cNvSpPr/>
            <p:nvPr/>
          </p:nvSpPr>
          <p:spPr>
            <a:xfrm>
              <a:off x="1270645" y="50119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Oval 341"/>
            <p:cNvSpPr/>
            <p:nvPr/>
          </p:nvSpPr>
          <p:spPr>
            <a:xfrm>
              <a:off x="1118245" y="53167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3" name="Oval 342"/>
            <p:cNvSpPr/>
            <p:nvPr/>
          </p:nvSpPr>
          <p:spPr>
            <a:xfrm>
              <a:off x="1575445" y="53167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 name="Oval 343"/>
            <p:cNvSpPr/>
            <p:nvPr/>
          </p:nvSpPr>
          <p:spPr>
            <a:xfrm>
              <a:off x="1575445" y="56215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 name="Oval 344"/>
            <p:cNvSpPr/>
            <p:nvPr/>
          </p:nvSpPr>
          <p:spPr>
            <a:xfrm>
              <a:off x="1524000" y="48006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Oval 345"/>
            <p:cNvSpPr/>
            <p:nvPr/>
          </p:nvSpPr>
          <p:spPr>
            <a:xfrm>
              <a:off x="2476427" y="476021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7" name="Oval 346"/>
            <p:cNvSpPr/>
            <p:nvPr/>
          </p:nvSpPr>
          <p:spPr>
            <a:xfrm>
              <a:off x="2504890" y="5169431"/>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p:cNvSpPr/>
            <p:nvPr/>
          </p:nvSpPr>
          <p:spPr>
            <a:xfrm>
              <a:off x="3149115" y="526516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p:cNvSpPr/>
            <p:nvPr/>
          </p:nvSpPr>
          <p:spPr>
            <a:xfrm>
              <a:off x="3369809" y="4798366"/>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p:cNvSpPr/>
            <p:nvPr/>
          </p:nvSpPr>
          <p:spPr>
            <a:xfrm>
              <a:off x="1757635" y="5808372"/>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p:cNvSpPr/>
            <p:nvPr/>
          </p:nvSpPr>
          <p:spPr>
            <a:xfrm>
              <a:off x="2032645" y="59263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p:cNvSpPr/>
            <p:nvPr/>
          </p:nvSpPr>
          <p:spPr>
            <a:xfrm>
              <a:off x="2438400" y="5960772"/>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p:cNvSpPr/>
            <p:nvPr/>
          </p:nvSpPr>
          <p:spPr>
            <a:xfrm>
              <a:off x="2718445" y="60025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p:cNvSpPr/>
            <p:nvPr/>
          </p:nvSpPr>
          <p:spPr>
            <a:xfrm>
              <a:off x="2337445" y="60787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p:cNvSpPr/>
            <p:nvPr/>
          </p:nvSpPr>
          <p:spPr>
            <a:xfrm>
              <a:off x="3175645" y="61549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p:cNvSpPr/>
            <p:nvPr/>
          </p:nvSpPr>
          <p:spPr>
            <a:xfrm>
              <a:off x="3352800" y="61722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p:cNvSpPr/>
            <p:nvPr/>
          </p:nvSpPr>
          <p:spPr>
            <a:xfrm>
              <a:off x="4471045" y="63835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p:cNvSpPr/>
            <p:nvPr/>
          </p:nvSpPr>
          <p:spPr>
            <a:xfrm>
              <a:off x="3810000" y="56388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p:cNvSpPr/>
            <p:nvPr/>
          </p:nvSpPr>
          <p:spPr>
            <a:xfrm>
              <a:off x="3709045" y="53340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p:cNvSpPr/>
            <p:nvPr/>
          </p:nvSpPr>
          <p:spPr>
            <a:xfrm>
              <a:off x="4242445" y="54864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p:cNvSpPr/>
            <p:nvPr/>
          </p:nvSpPr>
          <p:spPr>
            <a:xfrm>
              <a:off x="3861445" y="50292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p:cNvSpPr/>
            <p:nvPr/>
          </p:nvSpPr>
          <p:spPr>
            <a:xfrm>
              <a:off x="4471045" y="46482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p:cNvSpPr/>
            <p:nvPr/>
          </p:nvSpPr>
          <p:spPr>
            <a:xfrm>
              <a:off x="4191000" y="47071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p:cNvSpPr/>
            <p:nvPr/>
          </p:nvSpPr>
          <p:spPr>
            <a:xfrm>
              <a:off x="5080645" y="4707173"/>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p:cNvSpPr/>
            <p:nvPr/>
          </p:nvSpPr>
          <p:spPr>
            <a:xfrm>
              <a:off x="4953000" y="53340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p:cNvSpPr/>
            <p:nvPr/>
          </p:nvSpPr>
          <p:spPr>
            <a:xfrm>
              <a:off x="7061845" y="5960772"/>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p:cNvSpPr/>
            <p:nvPr/>
          </p:nvSpPr>
          <p:spPr>
            <a:xfrm>
              <a:off x="1910035" y="59436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p:cNvSpPr/>
            <p:nvPr/>
          </p:nvSpPr>
          <p:spPr>
            <a:xfrm>
              <a:off x="5995045" y="4953000"/>
              <a:ext cx="100955" cy="9342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69" name="Picture 4" descr="https://cdn1.iconfinder.com/data/icons/database-3/96/Big-Data-5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4975" y="2920621"/>
            <a:ext cx="553726" cy="609600"/>
          </a:xfrm>
          <a:prstGeom prst="rect">
            <a:avLst/>
          </a:prstGeom>
          <a:noFill/>
          <a:extLst>
            <a:ext uri="{909E8E84-426E-40DD-AFC4-6F175D3DCCD1}">
              <a14:hiddenFill xmlns:a14="http://schemas.microsoft.com/office/drawing/2010/main">
                <a:solidFill>
                  <a:srgbClr val="FFFFFF"/>
                </a:solidFill>
              </a14:hiddenFill>
            </a:ext>
          </a:extLst>
        </p:spPr>
      </p:pic>
      <p:cxnSp>
        <p:nvCxnSpPr>
          <p:cNvPr id="373" name="Straight Connector 372"/>
          <p:cNvCxnSpPr>
            <a:stCxn id="2" idx="2"/>
            <a:endCxn id="369" idx="2"/>
          </p:cNvCxnSpPr>
          <p:nvPr/>
        </p:nvCxnSpPr>
        <p:spPr>
          <a:xfrm flipV="1">
            <a:off x="504670" y="3530221"/>
            <a:ext cx="177169" cy="505398"/>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a:stCxn id="338" idx="2"/>
            <a:endCxn id="369" idx="2"/>
          </p:cNvCxnSpPr>
          <p:nvPr/>
        </p:nvCxnSpPr>
        <p:spPr>
          <a:xfrm flipH="1" flipV="1">
            <a:off x="681839" y="3530221"/>
            <a:ext cx="207807" cy="84266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a:stCxn id="340" idx="1"/>
            <a:endCxn id="369" idx="2"/>
          </p:cNvCxnSpPr>
          <p:nvPr/>
        </p:nvCxnSpPr>
        <p:spPr>
          <a:xfrm flipH="1" flipV="1">
            <a:off x="681838" y="3530221"/>
            <a:ext cx="603592" cy="119063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a:stCxn id="339" idx="0"/>
            <a:endCxn id="369" idx="2"/>
          </p:cNvCxnSpPr>
          <p:nvPr/>
        </p:nvCxnSpPr>
        <p:spPr>
          <a:xfrm flipH="1" flipV="1">
            <a:off x="681839" y="3530221"/>
            <a:ext cx="334485" cy="1176952"/>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a:stCxn id="345" idx="2"/>
            <a:endCxn id="369" idx="2"/>
          </p:cNvCxnSpPr>
          <p:nvPr/>
        </p:nvCxnSpPr>
        <p:spPr>
          <a:xfrm flipH="1" flipV="1">
            <a:off x="681838" y="3530222"/>
            <a:ext cx="994562" cy="1240893"/>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a:stCxn id="341" idx="2"/>
            <a:endCxn id="369" idx="2"/>
          </p:cNvCxnSpPr>
          <p:nvPr/>
        </p:nvCxnSpPr>
        <p:spPr>
          <a:xfrm flipH="1" flipV="1">
            <a:off x="681839" y="3530221"/>
            <a:ext cx="741207" cy="145226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a:stCxn id="342" idx="1"/>
            <a:endCxn id="369" idx="2"/>
          </p:cNvCxnSpPr>
          <p:nvPr/>
        </p:nvCxnSpPr>
        <p:spPr>
          <a:xfrm flipH="1" flipV="1">
            <a:off x="681838" y="3530221"/>
            <a:ext cx="603592" cy="172403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a:stCxn id="343" idx="2"/>
            <a:endCxn id="369" idx="2"/>
          </p:cNvCxnSpPr>
          <p:nvPr/>
        </p:nvCxnSpPr>
        <p:spPr>
          <a:xfrm flipH="1" flipV="1">
            <a:off x="681839" y="3530221"/>
            <a:ext cx="1046007" cy="175706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a:stCxn id="344" idx="6"/>
            <a:endCxn id="369" idx="2"/>
          </p:cNvCxnSpPr>
          <p:nvPr/>
        </p:nvCxnSpPr>
        <p:spPr>
          <a:xfrm flipH="1" flipV="1">
            <a:off x="681838" y="3530221"/>
            <a:ext cx="1146962" cy="206186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a:stCxn id="346" idx="0"/>
            <a:endCxn id="369" idx="2"/>
          </p:cNvCxnSpPr>
          <p:nvPr/>
        </p:nvCxnSpPr>
        <p:spPr>
          <a:xfrm flipH="1" flipV="1">
            <a:off x="681839" y="3530222"/>
            <a:ext cx="1997467" cy="115378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a:stCxn id="347" idx="7"/>
            <a:endCxn id="369" idx="2"/>
          </p:cNvCxnSpPr>
          <p:nvPr/>
        </p:nvCxnSpPr>
        <p:spPr>
          <a:xfrm flipH="1" flipV="1">
            <a:off x="681838" y="3530221"/>
            <a:ext cx="2061622" cy="1576692"/>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a:stCxn id="348" idx="5"/>
            <a:endCxn id="369" idx="2"/>
          </p:cNvCxnSpPr>
          <p:nvPr/>
        </p:nvCxnSpPr>
        <p:spPr>
          <a:xfrm flipH="1" flipV="1">
            <a:off x="681839" y="3530222"/>
            <a:ext cx="2705847" cy="173848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a:stCxn id="349" idx="2"/>
            <a:endCxn id="369" idx="2"/>
          </p:cNvCxnSpPr>
          <p:nvPr/>
        </p:nvCxnSpPr>
        <p:spPr>
          <a:xfrm flipH="1" flipV="1">
            <a:off x="681839" y="3530222"/>
            <a:ext cx="2840371" cy="123865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a:stCxn id="350" idx="6"/>
            <a:endCxn id="369" idx="2"/>
          </p:cNvCxnSpPr>
          <p:nvPr/>
        </p:nvCxnSpPr>
        <p:spPr>
          <a:xfrm flipH="1" flipV="1">
            <a:off x="681838" y="3530222"/>
            <a:ext cx="1329152" cy="224866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stCxn id="367" idx="3"/>
            <a:endCxn id="369" idx="2"/>
          </p:cNvCxnSpPr>
          <p:nvPr/>
        </p:nvCxnSpPr>
        <p:spPr>
          <a:xfrm flipH="1" flipV="1">
            <a:off x="681838" y="3530221"/>
            <a:ext cx="1395382" cy="241692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a:stCxn id="351" idx="1"/>
            <a:endCxn id="369" idx="2"/>
          </p:cNvCxnSpPr>
          <p:nvPr/>
        </p:nvCxnSpPr>
        <p:spPr>
          <a:xfrm flipH="1" flipV="1">
            <a:off x="681838" y="3530221"/>
            <a:ext cx="1517992" cy="233363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p:cNvCxnSpPr>
            <a:stCxn id="354" idx="7"/>
            <a:endCxn id="369" idx="2"/>
          </p:cNvCxnSpPr>
          <p:nvPr/>
        </p:nvCxnSpPr>
        <p:spPr>
          <a:xfrm flipH="1" flipV="1">
            <a:off x="681839" y="3530221"/>
            <a:ext cx="1894177" cy="248603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p:cNvCxnSpPr>
            <a:stCxn id="352" idx="4"/>
            <a:endCxn id="369" idx="2"/>
          </p:cNvCxnSpPr>
          <p:nvPr/>
        </p:nvCxnSpPr>
        <p:spPr>
          <a:xfrm flipH="1" flipV="1">
            <a:off x="681838" y="3530221"/>
            <a:ext cx="1959440" cy="2447778"/>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p:cNvCxnSpPr>
            <a:stCxn id="353" idx="1"/>
            <a:endCxn id="369" idx="2"/>
          </p:cNvCxnSpPr>
          <p:nvPr/>
        </p:nvCxnSpPr>
        <p:spPr>
          <a:xfrm flipH="1" flipV="1">
            <a:off x="681838" y="3530221"/>
            <a:ext cx="2203792" cy="240983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a:stCxn id="355" idx="2"/>
            <a:endCxn id="369" idx="2"/>
          </p:cNvCxnSpPr>
          <p:nvPr/>
        </p:nvCxnSpPr>
        <p:spPr>
          <a:xfrm flipH="1" flipV="1">
            <a:off x="681839" y="3530221"/>
            <a:ext cx="2646207" cy="259526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p:cNvCxnSpPr>
            <a:stCxn id="356" idx="1"/>
            <a:endCxn id="369" idx="2"/>
          </p:cNvCxnSpPr>
          <p:nvPr/>
        </p:nvCxnSpPr>
        <p:spPr>
          <a:xfrm flipH="1" flipV="1">
            <a:off x="681839" y="3530222"/>
            <a:ext cx="2838147" cy="257946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a:stCxn id="357" idx="3"/>
            <a:endCxn id="369" idx="2"/>
          </p:cNvCxnSpPr>
          <p:nvPr/>
        </p:nvCxnSpPr>
        <p:spPr>
          <a:xfrm flipH="1" flipV="1">
            <a:off x="681838" y="3530222"/>
            <a:ext cx="3956392" cy="285689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a:stCxn id="359" idx="2"/>
            <a:endCxn id="369" idx="2"/>
          </p:cNvCxnSpPr>
          <p:nvPr/>
        </p:nvCxnSpPr>
        <p:spPr>
          <a:xfrm flipH="1" flipV="1">
            <a:off x="681839" y="3530222"/>
            <a:ext cx="3179607" cy="1774293"/>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a:stCxn id="358" idx="0"/>
            <a:endCxn id="369" idx="2"/>
          </p:cNvCxnSpPr>
          <p:nvPr/>
        </p:nvCxnSpPr>
        <p:spPr>
          <a:xfrm flipH="1" flipV="1">
            <a:off x="681838" y="3530222"/>
            <a:ext cx="3331040" cy="203237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5" name="Straight Connector 444"/>
          <p:cNvCxnSpPr>
            <a:stCxn id="361" idx="1"/>
            <a:endCxn id="369" idx="2"/>
          </p:cNvCxnSpPr>
          <p:nvPr/>
        </p:nvCxnSpPr>
        <p:spPr>
          <a:xfrm flipH="1" flipV="1">
            <a:off x="681838" y="3530222"/>
            <a:ext cx="3346792" cy="143646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a:stCxn id="360" idx="4"/>
            <a:endCxn id="369" idx="2"/>
          </p:cNvCxnSpPr>
          <p:nvPr/>
        </p:nvCxnSpPr>
        <p:spPr>
          <a:xfrm flipH="1" flipV="1">
            <a:off x="681839" y="3530221"/>
            <a:ext cx="3763485" cy="197340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a:stCxn id="363" idx="1"/>
            <a:endCxn id="369" idx="2"/>
          </p:cNvCxnSpPr>
          <p:nvPr/>
        </p:nvCxnSpPr>
        <p:spPr>
          <a:xfrm flipH="1" flipV="1">
            <a:off x="681839" y="3530221"/>
            <a:ext cx="3676347" cy="111443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p:cNvCxnSpPr>
            <a:stCxn id="307" idx="14"/>
            <a:endCxn id="369" idx="2"/>
          </p:cNvCxnSpPr>
          <p:nvPr/>
        </p:nvCxnSpPr>
        <p:spPr>
          <a:xfrm flipH="1" flipV="1">
            <a:off x="681839" y="3530221"/>
            <a:ext cx="4039059" cy="1080088"/>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p:cNvCxnSpPr>
            <a:stCxn id="365" idx="7"/>
            <a:endCxn id="369" idx="2"/>
          </p:cNvCxnSpPr>
          <p:nvPr/>
        </p:nvCxnSpPr>
        <p:spPr>
          <a:xfrm flipH="1" flipV="1">
            <a:off x="681838" y="3530222"/>
            <a:ext cx="4509732" cy="174126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a:stCxn id="364" idx="4"/>
            <a:endCxn id="369" idx="2"/>
          </p:cNvCxnSpPr>
          <p:nvPr/>
        </p:nvCxnSpPr>
        <p:spPr>
          <a:xfrm flipH="1" flipV="1">
            <a:off x="681839" y="3530222"/>
            <a:ext cx="4601685" cy="119417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3" name="Straight Connector 462"/>
          <p:cNvCxnSpPr>
            <a:stCxn id="368" idx="0"/>
            <a:endCxn id="369" idx="2"/>
          </p:cNvCxnSpPr>
          <p:nvPr/>
        </p:nvCxnSpPr>
        <p:spPr>
          <a:xfrm flipH="1" flipV="1">
            <a:off x="681839" y="3530222"/>
            <a:ext cx="5516085" cy="134657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6" name="Straight Connector 465"/>
          <p:cNvCxnSpPr>
            <a:stCxn id="366" idx="1"/>
            <a:endCxn id="369" idx="2"/>
          </p:cNvCxnSpPr>
          <p:nvPr/>
        </p:nvCxnSpPr>
        <p:spPr>
          <a:xfrm flipH="1" flipV="1">
            <a:off x="681838" y="3530222"/>
            <a:ext cx="6547192" cy="2368033"/>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pic>
        <p:nvPicPr>
          <p:cNvPr id="597"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181" t="12127" r="29976" b="28141"/>
          <a:stretch/>
        </p:blipFill>
        <p:spPr bwMode="auto">
          <a:xfrm>
            <a:off x="4967454" y="1490795"/>
            <a:ext cx="2525761"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01124" y="1524000"/>
            <a:ext cx="3886200" cy="2197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2" name="Bent-Up Arrow 661"/>
          <p:cNvSpPr/>
          <p:nvPr/>
        </p:nvSpPr>
        <p:spPr>
          <a:xfrm rot="5400000" flipH="1">
            <a:off x="410486" y="2241378"/>
            <a:ext cx="838200" cy="412932"/>
          </a:xfrm>
          <a:prstGeom prst="bentUpArrow">
            <a:avLst>
              <a:gd name="adj1" fmla="val 25000"/>
              <a:gd name="adj2" fmla="val 46483"/>
              <a:gd name="adj3" fmla="val 3550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971442" y="1002269"/>
            <a:ext cx="3121624" cy="461665"/>
          </a:xfrm>
          <a:prstGeom prst="rect">
            <a:avLst/>
          </a:prstGeom>
        </p:spPr>
        <p:txBody>
          <a:bodyPr wrap="none">
            <a:spAutoFit/>
          </a:bodyPr>
          <a:lstStyle/>
          <a:p>
            <a:r>
              <a:rPr lang="en-US" sz="2400" b="1" dirty="0">
                <a:solidFill>
                  <a:srgbClr val="FF0000"/>
                </a:solidFill>
                <a:hlinkClick r:id="rId7"/>
              </a:rPr>
              <a:t>http://hargapangan.id</a:t>
            </a:r>
            <a:r>
              <a:rPr lang="en-US" sz="2400" b="1" dirty="0">
                <a:solidFill>
                  <a:srgbClr val="FF0000"/>
                </a:solidFill>
              </a:rPr>
              <a:t> </a:t>
            </a:r>
            <a:endParaRPr lang="id-ID" sz="2400" dirty="0"/>
          </a:p>
        </p:txBody>
      </p:sp>
      <p:sp>
        <p:nvSpPr>
          <p:cNvPr id="337" name="Title 1"/>
          <p:cNvSpPr>
            <a:spLocks noGrp="1"/>
          </p:cNvSpPr>
          <p:nvPr>
            <p:ph type="title"/>
          </p:nvPr>
        </p:nvSpPr>
        <p:spPr>
          <a:xfrm>
            <a:off x="76200" y="76200"/>
            <a:ext cx="12764814" cy="563562"/>
          </a:xfrm>
        </p:spPr>
        <p:txBody>
          <a:bodyPr>
            <a:noAutofit/>
          </a:bodyPr>
          <a:lstStyle/>
          <a:p>
            <a:pPr algn="l"/>
            <a:r>
              <a:rPr lang="en-US" b="1" dirty="0">
                <a:solidFill>
                  <a:srgbClr val="002060"/>
                </a:solidFill>
                <a:latin typeface="DilleniaUPC" pitchFamily="18" charset="-34"/>
                <a:ea typeface="+mn-ea"/>
                <a:cs typeface="DilleniaUPC" pitchFamily="18" charset="-34"/>
              </a:rPr>
              <a:t>PROGRAM 2015 PIHPS NASIONAL: INTEGRASI DATA PIHPS DAERAH</a:t>
            </a:r>
          </a:p>
        </p:txBody>
      </p:sp>
    </p:spTree>
    <p:extLst>
      <p:ext uri="{BB962C8B-B14F-4D97-AF65-F5344CB8AC3E}">
        <p14:creationId xmlns:p14="http://schemas.microsoft.com/office/powerpoint/2010/main" val="52723457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69"/>
                                        </p:tgtEl>
                                        <p:attrNameLst>
                                          <p:attrName>style.visibility</p:attrName>
                                        </p:attrNameLst>
                                      </p:cBhvr>
                                      <p:to>
                                        <p:strVal val="visible"/>
                                      </p:to>
                                    </p:set>
                                    <p:anim calcmode="lin" valueType="num">
                                      <p:cBhvr additive="base">
                                        <p:cTn id="7" dur="500" fill="hold"/>
                                        <p:tgtEl>
                                          <p:spTgt spid="369"/>
                                        </p:tgtEl>
                                        <p:attrNameLst>
                                          <p:attrName>ppt_x</p:attrName>
                                        </p:attrNameLst>
                                      </p:cBhvr>
                                      <p:tavLst>
                                        <p:tav tm="0">
                                          <p:val>
                                            <p:strVal val="#ppt_x"/>
                                          </p:val>
                                        </p:tav>
                                        <p:tav tm="100000">
                                          <p:val>
                                            <p:strVal val="#ppt_x"/>
                                          </p:val>
                                        </p:tav>
                                      </p:tavLst>
                                    </p:anim>
                                    <p:anim calcmode="lin" valueType="num">
                                      <p:cBhvr additive="base">
                                        <p:cTn id="8" dur="500" fill="hold"/>
                                        <p:tgtEl>
                                          <p:spTgt spid="369"/>
                                        </p:tgtEl>
                                        <p:attrNameLst>
                                          <p:attrName>ppt_y</p:attrName>
                                        </p:attrNameLst>
                                      </p:cBhvr>
                                      <p:tavLst>
                                        <p:tav tm="0">
                                          <p:val>
                                            <p:strVal val="1+#ppt_h/2"/>
                                          </p:val>
                                        </p:tav>
                                        <p:tav tm="100000">
                                          <p:val>
                                            <p:strVal val="#ppt_y"/>
                                          </p:val>
                                        </p:tav>
                                      </p:tavLst>
                                    </p:anim>
                                  </p:childTnLst>
                                </p:cTn>
                              </p:par>
                              <p:par>
                                <p:cTn id="9" presetID="22" presetClass="entr" presetSubtype="4" fill="hold" nodeType="withEffect">
                                  <p:stCondLst>
                                    <p:cond delay="1000"/>
                                  </p:stCondLst>
                                  <p:childTnLst>
                                    <p:set>
                                      <p:cBhvr>
                                        <p:cTn id="10" dur="1" fill="hold">
                                          <p:stCondLst>
                                            <p:cond delay="0"/>
                                          </p:stCondLst>
                                        </p:cTn>
                                        <p:tgtEl>
                                          <p:spTgt spid="373"/>
                                        </p:tgtEl>
                                        <p:attrNameLst>
                                          <p:attrName>style.visibility</p:attrName>
                                        </p:attrNameLst>
                                      </p:cBhvr>
                                      <p:to>
                                        <p:strVal val="visible"/>
                                      </p:to>
                                    </p:set>
                                    <p:animEffect transition="in" filter="wipe(down)">
                                      <p:cBhvr>
                                        <p:cTn id="11" dur="2000"/>
                                        <p:tgtEl>
                                          <p:spTgt spid="373"/>
                                        </p:tgtEl>
                                      </p:cBhvr>
                                    </p:animEffect>
                                  </p:childTnLst>
                                </p:cTn>
                              </p:par>
                              <p:par>
                                <p:cTn id="12" presetID="22" presetClass="entr" presetSubtype="4" fill="hold" nodeType="withEffect">
                                  <p:stCondLst>
                                    <p:cond delay="1000"/>
                                  </p:stCondLst>
                                  <p:childTnLst>
                                    <p:set>
                                      <p:cBhvr>
                                        <p:cTn id="13" dur="1" fill="hold">
                                          <p:stCondLst>
                                            <p:cond delay="0"/>
                                          </p:stCondLst>
                                        </p:cTn>
                                        <p:tgtEl>
                                          <p:spTgt spid="374"/>
                                        </p:tgtEl>
                                        <p:attrNameLst>
                                          <p:attrName>style.visibility</p:attrName>
                                        </p:attrNameLst>
                                      </p:cBhvr>
                                      <p:to>
                                        <p:strVal val="visible"/>
                                      </p:to>
                                    </p:set>
                                    <p:animEffect transition="in" filter="wipe(down)">
                                      <p:cBhvr>
                                        <p:cTn id="14" dur="2000"/>
                                        <p:tgtEl>
                                          <p:spTgt spid="374"/>
                                        </p:tgtEl>
                                      </p:cBhvr>
                                    </p:animEffect>
                                  </p:childTnLst>
                                </p:cTn>
                              </p:par>
                              <p:par>
                                <p:cTn id="15" presetID="22" presetClass="entr" presetSubtype="4" fill="hold" nodeType="withEffect">
                                  <p:stCondLst>
                                    <p:cond delay="1000"/>
                                  </p:stCondLst>
                                  <p:childTnLst>
                                    <p:set>
                                      <p:cBhvr>
                                        <p:cTn id="16" dur="1" fill="hold">
                                          <p:stCondLst>
                                            <p:cond delay="0"/>
                                          </p:stCondLst>
                                        </p:cTn>
                                        <p:tgtEl>
                                          <p:spTgt spid="377"/>
                                        </p:tgtEl>
                                        <p:attrNameLst>
                                          <p:attrName>style.visibility</p:attrName>
                                        </p:attrNameLst>
                                      </p:cBhvr>
                                      <p:to>
                                        <p:strVal val="visible"/>
                                      </p:to>
                                    </p:set>
                                    <p:animEffect transition="in" filter="wipe(down)">
                                      <p:cBhvr>
                                        <p:cTn id="17" dur="2000"/>
                                        <p:tgtEl>
                                          <p:spTgt spid="377"/>
                                        </p:tgtEl>
                                      </p:cBhvr>
                                    </p:animEffect>
                                  </p:childTnLst>
                                </p:cTn>
                              </p:par>
                              <p:par>
                                <p:cTn id="18" presetID="22" presetClass="entr" presetSubtype="4" fill="hold" nodeType="withEffect">
                                  <p:stCondLst>
                                    <p:cond delay="1000"/>
                                  </p:stCondLst>
                                  <p:childTnLst>
                                    <p:set>
                                      <p:cBhvr>
                                        <p:cTn id="19" dur="1" fill="hold">
                                          <p:stCondLst>
                                            <p:cond delay="0"/>
                                          </p:stCondLst>
                                        </p:cTn>
                                        <p:tgtEl>
                                          <p:spTgt spid="380"/>
                                        </p:tgtEl>
                                        <p:attrNameLst>
                                          <p:attrName>style.visibility</p:attrName>
                                        </p:attrNameLst>
                                      </p:cBhvr>
                                      <p:to>
                                        <p:strVal val="visible"/>
                                      </p:to>
                                    </p:set>
                                    <p:animEffect transition="in" filter="wipe(down)">
                                      <p:cBhvr>
                                        <p:cTn id="20" dur="2000"/>
                                        <p:tgtEl>
                                          <p:spTgt spid="380"/>
                                        </p:tgtEl>
                                      </p:cBhvr>
                                    </p:animEffect>
                                  </p:childTnLst>
                                </p:cTn>
                              </p:par>
                              <p:par>
                                <p:cTn id="21" presetID="22" presetClass="entr" presetSubtype="4" fill="hold" nodeType="withEffect">
                                  <p:stCondLst>
                                    <p:cond delay="1000"/>
                                  </p:stCondLst>
                                  <p:childTnLst>
                                    <p:set>
                                      <p:cBhvr>
                                        <p:cTn id="22" dur="1" fill="hold">
                                          <p:stCondLst>
                                            <p:cond delay="0"/>
                                          </p:stCondLst>
                                        </p:cTn>
                                        <p:tgtEl>
                                          <p:spTgt spid="385"/>
                                        </p:tgtEl>
                                        <p:attrNameLst>
                                          <p:attrName>style.visibility</p:attrName>
                                        </p:attrNameLst>
                                      </p:cBhvr>
                                      <p:to>
                                        <p:strVal val="visible"/>
                                      </p:to>
                                    </p:set>
                                    <p:animEffect transition="in" filter="wipe(down)">
                                      <p:cBhvr>
                                        <p:cTn id="23" dur="2000"/>
                                        <p:tgtEl>
                                          <p:spTgt spid="385"/>
                                        </p:tgtEl>
                                      </p:cBhvr>
                                    </p:animEffect>
                                  </p:childTnLst>
                                </p:cTn>
                              </p:par>
                              <p:par>
                                <p:cTn id="24" presetID="22" presetClass="entr" presetSubtype="4" fill="hold" nodeType="withEffect">
                                  <p:stCondLst>
                                    <p:cond delay="1000"/>
                                  </p:stCondLst>
                                  <p:childTnLst>
                                    <p:set>
                                      <p:cBhvr>
                                        <p:cTn id="25" dur="1" fill="hold">
                                          <p:stCondLst>
                                            <p:cond delay="0"/>
                                          </p:stCondLst>
                                        </p:cTn>
                                        <p:tgtEl>
                                          <p:spTgt spid="388"/>
                                        </p:tgtEl>
                                        <p:attrNameLst>
                                          <p:attrName>style.visibility</p:attrName>
                                        </p:attrNameLst>
                                      </p:cBhvr>
                                      <p:to>
                                        <p:strVal val="visible"/>
                                      </p:to>
                                    </p:set>
                                    <p:animEffect transition="in" filter="wipe(down)">
                                      <p:cBhvr>
                                        <p:cTn id="26" dur="2000"/>
                                        <p:tgtEl>
                                          <p:spTgt spid="388"/>
                                        </p:tgtEl>
                                      </p:cBhvr>
                                    </p:animEffect>
                                  </p:childTnLst>
                                </p:cTn>
                              </p:par>
                              <p:par>
                                <p:cTn id="27" presetID="22" presetClass="entr" presetSubtype="4" fill="hold" nodeType="withEffect">
                                  <p:stCondLst>
                                    <p:cond delay="1000"/>
                                  </p:stCondLst>
                                  <p:childTnLst>
                                    <p:set>
                                      <p:cBhvr>
                                        <p:cTn id="28" dur="1" fill="hold">
                                          <p:stCondLst>
                                            <p:cond delay="0"/>
                                          </p:stCondLst>
                                        </p:cTn>
                                        <p:tgtEl>
                                          <p:spTgt spid="391"/>
                                        </p:tgtEl>
                                        <p:attrNameLst>
                                          <p:attrName>style.visibility</p:attrName>
                                        </p:attrNameLst>
                                      </p:cBhvr>
                                      <p:to>
                                        <p:strVal val="visible"/>
                                      </p:to>
                                    </p:set>
                                    <p:animEffect transition="in" filter="wipe(down)">
                                      <p:cBhvr>
                                        <p:cTn id="29" dur="2000"/>
                                        <p:tgtEl>
                                          <p:spTgt spid="391"/>
                                        </p:tgtEl>
                                      </p:cBhvr>
                                    </p:animEffect>
                                  </p:childTnLst>
                                </p:cTn>
                              </p:par>
                              <p:par>
                                <p:cTn id="30" presetID="22" presetClass="entr" presetSubtype="4" fill="hold" nodeType="withEffect">
                                  <p:stCondLst>
                                    <p:cond delay="1000"/>
                                  </p:stCondLst>
                                  <p:childTnLst>
                                    <p:set>
                                      <p:cBhvr>
                                        <p:cTn id="31" dur="1" fill="hold">
                                          <p:stCondLst>
                                            <p:cond delay="0"/>
                                          </p:stCondLst>
                                        </p:cTn>
                                        <p:tgtEl>
                                          <p:spTgt spid="394"/>
                                        </p:tgtEl>
                                        <p:attrNameLst>
                                          <p:attrName>style.visibility</p:attrName>
                                        </p:attrNameLst>
                                      </p:cBhvr>
                                      <p:to>
                                        <p:strVal val="visible"/>
                                      </p:to>
                                    </p:set>
                                    <p:animEffect transition="in" filter="wipe(down)">
                                      <p:cBhvr>
                                        <p:cTn id="32" dur="2000"/>
                                        <p:tgtEl>
                                          <p:spTgt spid="394"/>
                                        </p:tgtEl>
                                      </p:cBhvr>
                                    </p:animEffect>
                                  </p:childTnLst>
                                </p:cTn>
                              </p:par>
                              <p:par>
                                <p:cTn id="33" presetID="22" presetClass="entr" presetSubtype="4" fill="hold" nodeType="withEffect">
                                  <p:stCondLst>
                                    <p:cond delay="1000"/>
                                  </p:stCondLst>
                                  <p:childTnLst>
                                    <p:set>
                                      <p:cBhvr>
                                        <p:cTn id="34" dur="1" fill="hold">
                                          <p:stCondLst>
                                            <p:cond delay="0"/>
                                          </p:stCondLst>
                                        </p:cTn>
                                        <p:tgtEl>
                                          <p:spTgt spid="397"/>
                                        </p:tgtEl>
                                        <p:attrNameLst>
                                          <p:attrName>style.visibility</p:attrName>
                                        </p:attrNameLst>
                                      </p:cBhvr>
                                      <p:to>
                                        <p:strVal val="visible"/>
                                      </p:to>
                                    </p:set>
                                    <p:animEffect transition="in" filter="wipe(down)">
                                      <p:cBhvr>
                                        <p:cTn id="35" dur="2000"/>
                                        <p:tgtEl>
                                          <p:spTgt spid="397"/>
                                        </p:tgtEl>
                                      </p:cBhvr>
                                    </p:animEffect>
                                  </p:childTnLst>
                                </p:cTn>
                              </p:par>
                              <p:par>
                                <p:cTn id="36" presetID="22" presetClass="entr" presetSubtype="4" fill="hold" nodeType="withEffect">
                                  <p:stCondLst>
                                    <p:cond delay="1000"/>
                                  </p:stCondLst>
                                  <p:childTnLst>
                                    <p:set>
                                      <p:cBhvr>
                                        <p:cTn id="37" dur="1" fill="hold">
                                          <p:stCondLst>
                                            <p:cond delay="0"/>
                                          </p:stCondLst>
                                        </p:cTn>
                                        <p:tgtEl>
                                          <p:spTgt spid="400"/>
                                        </p:tgtEl>
                                        <p:attrNameLst>
                                          <p:attrName>style.visibility</p:attrName>
                                        </p:attrNameLst>
                                      </p:cBhvr>
                                      <p:to>
                                        <p:strVal val="visible"/>
                                      </p:to>
                                    </p:set>
                                    <p:animEffect transition="in" filter="wipe(down)">
                                      <p:cBhvr>
                                        <p:cTn id="38" dur="2000"/>
                                        <p:tgtEl>
                                          <p:spTgt spid="400"/>
                                        </p:tgtEl>
                                      </p:cBhvr>
                                    </p:animEffect>
                                  </p:childTnLst>
                                </p:cTn>
                              </p:par>
                              <p:par>
                                <p:cTn id="39" presetID="22" presetClass="entr" presetSubtype="4" fill="hold" nodeType="withEffect">
                                  <p:stCondLst>
                                    <p:cond delay="1000"/>
                                  </p:stCondLst>
                                  <p:childTnLst>
                                    <p:set>
                                      <p:cBhvr>
                                        <p:cTn id="40" dur="1" fill="hold">
                                          <p:stCondLst>
                                            <p:cond delay="0"/>
                                          </p:stCondLst>
                                        </p:cTn>
                                        <p:tgtEl>
                                          <p:spTgt spid="403"/>
                                        </p:tgtEl>
                                        <p:attrNameLst>
                                          <p:attrName>style.visibility</p:attrName>
                                        </p:attrNameLst>
                                      </p:cBhvr>
                                      <p:to>
                                        <p:strVal val="visible"/>
                                      </p:to>
                                    </p:set>
                                    <p:animEffect transition="in" filter="wipe(down)">
                                      <p:cBhvr>
                                        <p:cTn id="41" dur="2000"/>
                                        <p:tgtEl>
                                          <p:spTgt spid="403"/>
                                        </p:tgtEl>
                                      </p:cBhvr>
                                    </p:animEffect>
                                  </p:childTnLst>
                                </p:cTn>
                              </p:par>
                              <p:par>
                                <p:cTn id="42" presetID="22" presetClass="entr" presetSubtype="4" fill="hold" nodeType="withEffect">
                                  <p:stCondLst>
                                    <p:cond delay="1000"/>
                                  </p:stCondLst>
                                  <p:childTnLst>
                                    <p:set>
                                      <p:cBhvr>
                                        <p:cTn id="43" dur="1" fill="hold">
                                          <p:stCondLst>
                                            <p:cond delay="0"/>
                                          </p:stCondLst>
                                        </p:cTn>
                                        <p:tgtEl>
                                          <p:spTgt spid="406"/>
                                        </p:tgtEl>
                                        <p:attrNameLst>
                                          <p:attrName>style.visibility</p:attrName>
                                        </p:attrNameLst>
                                      </p:cBhvr>
                                      <p:to>
                                        <p:strVal val="visible"/>
                                      </p:to>
                                    </p:set>
                                    <p:animEffect transition="in" filter="wipe(down)">
                                      <p:cBhvr>
                                        <p:cTn id="44" dur="2000"/>
                                        <p:tgtEl>
                                          <p:spTgt spid="406"/>
                                        </p:tgtEl>
                                      </p:cBhvr>
                                    </p:animEffect>
                                  </p:childTnLst>
                                </p:cTn>
                              </p:par>
                              <p:par>
                                <p:cTn id="45" presetID="22" presetClass="entr" presetSubtype="4" fill="hold" nodeType="withEffect">
                                  <p:stCondLst>
                                    <p:cond delay="1000"/>
                                  </p:stCondLst>
                                  <p:childTnLst>
                                    <p:set>
                                      <p:cBhvr>
                                        <p:cTn id="46" dur="1" fill="hold">
                                          <p:stCondLst>
                                            <p:cond delay="0"/>
                                          </p:stCondLst>
                                        </p:cTn>
                                        <p:tgtEl>
                                          <p:spTgt spid="409"/>
                                        </p:tgtEl>
                                        <p:attrNameLst>
                                          <p:attrName>style.visibility</p:attrName>
                                        </p:attrNameLst>
                                      </p:cBhvr>
                                      <p:to>
                                        <p:strVal val="visible"/>
                                      </p:to>
                                    </p:set>
                                    <p:animEffect transition="in" filter="wipe(down)">
                                      <p:cBhvr>
                                        <p:cTn id="47" dur="2000"/>
                                        <p:tgtEl>
                                          <p:spTgt spid="409"/>
                                        </p:tgtEl>
                                      </p:cBhvr>
                                    </p:animEffect>
                                  </p:childTnLst>
                                </p:cTn>
                              </p:par>
                              <p:par>
                                <p:cTn id="48" presetID="22" presetClass="entr" presetSubtype="4" fill="hold" nodeType="withEffect">
                                  <p:stCondLst>
                                    <p:cond delay="1000"/>
                                  </p:stCondLst>
                                  <p:childTnLst>
                                    <p:set>
                                      <p:cBhvr>
                                        <p:cTn id="49" dur="1" fill="hold">
                                          <p:stCondLst>
                                            <p:cond delay="0"/>
                                          </p:stCondLst>
                                        </p:cTn>
                                        <p:tgtEl>
                                          <p:spTgt spid="412"/>
                                        </p:tgtEl>
                                        <p:attrNameLst>
                                          <p:attrName>style.visibility</p:attrName>
                                        </p:attrNameLst>
                                      </p:cBhvr>
                                      <p:to>
                                        <p:strVal val="visible"/>
                                      </p:to>
                                    </p:set>
                                    <p:animEffect transition="in" filter="wipe(down)">
                                      <p:cBhvr>
                                        <p:cTn id="50" dur="2000"/>
                                        <p:tgtEl>
                                          <p:spTgt spid="412"/>
                                        </p:tgtEl>
                                      </p:cBhvr>
                                    </p:animEffect>
                                  </p:childTnLst>
                                </p:cTn>
                              </p:par>
                              <p:par>
                                <p:cTn id="51" presetID="22" presetClass="entr" presetSubtype="4" fill="hold" nodeType="withEffect">
                                  <p:stCondLst>
                                    <p:cond delay="1000"/>
                                  </p:stCondLst>
                                  <p:childTnLst>
                                    <p:set>
                                      <p:cBhvr>
                                        <p:cTn id="52" dur="1" fill="hold">
                                          <p:stCondLst>
                                            <p:cond delay="0"/>
                                          </p:stCondLst>
                                        </p:cTn>
                                        <p:tgtEl>
                                          <p:spTgt spid="415"/>
                                        </p:tgtEl>
                                        <p:attrNameLst>
                                          <p:attrName>style.visibility</p:attrName>
                                        </p:attrNameLst>
                                      </p:cBhvr>
                                      <p:to>
                                        <p:strVal val="visible"/>
                                      </p:to>
                                    </p:set>
                                    <p:animEffect transition="in" filter="wipe(down)">
                                      <p:cBhvr>
                                        <p:cTn id="53" dur="2000"/>
                                        <p:tgtEl>
                                          <p:spTgt spid="415"/>
                                        </p:tgtEl>
                                      </p:cBhvr>
                                    </p:animEffect>
                                  </p:childTnLst>
                                </p:cTn>
                              </p:par>
                              <p:par>
                                <p:cTn id="54" presetID="22" presetClass="entr" presetSubtype="4" fill="hold" nodeType="withEffect">
                                  <p:stCondLst>
                                    <p:cond delay="1000"/>
                                  </p:stCondLst>
                                  <p:childTnLst>
                                    <p:set>
                                      <p:cBhvr>
                                        <p:cTn id="55" dur="1" fill="hold">
                                          <p:stCondLst>
                                            <p:cond delay="0"/>
                                          </p:stCondLst>
                                        </p:cTn>
                                        <p:tgtEl>
                                          <p:spTgt spid="418"/>
                                        </p:tgtEl>
                                        <p:attrNameLst>
                                          <p:attrName>style.visibility</p:attrName>
                                        </p:attrNameLst>
                                      </p:cBhvr>
                                      <p:to>
                                        <p:strVal val="visible"/>
                                      </p:to>
                                    </p:set>
                                    <p:animEffect transition="in" filter="wipe(down)">
                                      <p:cBhvr>
                                        <p:cTn id="56" dur="2000"/>
                                        <p:tgtEl>
                                          <p:spTgt spid="418"/>
                                        </p:tgtEl>
                                      </p:cBhvr>
                                    </p:animEffect>
                                  </p:childTnLst>
                                </p:cTn>
                              </p:par>
                              <p:par>
                                <p:cTn id="57" presetID="22" presetClass="entr" presetSubtype="4" fill="hold" nodeType="withEffect">
                                  <p:stCondLst>
                                    <p:cond delay="1000"/>
                                  </p:stCondLst>
                                  <p:childTnLst>
                                    <p:set>
                                      <p:cBhvr>
                                        <p:cTn id="58" dur="1" fill="hold">
                                          <p:stCondLst>
                                            <p:cond delay="0"/>
                                          </p:stCondLst>
                                        </p:cTn>
                                        <p:tgtEl>
                                          <p:spTgt spid="421"/>
                                        </p:tgtEl>
                                        <p:attrNameLst>
                                          <p:attrName>style.visibility</p:attrName>
                                        </p:attrNameLst>
                                      </p:cBhvr>
                                      <p:to>
                                        <p:strVal val="visible"/>
                                      </p:to>
                                    </p:set>
                                    <p:animEffect transition="in" filter="wipe(down)">
                                      <p:cBhvr>
                                        <p:cTn id="59" dur="2000"/>
                                        <p:tgtEl>
                                          <p:spTgt spid="421"/>
                                        </p:tgtEl>
                                      </p:cBhvr>
                                    </p:animEffect>
                                  </p:childTnLst>
                                </p:cTn>
                              </p:par>
                              <p:par>
                                <p:cTn id="60" presetID="22" presetClass="entr" presetSubtype="4" fill="hold" nodeType="withEffect">
                                  <p:stCondLst>
                                    <p:cond delay="1000"/>
                                  </p:stCondLst>
                                  <p:childTnLst>
                                    <p:set>
                                      <p:cBhvr>
                                        <p:cTn id="61" dur="1" fill="hold">
                                          <p:stCondLst>
                                            <p:cond delay="0"/>
                                          </p:stCondLst>
                                        </p:cTn>
                                        <p:tgtEl>
                                          <p:spTgt spid="424"/>
                                        </p:tgtEl>
                                        <p:attrNameLst>
                                          <p:attrName>style.visibility</p:attrName>
                                        </p:attrNameLst>
                                      </p:cBhvr>
                                      <p:to>
                                        <p:strVal val="visible"/>
                                      </p:to>
                                    </p:set>
                                    <p:animEffect transition="in" filter="wipe(down)">
                                      <p:cBhvr>
                                        <p:cTn id="62" dur="2000"/>
                                        <p:tgtEl>
                                          <p:spTgt spid="424"/>
                                        </p:tgtEl>
                                      </p:cBhvr>
                                    </p:animEffect>
                                  </p:childTnLst>
                                </p:cTn>
                              </p:par>
                              <p:par>
                                <p:cTn id="63" presetID="22" presetClass="entr" presetSubtype="4" fill="hold" nodeType="withEffect">
                                  <p:stCondLst>
                                    <p:cond delay="1000"/>
                                  </p:stCondLst>
                                  <p:childTnLst>
                                    <p:set>
                                      <p:cBhvr>
                                        <p:cTn id="64" dur="1" fill="hold">
                                          <p:stCondLst>
                                            <p:cond delay="0"/>
                                          </p:stCondLst>
                                        </p:cTn>
                                        <p:tgtEl>
                                          <p:spTgt spid="427"/>
                                        </p:tgtEl>
                                        <p:attrNameLst>
                                          <p:attrName>style.visibility</p:attrName>
                                        </p:attrNameLst>
                                      </p:cBhvr>
                                      <p:to>
                                        <p:strVal val="visible"/>
                                      </p:to>
                                    </p:set>
                                    <p:animEffect transition="in" filter="wipe(down)">
                                      <p:cBhvr>
                                        <p:cTn id="65" dur="2000"/>
                                        <p:tgtEl>
                                          <p:spTgt spid="427"/>
                                        </p:tgtEl>
                                      </p:cBhvr>
                                    </p:animEffect>
                                  </p:childTnLst>
                                </p:cTn>
                              </p:par>
                              <p:par>
                                <p:cTn id="66" presetID="22" presetClass="entr" presetSubtype="4" fill="hold" nodeType="withEffect">
                                  <p:stCondLst>
                                    <p:cond delay="1000"/>
                                  </p:stCondLst>
                                  <p:childTnLst>
                                    <p:set>
                                      <p:cBhvr>
                                        <p:cTn id="67" dur="1" fill="hold">
                                          <p:stCondLst>
                                            <p:cond delay="0"/>
                                          </p:stCondLst>
                                        </p:cTn>
                                        <p:tgtEl>
                                          <p:spTgt spid="430"/>
                                        </p:tgtEl>
                                        <p:attrNameLst>
                                          <p:attrName>style.visibility</p:attrName>
                                        </p:attrNameLst>
                                      </p:cBhvr>
                                      <p:to>
                                        <p:strVal val="visible"/>
                                      </p:to>
                                    </p:set>
                                    <p:animEffect transition="in" filter="wipe(down)">
                                      <p:cBhvr>
                                        <p:cTn id="68" dur="2000"/>
                                        <p:tgtEl>
                                          <p:spTgt spid="430"/>
                                        </p:tgtEl>
                                      </p:cBhvr>
                                    </p:animEffect>
                                  </p:childTnLst>
                                </p:cTn>
                              </p:par>
                              <p:par>
                                <p:cTn id="69" presetID="22" presetClass="entr" presetSubtype="4" fill="hold" nodeType="withEffect">
                                  <p:stCondLst>
                                    <p:cond delay="1000"/>
                                  </p:stCondLst>
                                  <p:childTnLst>
                                    <p:set>
                                      <p:cBhvr>
                                        <p:cTn id="70" dur="1" fill="hold">
                                          <p:stCondLst>
                                            <p:cond delay="0"/>
                                          </p:stCondLst>
                                        </p:cTn>
                                        <p:tgtEl>
                                          <p:spTgt spid="433"/>
                                        </p:tgtEl>
                                        <p:attrNameLst>
                                          <p:attrName>style.visibility</p:attrName>
                                        </p:attrNameLst>
                                      </p:cBhvr>
                                      <p:to>
                                        <p:strVal val="visible"/>
                                      </p:to>
                                    </p:set>
                                    <p:animEffect transition="in" filter="wipe(down)">
                                      <p:cBhvr>
                                        <p:cTn id="71" dur="2000"/>
                                        <p:tgtEl>
                                          <p:spTgt spid="433"/>
                                        </p:tgtEl>
                                      </p:cBhvr>
                                    </p:animEffect>
                                  </p:childTnLst>
                                </p:cTn>
                              </p:par>
                              <p:par>
                                <p:cTn id="72" presetID="22" presetClass="entr" presetSubtype="4" fill="hold" nodeType="withEffect">
                                  <p:stCondLst>
                                    <p:cond delay="1000"/>
                                  </p:stCondLst>
                                  <p:childTnLst>
                                    <p:set>
                                      <p:cBhvr>
                                        <p:cTn id="73" dur="1" fill="hold">
                                          <p:stCondLst>
                                            <p:cond delay="0"/>
                                          </p:stCondLst>
                                        </p:cTn>
                                        <p:tgtEl>
                                          <p:spTgt spid="436"/>
                                        </p:tgtEl>
                                        <p:attrNameLst>
                                          <p:attrName>style.visibility</p:attrName>
                                        </p:attrNameLst>
                                      </p:cBhvr>
                                      <p:to>
                                        <p:strVal val="visible"/>
                                      </p:to>
                                    </p:set>
                                    <p:animEffect transition="in" filter="wipe(down)">
                                      <p:cBhvr>
                                        <p:cTn id="74" dur="2000"/>
                                        <p:tgtEl>
                                          <p:spTgt spid="436"/>
                                        </p:tgtEl>
                                      </p:cBhvr>
                                    </p:animEffect>
                                  </p:childTnLst>
                                </p:cTn>
                              </p:par>
                              <p:par>
                                <p:cTn id="75" presetID="22" presetClass="entr" presetSubtype="4" fill="hold" nodeType="withEffect">
                                  <p:stCondLst>
                                    <p:cond delay="1000"/>
                                  </p:stCondLst>
                                  <p:childTnLst>
                                    <p:set>
                                      <p:cBhvr>
                                        <p:cTn id="76" dur="1" fill="hold">
                                          <p:stCondLst>
                                            <p:cond delay="0"/>
                                          </p:stCondLst>
                                        </p:cTn>
                                        <p:tgtEl>
                                          <p:spTgt spid="439"/>
                                        </p:tgtEl>
                                        <p:attrNameLst>
                                          <p:attrName>style.visibility</p:attrName>
                                        </p:attrNameLst>
                                      </p:cBhvr>
                                      <p:to>
                                        <p:strVal val="visible"/>
                                      </p:to>
                                    </p:set>
                                    <p:animEffect transition="in" filter="wipe(down)">
                                      <p:cBhvr>
                                        <p:cTn id="77" dur="2000"/>
                                        <p:tgtEl>
                                          <p:spTgt spid="439"/>
                                        </p:tgtEl>
                                      </p:cBhvr>
                                    </p:animEffect>
                                  </p:childTnLst>
                                </p:cTn>
                              </p:par>
                              <p:par>
                                <p:cTn id="78" presetID="22" presetClass="entr" presetSubtype="4" fill="hold" nodeType="withEffect">
                                  <p:stCondLst>
                                    <p:cond delay="1000"/>
                                  </p:stCondLst>
                                  <p:childTnLst>
                                    <p:set>
                                      <p:cBhvr>
                                        <p:cTn id="79" dur="1" fill="hold">
                                          <p:stCondLst>
                                            <p:cond delay="0"/>
                                          </p:stCondLst>
                                        </p:cTn>
                                        <p:tgtEl>
                                          <p:spTgt spid="442"/>
                                        </p:tgtEl>
                                        <p:attrNameLst>
                                          <p:attrName>style.visibility</p:attrName>
                                        </p:attrNameLst>
                                      </p:cBhvr>
                                      <p:to>
                                        <p:strVal val="visible"/>
                                      </p:to>
                                    </p:set>
                                    <p:animEffect transition="in" filter="wipe(down)">
                                      <p:cBhvr>
                                        <p:cTn id="80" dur="2000"/>
                                        <p:tgtEl>
                                          <p:spTgt spid="442"/>
                                        </p:tgtEl>
                                      </p:cBhvr>
                                    </p:animEffect>
                                  </p:childTnLst>
                                </p:cTn>
                              </p:par>
                              <p:par>
                                <p:cTn id="81" presetID="22" presetClass="entr" presetSubtype="4" fill="hold" nodeType="withEffect">
                                  <p:stCondLst>
                                    <p:cond delay="1000"/>
                                  </p:stCondLst>
                                  <p:childTnLst>
                                    <p:set>
                                      <p:cBhvr>
                                        <p:cTn id="82" dur="1" fill="hold">
                                          <p:stCondLst>
                                            <p:cond delay="0"/>
                                          </p:stCondLst>
                                        </p:cTn>
                                        <p:tgtEl>
                                          <p:spTgt spid="445"/>
                                        </p:tgtEl>
                                        <p:attrNameLst>
                                          <p:attrName>style.visibility</p:attrName>
                                        </p:attrNameLst>
                                      </p:cBhvr>
                                      <p:to>
                                        <p:strVal val="visible"/>
                                      </p:to>
                                    </p:set>
                                    <p:animEffect transition="in" filter="wipe(down)">
                                      <p:cBhvr>
                                        <p:cTn id="83" dur="2000"/>
                                        <p:tgtEl>
                                          <p:spTgt spid="445"/>
                                        </p:tgtEl>
                                      </p:cBhvr>
                                    </p:animEffect>
                                  </p:childTnLst>
                                </p:cTn>
                              </p:par>
                              <p:par>
                                <p:cTn id="84" presetID="22" presetClass="entr" presetSubtype="4" fill="hold" nodeType="withEffect">
                                  <p:stCondLst>
                                    <p:cond delay="1000"/>
                                  </p:stCondLst>
                                  <p:childTnLst>
                                    <p:set>
                                      <p:cBhvr>
                                        <p:cTn id="85" dur="1" fill="hold">
                                          <p:stCondLst>
                                            <p:cond delay="0"/>
                                          </p:stCondLst>
                                        </p:cTn>
                                        <p:tgtEl>
                                          <p:spTgt spid="448"/>
                                        </p:tgtEl>
                                        <p:attrNameLst>
                                          <p:attrName>style.visibility</p:attrName>
                                        </p:attrNameLst>
                                      </p:cBhvr>
                                      <p:to>
                                        <p:strVal val="visible"/>
                                      </p:to>
                                    </p:set>
                                    <p:animEffect transition="in" filter="wipe(down)">
                                      <p:cBhvr>
                                        <p:cTn id="86" dur="2000"/>
                                        <p:tgtEl>
                                          <p:spTgt spid="448"/>
                                        </p:tgtEl>
                                      </p:cBhvr>
                                    </p:animEffect>
                                  </p:childTnLst>
                                </p:cTn>
                              </p:par>
                              <p:par>
                                <p:cTn id="87" presetID="22" presetClass="entr" presetSubtype="4" fill="hold" nodeType="withEffect">
                                  <p:stCondLst>
                                    <p:cond delay="1000"/>
                                  </p:stCondLst>
                                  <p:childTnLst>
                                    <p:set>
                                      <p:cBhvr>
                                        <p:cTn id="88" dur="1" fill="hold">
                                          <p:stCondLst>
                                            <p:cond delay="0"/>
                                          </p:stCondLst>
                                        </p:cTn>
                                        <p:tgtEl>
                                          <p:spTgt spid="451"/>
                                        </p:tgtEl>
                                        <p:attrNameLst>
                                          <p:attrName>style.visibility</p:attrName>
                                        </p:attrNameLst>
                                      </p:cBhvr>
                                      <p:to>
                                        <p:strVal val="visible"/>
                                      </p:to>
                                    </p:set>
                                    <p:animEffect transition="in" filter="wipe(down)">
                                      <p:cBhvr>
                                        <p:cTn id="89" dur="2000"/>
                                        <p:tgtEl>
                                          <p:spTgt spid="451"/>
                                        </p:tgtEl>
                                      </p:cBhvr>
                                    </p:animEffect>
                                  </p:childTnLst>
                                </p:cTn>
                              </p:par>
                              <p:par>
                                <p:cTn id="90" presetID="22" presetClass="entr" presetSubtype="4" fill="hold" nodeType="withEffect">
                                  <p:stCondLst>
                                    <p:cond delay="1000"/>
                                  </p:stCondLst>
                                  <p:childTnLst>
                                    <p:set>
                                      <p:cBhvr>
                                        <p:cTn id="91" dur="1" fill="hold">
                                          <p:stCondLst>
                                            <p:cond delay="0"/>
                                          </p:stCondLst>
                                        </p:cTn>
                                        <p:tgtEl>
                                          <p:spTgt spid="454"/>
                                        </p:tgtEl>
                                        <p:attrNameLst>
                                          <p:attrName>style.visibility</p:attrName>
                                        </p:attrNameLst>
                                      </p:cBhvr>
                                      <p:to>
                                        <p:strVal val="visible"/>
                                      </p:to>
                                    </p:set>
                                    <p:animEffect transition="in" filter="wipe(down)">
                                      <p:cBhvr>
                                        <p:cTn id="92" dur="2000"/>
                                        <p:tgtEl>
                                          <p:spTgt spid="454"/>
                                        </p:tgtEl>
                                      </p:cBhvr>
                                    </p:animEffect>
                                  </p:childTnLst>
                                </p:cTn>
                              </p:par>
                              <p:par>
                                <p:cTn id="93" presetID="22" presetClass="entr" presetSubtype="4" fill="hold" nodeType="withEffect">
                                  <p:stCondLst>
                                    <p:cond delay="1000"/>
                                  </p:stCondLst>
                                  <p:childTnLst>
                                    <p:set>
                                      <p:cBhvr>
                                        <p:cTn id="94" dur="1" fill="hold">
                                          <p:stCondLst>
                                            <p:cond delay="0"/>
                                          </p:stCondLst>
                                        </p:cTn>
                                        <p:tgtEl>
                                          <p:spTgt spid="457"/>
                                        </p:tgtEl>
                                        <p:attrNameLst>
                                          <p:attrName>style.visibility</p:attrName>
                                        </p:attrNameLst>
                                      </p:cBhvr>
                                      <p:to>
                                        <p:strVal val="visible"/>
                                      </p:to>
                                    </p:set>
                                    <p:animEffect transition="in" filter="wipe(down)">
                                      <p:cBhvr>
                                        <p:cTn id="95" dur="2000"/>
                                        <p:tgtEl>
                                          <p:spTgt spid="457"/>
                                        </p:tgtEl>
                                      </p:cBhvr>
                                    </p:animEffect>
                                  </p:childTnLst>
                                </p:cTn>
                              </p:par>
                              <p:par>
                                <p:cTn id="96" presetID="22" presetClass="entr" presetSubtype="4" fill="hold" nodeType="withEffect">
                                  <p:stCondLst>
                                    <p:cond delay="1000"/>
                                  </p:stCondLst>
                                  <p:childTnLst>
                                    <p:set>
                                      <p:cBhvr>
                                        <p:cTn id="97" dur="1" fill="hold">
                                          <p:stCondLst>
                                            <p:cond delay="0"/>
                                          </p:stCondLst>
                                        </p:cTn>
                                        <p:tgtEl>
                                          <p:spTgt spid="460"/>
                                        </p:tgtEl>
                                        <p:attrNameLst>
                                          <p:attrName>style.visibility</p:attrName>
                                        </p:attrNameLst>
                                      </p:cBhvr>
                                      <p:to>
                                        <p:strVal val="visible"/>
                                      </p:to>
                                    </p:set>
                                    <p:animEffect transition="in" filter="wipe(down)">
                                      <p:cBhvr>
                                        <p:cTn id="98" dur="2000"/>
                                        <p:tgtEl>
                                          <p:spTgt spid="460"/>
                                        </p:tgtEl>
                                      </p:cBhvr>
                                    </p:animEffect>
                                  </p:childTnLst>
                                </p:cTn>
                              </p:par>
                              <p:par>
                                <p:cTn id="99" presetID="22" presetClass="entr" presetSubtype="4" fill="hold" nodeType="withEffect">
                                  <p:stCondLst>
                                    <p:cond delay="1000"/>
                                  </p:stCondLst>
                                  <p:childTnLst>
                                    <p:set>
                                      <p:cBhvr>
                                        <p:cTn id="100" dur="1" fill="hold">
                                          <p:stCondLst>
                                            <p:cond delay="0"/>
                                          </p:stCondLst>
                                        </p:cTn>
                                        <p:tgtEl>
                                          <p:spTgt spid="463"/>
                                        </p:tgtEl>
                                        <p:attrNameLst>
                                          <p:attrName>style.visibility</p:attrName>
                                        </p:attrNameLst>
                                      </p:cBhvr>
                                      <p:to>
                                        <p:strVal val="visible"/>
                                      </p:to>
                                    </p:set>
                                    <p:animEffect transition="in" filter="wipe(down)">
                                      <p:cBhvr>
                                        <p:cTn id="101" dur="2000"/>
                                        <p:tgtEl>
                                          <p:spTgt spid="463"/>
                                        </p:tgtEl>
                                      </p:cBhvr>
                                    </p:animEffect>
                                  </p:childTnLst>
                                </p:cTn>
                              </p:par>
                              <p:par>
                                <p:cTn id="102" presetID="22" presetClass="entr" presetSubtype="4" fill="hold" nodeType="withEffect">
                                  <p:stCondLst>
                                    <p:cond delay="1000"/>
                                  </p:stCondLst>
                                  <p:childTnLst>
                                    <p:set>
                                      <p:cBhvr>
                                        <p:cTn id="103" dur="1" fill="hold">
                                          <p:stCondLst>
                                            <p:cond delay="0"/>
                                          </p:stCondLst>
                                        </p:cTn>
                                        <p:tgtEl>
                                          <p:spTgt spid="466"/>
                                        </p:tgtEl>
                                        <p:attrNameLst>
                                          <p:attrName>style.visibility</p:attrName>
                                        </p:attrNameLst>
                                      </p:cBhvr>
                                      <p:to>
                                        <p:strVal val="visible"/>
                                      </p:to>
                                    </p:set>
                                    <p:animEffect transition="in" filter="wipe(down)">
                                      <p:cBhvr>
                                        <p:cTn id="104" dur="2000"/>
                                        <p:tgtEl>
                                          <p:spTgt spid="466"/>
                                        </p:tgtEl>
                                      </p:cBhvr>
                                    </p:animEffect>
                                  </p:childTnLst>
                                </p:cTn>
                              </p:par>
                              <p:par>
                                <p:cTn id="105" presetID="22" presetClass="entr" presetSubtype="8" fill="hold" grpId="0" nodeType="withEffect">
                                  <p:stCondLst>
                                    <p:cond delay="2000"/>
                                  </p:stCondLst>
                                  <p:childTnLst>
                                    <p:set>
                                      <p:cBhvr>
                                        <p:cTn id="106" dur="1" fill="hold">
                                          <p:stCondLst>
                                            <p:cond delay="0"/>
                                          </p:stCondLst>
                                        </p:cTn>
                                        <p:tgtEl>
                                          <p:spTgt spid="662"/>
                                        </p:tgtEl>
                                        <p:attrNameLst>
                                          <p:attrName>style.visibility</p:attrName>
                                        </p:attrNameLst>
                                      </p:cBhvr>
                                      <p:to>
                                        <p:strVal val="visible"/>
                                      </p:to>
                                    </p:set>
                                    <p:animEffect transition="in" filter="wipe(left)">
                                      <p:cBhvr>
                                        <p:cTn id="107" dur="1000"/>
                                        <p:tgtEl>
                                          <p:spTgt spid="662"/>
                                        </p:tgtEl>
                                      </p:cBhvr>
                                    </p:animEffect>
                                  </p:childTnLst>
                                </p:cTn>
                              </p:par>
                              <p:par>
                                <p:cTn id="108" presetID="10" presetClass="entr" presetSubtype="0" fill="hold" nodeType="withEffect">
                                  <p:stCondLst>
                                    <p:cond delay="3000"/>
                                  </p:stCondLst>
                                  <p:childTnLst>
                                    <p:set>
                                      <p:cBhvr>
                                        <p:cTn id="109" dur="1" fill="hold">
                                          <p:stCondLst>
                                            <p:cond delay="0"/>
                                          </p:stCondLst>
                                        </p:cTn>
                                        <p:tgtEl>
                                          <p:spTgt spid="1026"/>
                                        </p:tgtEl>
                                        <p:attrNameLst>
                                          <p:attrName>style.visibility</p:attrName>
                                        </p:attrNameLst>
                                      </p:cBhvr>
                                      <p:to>
                                        <p:strVal val="visible"/>
                                      </p:to>
                                    </p:set>
                                    <p:animEffect transition="in" filter="fade">
                                      <p:cBhvr>
                                        <p:cTn id="110" dur="500"/>
                                        <p:tgtEl>
                                          <p:spTgt spid="1026"/>
                                        </p:tgtEl>
                                      </p:cBhvr>
                                    </p:animEffect>
                                  </p:childTnLst>
                                </p:cTn>
                              </p:par>
                              <p:par>
                                <p:cTn id="111" presetID="10" presetClass="entr" presetSubtype="0" fill="hold" nodeType="withEffect">
                                  <p:stCondLst>
                                    <p:cond delay="3000"/>
                                  </p:stCondLst>
                                  <p:childTnLst>
                                    <p:set>
                                      <p:cBhvr>
                                        <p:cTn id="112" dur="1" fill="hold">
                                          <p:stCondLst>
                                            <p:cond delay="0"/>
                                          </p:stCondLst>
                                        </p:cTn>
                                        <p:tgtEl>
                                          <p:spTgt spid="597"/>
                                        </p:tgtEl>
                                        <p:attrNameLst>
                                          <p:attrName>style.visibility</p:attrName>
                                        </p:attrNameLst>
                                      </p:cBhvr>
                                      <p:to>
                                        <p:strVal val="visible"/>
                                      </p:to>
                                    </p:set>
                                    <p:animEffect transition="in" filter="fade">
                                      <p:cBhvr>
                                        <p:cTn id="113" dur="500"/>
                                        <p:tgtEl>
                                          <p:spTgt spid="597"/>
                                        </p:tgtEl>
                                      </p:cBhvr>
                                    </p:animEffect>
                                  </p:childTnLst>
                                </p:cTn>
                              </p:par>
                              <p:par>
                                <p:cTn id="114" presetID="10" presetClass="entr" presetSubtype="0" fill="hold" nodeType="withEffect">
                                  <p:stCondLst>
                                    <p:cond delay="3000"/>
                                  </p:stCondLst>
                                  <p:childTnLst>
                                    <p:set>
                                      <p:cBhvr>
                                        <p:cTn id="115" dur="1" fill="hold">
                                          <p:stCondLst>
                                            <p:cond delay="0"/>
                                          </p:stCondLst>
                                        </p:cTn>
                                        <p:tgtEl>
                                          <p:spTgt spid="663"/>
                                        </p:tgtEl>
                                        <p:attrNameLst>
                                          <p:attrName>style.visibility</p:attrName>
                                        </p:attrNameLst>
                                      </p:cBhvr>
                                      <p:to>
                                        <p:strVal val="visible"/>
                                      </p:to>
                                    </p:set>
                                    <p:animEffect transition="in" filter="fade">
                                      <p:cBhvr>
                                        <p:cTn id="116" dur="500"/>
                                        <p:tgtEl>
                                          <p:spTgt spid="663"/>
                                        </p:tgtEl>
                                      </p:cBhvr>
                                    </p:animEffect>
                                  </p:childTnLst>
                                </p:cTn>
                              </p:par>
                              <p:par>
                                <p:cTn id="117" presetID="2" presetClass="entr" presetSubtype="8" fill="hold" grpId="0" nodeType="withEffect">
                                  <p:stCondLst>
                                    <p:cond delay="3250"/>
                                  </p:stCondLst>
                                  <p:childTnLst>
                                    <p:set>
                                      <p:cBhvr>
                                        <p:cTn id="118" dur="1" fill="hold">
                                          <p:stCondLst>
                                            <p:cond delay="0"/>
                                          </p:stCondLst>
                                        </p:cTn>
                                        <p:tgtEl>
                                          <p:spTgt spid="9"/>
                                        </p:tgtEl>
                                        <p:attrNameLst>
                                          <p:attrName>style.visibility</p:attrName>
                                        </p:attrNameLst>
                                      </p:cBhvr>
                                      <p:to>
                                        <p:strVal val="visible"/>
                                      </p:to>
                                    </p:set>
                                    <p:anim calcmode="lin" valueType="num">
                                      <p:cBhvr additive="base">
                                        <p:cTn id="119" dur="500" fill="hold"/>
                                        <p:tgtEl>
                                          <p:spTgt spid="9"/>
                                        </p:tgtEl>
                                        <p:attrNameLst>
                                          <p:attrName>ppt_x</p:attrName>
                                        </p:attrNameLst>
                                      </p:cBhvr>
                                      <p:tavLst>
                                        <p:tav tm="0">
                                          <p:val>
                                            <p:strVal val="0-#ppt_w/2"/>
                                          </p:val>
                                        </p:tav>
                                        <p:tav tm="100000">
                                          <p:val>
                                            <p:strVal val="#ppt_x"/>
                                          </p:val>
                                        </p:tav>
                                      </p:tavLst>
                                    </p:anim>
                                    <p:anim calcmode="lin" valueType="num">
                                      <p:cBhvr additive="base">
                                        <p:cTn id="120" dur="500" fill="hold"/>
                                        <p:tgtEl>
                                          <p:spTgt spid="9"/>
                                        </p:tgtEl>
                                        <p:attrNameLst>
                                          <p:attrName>ppt_y</p:attrName>
                                        </p:attrNameLst>
                                      </p:cBhvr>
                                      <p:tavLst>
                                        <p:tav tm="0">
                                          <p:val>
                                            <p:strVal val="#ppt_y"/>
                                          </p:val>
                                        </p:tav>
                                        <p:tav tm="100000">
                                          <p:val>
                                            <p:strVal val="#ppt_y"/>
                                          </p:val>
                                        </p:tav>
                                      </p:tavLst>
                                    </p:anim>
                                  </p:childTnLst>
                                </p:cTn>
                              </p:par>
                              <p:par>
                                <p:cTn id="121" presetID="10" presetClass="entr" presetSubtype="0" fill="hold" grpId="0" nodeType="withEffect">
                                  <p:stCondLst>
                                    <p:cond delay="3250"/>
                                  </p:stCondLst>
                                  <p:childTnLst>
                                    <p:set>
                                      <p:cBhvr>
                                        <p:cTn id="122" dur="1" fill="hold">
                                          <p:stCondLst>
                                            <p:cond delay="0"/>
                                          </p:stCondLst>
                                        </p:cTn>
                                        <p:tgtEl>
                                          <p:spTgt spid="7"/>
                                        </p:tgtEl>
                                        <p:attrNameLst>
                                          <p:attrName>style.visibility</p:attrName>
                                        </p:attrNameLst>
                                      </p:cBhvr>
                                      <p:to>
                                        <p:strVal val="visible"/>
                                      </p:to>
                                    </p:set>
                                    <p:animEffect transition="in" filter="fade">
                                      <p:cBhvr>
                                        <p:cTn id="1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62" grpId="0" animBg="1"/>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Tema Menko 2015" id="{5F61AD4E-8EDD-45C4-A0DD-07105A56A8AC}" vid="{CD419B45-E561-4E79-9952-D7E5AD72D732}"/>
    </a:ext>
  </a:extLst>
</a:theme>
</file>

<file path=ppt/theme/theme3.xml><?xml version="1.0" encoding="utf-8"?>
<a:theme xmlns:a="http://schemas.openxmlformats.org/drawingml/2006/main" name="3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Tema Menko 2015" id="{5F61AD4E-8EDD-45C4-A0DD-07105A56A8AC}" vid="{CD419B45-E561-4E79-9952-D7E5AD72D732}"/>
    </a:ext>
  </a:extLst>
</a:theme>
</file>

<file path=ppt/theme/theme4.xml><?xml version="1.0" encoding="utf-8"?>
<a:theme xmlns:a="http://schemas.openxmlformats.org/drawingml/2006/main" name="4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Tema Menko 2015" id="{5F61AD4E-8EDD-45C4-A0DD-07105A56A8AC}" vid="{CD419B45-E561-4E79-9952-D7E5AD72D732}"/>
    </a:ext>
  </a:extLst>
</a:theme>
</file>

<file path=ppt/theme/theme5.xml><?xml version="1.0" encoding="utf-8"?>
<a:theme xmlns:a="http://schemas.openxmlformats.org/drawingml/2006/main" name="7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Tema Menko 2015" id="{5F61AD4E-8EDD-45C4-A0DD-07105A56A8AC}" vid="{CD419B45-E561-4E79-9952-D7E5AD72D732}"/>
    </a:ext>
  </a:extLst>
</a:theme>
</file>

<file path=ppt/theme/theme6.xml><?xml version="1.0" encoding="utf-8"?>
<a:theme xmlns:a="http://schemas.openxmlformats.org/drawingml/2006/main" name="5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Tema Menko 2015" id="{5F61AD4E-8EDD-45C4-A0DD-07105A56A8AC}" vid="{CD419B45-E561-4E79-9952-D7E5AD72D73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72</TotalTime>
  <Words>4507</Words>
  <Application>Microsoft Office PowerPoint</Application>
  <PresentationFormat>Custom</PresentationFormat>
  <Paragraphs>650</Paragraphs>
  <Slides>46</Slides>
  <Notes>19</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46</vt:i4>
      </vt:variant>
    </vt:vector>
  </HeadingPairs>
  <TitlesOfParts>
    <vt:vector size="53" baseType="lpstr">
      <vt:lpstr>Office Theme</vt:lpstr>
      <vt:lpstr>2_Tema Menko 2015</vt:lpstr>
      <vt:lpstr>3_Tema Menko 2015</vt:lpstr>
      <vt:lpstr>4_Tema Menko 2015</vt:lpstr>
      <vt:lpstr>7_Tema Menko 2015</vt:lpstr>
      <vt:lpstr>5_Tema Menko 2015</vt:lpstr>
      <vt:lpstr>think-cell Slide</vt:lpstr>
      <vt:lpstr>PowerPoint Presentation</vt:lpstr>
      <vt:lpstr>PowerPoint Presentation</vt:lpstr>
      <vt:lpstr>PowerPoint Presentation</vt:lpstr>
      <vt:lpstr>PowerPoint Presentation</vt:lpstr>
      <vt:lpstr>PowerPoint Presentation</vt:lpstr>
      <vt:lpstr>PowerPoint Presentation</vt:lpstr>
      <vt:lpstr>PENGEMBANGAN PIHPS TAHAP I</vt:lpstr>
      <vt:lpstr>PowerPoint Presentation</vt:lpstr>
      <vt:lpstr>PROGRAM 2015 PIHPS NASIONAL: INTEGRASI DATA PIHPS DAERAH</vt:lpstr>
      <vt:lpstr>FITUR APLIKASI SAAT INI </vt:lpstr>
      <vt:lpstr>PowerPoint Presentation</vt:lpstr>
      <vt:lpstr>PowerPoint Presentation</vt:lpstr>
      <vt:lpstr>PowerPoint Presentation</vt:lpstr>
      <vt:lpstr>AGENDA PENGEMBANGAN PIHPS TAHAP II (2016 S.D. 20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RIMA KASIH</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isten Deputi Moneter dan Neraca Pembayaran</dc:title>
  <dc:creator>user</dc:creator>
  <cp:lastModifiedBy>Guest</cp:lastModifiedBy>
  <cp:revision>177</cp:revision>
  <cp:lastPrinted>2016-03-16T10:17:51Z</cp:lastPrinted>
  <dcterms:created xsi:type="dcterms:W3CDTF">2016-02-06T00:54:06Z</dcterms:created>
  <dcterms:modified xsi:type="dcterms:W3CDTF">2016-07-27T02:59:40Z</dcterms:modified>
</cp:coreProperties>
</file>